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25"/>
  </p:notesMasterIdLst>
  <p:sldIdLst>
    <p:sldId id="256" r:id="rId3"/>
    <p:sldId id="421" r:id="rId4"/>
    <p:sldId id="428" r:id="rId5"/>
    <p:sldId id="332" r:id="rId6"/>
    <p:sldId id="429" r:id="rId7"/>
    <p:sldId id="274" r:id="rId8"/>
    <p:sldId id="271" r:id="rId9"/>
    <p:sldId id="272" r:id="rId10"/>
    <p:sldId id="268" r:id="rId11"/>
    <p:sldId id="337" r:id="rId12"/>
    <p:sldId id="257" r:id="rId13"/>
    <p:sldId id="263" r:id="rId14"/>
    <p:sldId id="278" r:id="rId15"/>
    <p:sldId id="264" r:id="rId16"/>
    <p:sldId id="277" r:id="rId17"/>
    <p:sldId id="279" r:id="rId18"/>
    <p:sldId id="280" r:id="rId19"/>
    <p:sldId id="281" r:id="rId20"/>
    <p:sldId id="282" r:id="rId21"/>
    <p:sldId id="283" r:id="rId22"/>
    <p:sldId id="265" r:id="rId23"/>
    <p:sldId id="262" r:id="rId24"/>
  </p:sldIdLst>
  <p:sldSz cx="9906000" cy="6858000" type="A4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AE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81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2016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761670416197974"/>
          <c:y val="5.1488504279221754E-2"/>
          <c:w val="0.76503585489313841"/>
          <c:h val="0.8722223573626534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ДС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Лист1!$A$2:$A$3</c:f>
              <c:strCache>
                <c:ptCount val="2"/>
                <c:pt idx="0">
                  <c:v>По результатам модели</c:v>
                </c:pt>
                <c:pt idx="1">
                  <c:v>Существующий график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3</c:v>
                </c:pt>
                <c:pt idx="1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68-44FB-AE19-CDF3EC1B8A3B}"/>
            </c:ext>
          </c:extLst>
        </c:ser>
        <c:ser>
          <c:idx val="1"/>
          <c:order val="1"/>
          <c:tx>
            <c:strRef>
              <c:f>Лист1!$D$1</c:f>
              <c:strCache>
                <c:ptCount val="1"/>
                <c:pt idx="0">
                  <c:v>Пригородные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Лист1!$A$2:$A$3</c:f>
              <c:strCache>
                <c:ptCount val="2"/>
                <c:pt idx="0">
                  <c:v>По результатам модели</c:v>
                </c:pt>
                <c:pt idx="1">
                  <c:v>Существующий график</c:v>
                </c:pt>
              </c:strCache>
            </c:strRef>
          </c:cat>
          <c:val>
            <c:numRef>
              <c:f>Лист1!$D$2:$D$3</c:f>
              <c:numCache>
                <c:formatCode>General</c:formatCode>
                <c:ptCount val="2"/>
                <c:pt idx="0">
                  <c:v>78</c:v>
                </c:pt>
                <c:pt idx="1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68-44FB-AE19-CDF3EC1B8A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1129709792"/>
        <c:axId val="-1129715776"/>
      </c:barChart>
      <c:catAx>
        <c:axId val="-112970979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1129715776"/>
        <c:crosses val="autoZero"/>
        <c:auto val="1"/>
        <c:lblAlgn val="ctr"/>
        <c:lblOffset val="100"/>
        <c:noMultiLvlLbl val="0"/>
      </c:catAx>
      <c:valAx>
        <c:axId val="-11297157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1129709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761670416197974"/>
          <c:y val="5.1488504279221754E-2"/>
          <c:w val="0.76503585489313841"/>
          <c:h val="0.8722223573626534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ДС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Лист1!$A$2:$A$3</c:f>
              <c:strCache>
                <c:ptCount val="2"/>
                <c:pt idx="0">
                  <c:v>По результатам модели</c:v>
                </c:pt>
                <c:pt idx="1">
                  <c:v>Существующий график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9</c:v>
                </c:pt>
                <c:pt idx="1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8-4CA0-B2E2-5F23855A967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игородные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Лист1!$A$2:$A$3</c:f>
              <c:strCache>
                <c:ptCount val="2"/>
                <c:pt idx="0">
                  <c:v>По результатам модели</c:v>
                </c:pt>
                <c:pt idx="1">
                  <c:v>Существующий график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119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A8-4CA0-B2E2-5F23855A96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773465248"/>
        <c:axId val="-773466880"/>
      </c:barChart>
      <c:catAx>
        <c:axId val="-77346524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773466880"/>
        <c:crosses val="autoZero"/>
        <c:auto val="0"/>
        <c:lblAlgn val="ctr"/>
        <c:lblOffset val="100"/>
        <c:noMultiLvlLbl val="0"/>
      </c:catAx>
      <c:valAx>
        <c:axId val="-7734668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773465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emf"/><Relationship Id="rId1" Type="http://schemas.openxmlformats.org/officeDocument/2006/relationships/image" Target="../media/image51.emf"/><Relationship Id="rId5" Type="http://schemas.openxmlformats.org/officeDocument/2006/relationships/image" Target="../media/image55.emf"/><Relationship Id="rId4" Type="http://schemas.openxmlformats.org/officeDocument/2006/relationships/image" Target="../media/image5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769E08-3561-CB4F-B260-EFDDADCEFA5A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9776DC-50EA-FF41-A1DE-141B8B52DA8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4613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FD09C9-A570-FA4B-828B-2E2A08EF22F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48281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FD09C9-A570-FA4B-828B-2E2A08EF22F6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3997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FD09C9-A570-FA4B-828B-2E2A08EF22F6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24104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FD09C9-A570-FA4B-828B-2E2A08EF22F6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23323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FD09C9-A570-FA4B-828B-2E2A08EF22F6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40924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0371" y="2514040"/>
            <a:ext cx="6333161" cy="1444148"/>
          </a:xfrm>
        </p:spPr>
        <p:txBody>
          <a:bodyPr anchor="t">
            <a:normAutofit/>
          </a:bodyPr>
          <a:lstStyle>
            <a:lvl1pPr algn="l">
              <a:defRPr sz="278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0370" y="4247502"/>
            <a:ext cx="5556686" cy="1001493"/>
          </a:xfrm>
        </p:spPr>
        <p:txBody>
          <a:bodyPr anchor="t">
            <a:normAutofit/>
          </a:bodyPr>
          <a:lstStyle>
            <a:lvl1pPr marL="0" indent="0" algn="l">
              <a:buNone/>
              <a:defRPr sz="123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53776" indent="0" algn="ctr">
              <a:buNone/>
              <a:defRPr sz="1548"/>
            </a:lvl2pPr>
            <a:lvl3pPr marL="707551" indent="0" algn="ctr">
              <a:buNone/>
              <a:defRPr sz="1393"/>
            </a:lvl3pPr>
            <a:lvl4pPr marL="1061326" indent="0" algn="ctr">
              <a:buNone/>
              <a:defRPr sz="1238"/>
            </a:lvl4pPr>
            <a:lvl5pPr marL="1415102" indent="0" algn="ctr">
              <a:buNone/>
              <a:defRPr sz="1238"/>
            </a:lvl5pPr>
            <a:lvl6pPr marL="1768878" indent="0" algn="ctr">
              <a:buNone/>
              <a:defRPr sz="1238"/>
            </a:lvl6pPr>
            <a:lvl7pPr marL="2122653" indent="0" algn="ctr">
              <a:buNone/>
              <a:defRPr sz="1238"/>
            </a:lvl7pPr>
            <a:lvl8pPr marL="2476428" indent="0" algn="ctr">
              <a:buNone/>
              <a:defRPr sz="1238"/>
            </a:lvl8pPr>
            <a:lvl9pPr marL="2830204" indent="0" algn="ctr">
              <a:buNone/>
              <a:defRPr sz="1238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0368" y="5538305"/>
            <a:ext cx="2228850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13002327" y="-379139"/>
            <a:ext cx="184731" cy="306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393" dirty="0"/>
          </a:p>
        </p:txBody>
      </p:sp>
      <p:grpSp>
        <p:nvGrpSpPr>
          <p:cNvPr id="21" name="Группа 20"/>
          <p:cNvGrpSpPr/>
          <p:nvPr/>
        </p:nvGrpSpPr>
        <p:grpSpPr>
          <a:xfrm>
            <a:off x="318652" y="264302"/>
            <a:ext cx="3073277" cy="6476911"/>
            <a:chOff x="472965" y="5722218"/>
            <a:chExt cx="3782492" cy="6476911"/>
          </a:xfrm>
        </p:grpSpPr>
        <p:sp>
          <p:nvSpPr>
            <p:cNvPr id="23" name="Овал 22"/>
            <p:cNvSpPr/>
            <p:nvPr/>
          </p:nvSpPr>
          <p:spPr>
            <a:xfrm>
              <a:off x="472965" y="5791200"/>
              <a:ext cx="602641" cy="57943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238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1201266" y="5722218"/>
              <a:ext cx="2967122" cy="56874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algn="l">
                <a:spcBef>
                  <a:spcPts val="0"/>
                </a:spcBef>
                <a:spcAft>
                  <a:spcPts val="0"/>
                </a:spcAft>
              </a:pPr>
              <a:r>
                <a:rPr lang="ru-RU" sz="1548" b="1"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cumin Pro Condensed" charset="0"/>
                  <a:ea typeface="Acumin Pro Condensed" charset="0"/>
                  <a:cs typeface="Acumin Pro Condensed" charset="0"/>
                </a:rPr>
                <a:t>Центр цифровых</a:t>
              </a:r>
            </a:p>
            <a:p>
              <a:pPr marL="0" marR="0" algn="l">
                <a:spcBef>
                  <a:spcPts val="0"/>
                </a:spcBef>
                <a:spcAft>
                  <a:spcPts val="0"/>
                </a:spcAft>
              </a:pPr>
              <a:r>
                <a:rPr lang="ru-RU" sz="1548" b="1" dirty="0"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cumin Pro Condensed" charset="0"/>
                  <a:ea typeface="Acumin Pro Condensed" charset="0"/>
                  <a:cs typeface="Acumin Pro Condensed" charset="0"/>
                </a:rPr>
                <a:t>транспортных систем 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472965" y="11939955"/>
              <a:ext cx="3782492" cy="2591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algn="l">
                <a:spcBef>
                  <a:spcPts val="0"/>
                </a:spcBef>
                <a:spcAft>
                  <a:spcPts val="0"/>
                </a:spcAft>
              </a:pPr>
              <a:r>
                <a:rPr lang="ru-RU" sz="1084" b="0" i="0" dirty="0"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cumin Pro Condensed Extra Light" charset="0"/>
                  <a:ea typeface="Acumin Pro Condensed Extra Light" charset="0"/>
                  <a:cs typeface="Acumin Pro Condensed Extra Light" charset="0"/>
                </a:rPr>
                <a:t>Российский</a:t>
              </a:r>
              <a:r>
                <a:rPr lang="ru-RU" sz="1084" b="0" i="0" baseline="0" dirty="0"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cumin Pro Condensed Extra Light" charset="0"/>
                  <a:ea typeface="Acumin Pro Condensed Extra Light" charset="0"/>
                  <a:cs typeface="Acumin Pro Condensed Extra Light" charset="0"/>
                </a:rPr>
                <a:t> университет транспорта</a:t>
              </a:r>
              <a:r>
                <a:rPr lang="ru-RU" sz="1084" b="0" i="0" dirty="0"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Acumin Pro Condensed Extra Light" charset="0"/>
                  <a:ea typeface="Acumin Pro Condensed Extra Light" charset="0"/>
                  <a:cs typeface="Acumin Pro Condensed Extra Light" charset="0"/>
                </a:rPr>
                <a:t> (МИИТ)</a:t>
              </a:r>
            </a:p>
          </p:txBody>
        </p:sp>
      </p:grpSp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4627" y="-9807"/>
            <a:ext cx="4871375" cy="6867809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871" y="242204"/>
            <a:ext cx="622428" cy="586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1332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30" y="457200"/>
            <a:ext cx="3194944" cy="1600200"/>
          </a:xfrm>
        </p:spPr>
        <p:txBody>
          <a:bodyPr anchor="b"/>
          <a:lstStyle>
            <a:lvl1pPr>
              <a:defRPr sz="2476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1" y="987433"/>
            <a:ext cx="5014914" cy="4873625"/>
          </a:xfrm>
        </p:spPr>
        <p:txBody>
          <a:bodyPr/>
          <a:lstStyle>
            <a:lvl1pPr>
              <a:defRPr sz="2476"/>
            </a:lvl1pPr>
            <a:lvl2pPr>
              <a:defRPr sz="2166"/>
            </a:lvl2pPr>
            <a:lvl3pPr>
              <a:defRPr sz="1857"/>
            </a:lvl3pPr>
            <a:lvl4pPr>
              <a:defRPr sz="1548"/>
            </a:lvl4pPr>
            <a:lvl5pPr>
              <a:defRPr sz="1548"/>
            </a:lvl5pPr>
            <a:lvl6pPr>
              <a:defRPr sz="1548"/>
            </a:lvl6pPr>
            <a:lvl7pPr>
              <a:defRPr sz="1548"/>
            </a:lvl7pPr>
            <a:lvl8pPr>
              <a:defRPr sz="1548"/>
            </a:lvl8pPr>
            <a:lvl9pPr>
              <a:defRPr sz="154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30" y="2057400"/>
            <a:ext cx="3194944" cy="3811588"/>
          </a:xfrm>
        </p:spPr>
        <p:txBody>
          <a:bodyPr/>
          <a:lstStyle>
            <a:lvl1pPr marL="0" indent="0">
              <a:buNone/>
              <a:defRPr sz="1238"/>
            </a:lvl1pPr>
            <a:lvl2pPr marL="353776" indent="0">
              <a:buNone/>
              <a:defRPr sz="1084"/>
            </a:lvl2pPr>
            <a:lvl3pPr marL="707551" indent="0">
              <a:buNone/>
              <a:defRPr sz="929"/>
            </a:lvl3pPr>
            <a:lvl4pPr marL="1061326" indent="0">
              <a:buNone/>
              <a:defRPr sz="774"/>
            </a:lvl4pPr>
            <a:lvl5pPr marL="1415102" indent="0">
              <a:buNone/>
              <a:defRPr sz="774"/>
            </a:lvl5pPr>
            <a:lvl6pPr marL="1768878" indent="0">
              <a:buNone/>
              <a:defRPr sz="774"/>
            </a:lvl6pPr>
            <a:lvl7pPr marL="2122653" indent="0">
              <a:buNone/>
              <a:defRPr sz="774"/>
            </a:lvl7pPr>
            <a:lvl8pPr marL="2476428" indent="0">
              <a:buNone/>
              <a:defRPr sz="774"/>
            </a:lvl8pPr>
            <a:lvl9pPr marL="2830204" indent="0">
              <a:buNone/>
              <a:defRPr sz="77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E7F69-BF9F-4C00-A470-3F84C9DC11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05886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30" y="457200"/>
            <a:ext cx="3194944" cy="1600200"/>
          </a:xfrm>
        </p:spPr>
        <p:txBody>
          <a:bodyPr anchor="b"/>
          <a:lstStyle>
            <a:lvl1pPr>
              <a:defRPr sz="2476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1" y="987433"/>
            <a:ext cx="5014914" cy="4873625"/>
          </a:xfrm>
        </p:spPr>
        <p:txBody>
          <a:bodyPr anchor="t"/>
          <a:lstStyle>
            <a:lvl1pPr marL="0" indent="0">
              <a:buNone/>
              <a:defRPr sz="2476"/>
            </a:lvl1pPr>
            <a:lvl2pPr marL="353776" indent="0">
              <a:buNone/>
              <a:defRPr sz="2166"/>
            </a:lvl2pPr>
            <a:lvl3pPr marL="707551" indent="0">
              <a:buNone/>
              <a:defRPr sz="1857"/>
            </a:lvl3pPr>
            <a:lvl4pPr marL="1061326" indent="0">
              <a:buNone/>
              <a:defRPr sz="1548"/>
            </a:lvl4pPr>
            <a:lvl5pPr marL="1415102" indent="0">
              <a:buNone/>
              <a:defRPr sz="1548"/>
            </a:lvl5pPr>
            <a:lvl6pPr marL="1768878" indent="0">
              <a:buNone/>
              <a:defRPr sz="1548"/>
            </a:lvl6pPr>
            <a:lvl7pPr marL="2122653" indent="0">
              <a:buNone/>
              <a:defRPr sz="1548"/>
            </a:lvl7pPr>
            <a:lvl8pPr marL="2476428" indent="0">
              <a:buNone/>
              <a:defRPr sz="1548"/>
            </a:lvl8pPr>
            <a:lvl9pPr marL="2830204" indent="0">
              <a:buNone/>
              <a:defRPr sz="154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30" y="2057400"/>
            <a:ext cx="3194944" cy="3811588"/>
          </a:xfrm>
        </p:spPr>
        <p:txBody>
          <a:bodyPr/>
          <a:lstStyle>
            <a:lvl1pPr marL="0" indent="0">
              <a:buNone/>
              <a:defRPr sz="1238"/>
            </a:lvl1pPr>
            <a:lvl2pPr marL="353776" indent="0">
              <a:buNone/>
              <a:defRPr sz="1084"/>
            </a:lvl2pPr>
            <a:lvl3pPr marL="707551" indent="0">
              <a:buNone/>
              <a:defRPr sz="929"/>
            </a:lvl3pPr>
            <a:lvl4pPr marL="1061326" indent="0">
              <a:buNone/>
              <a:defRPr sz="774"/>
            </a:lvl4pPr>
            <a:lvl5pPr marL="1415102" indent="0">
              <a:buNone/>
              <a:defRPr sz="774"/>
            </a:lvl5pPr>
            <a:lvl6pPr marL="1768878" indent="0">
              <a:buNone/>
              <a:defRPr sz="774"/>
            </a:lvl6pPr>
            <a:lvl7pPr marL="2122653" indent="0">
              <a:buNone/>
              <a:defRPr sz="774"/>
            </a:lvl7pPr>
            <a:lvl8pPr marL="2476428" indent="0">
              <a:buNone/>
              <a:defRPr sz="774"/>
            </a:lvl8pPr>
            <a:lvl9pPr marL="2830204" indent="0">
              <a:buNone/>
              <a:defRPr sz="77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E7F69-BF9F-4C00-A470-3F84C9DC11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45881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E7F69-BF9F-4C00-A470-3F84C9DC11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45333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5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41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E7F69-BF9F-4C00-A470-3F84C9DC11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35880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1602"/>
            <a:ext cx="9906000" cy="664780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2853" y="2374415"/>
            <a:ext cx="6333161" cy="1444148"/>
          </a:xfrm>
        </p:spPr>
        <p:txBody>
          <a:bodyPr anchor="t">
            <a:normAutofit/>
          </a:bodyPr>
          <a:lstStyle>
            <a:lvl1pPr algn="l">
              <a:defRPr sz="342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2853" y="3285270"/>
            <a:ext cx="5556687" cy="1001493"/>
          </a:xfrm>
        </p:spPr>
        <p:txBody>
          <a:bodyPr anchor="t">
            <a:normAutofit/>
          </a:bodyPr>
          <a:lstStyle>
            <a:lvl1pPr marL="0" indent="0" algn="l">
              <a:buNone/>
              <a:defRPr sz="15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36406" indent="0" algn="ctr">
              <a:buNone/>
              <a:defRPr sz="1929"/>
            </a:lvl2pPr>
            <a:lvl3pPr marL="872812" indent="0" algn="ctr">
              <a:buNone/>
              <a:defRPr sz="1714"/>
            </a:lvl3pPr>
            <a:lvl4pPr marL="1309218" indent="0" algn="ctr">
              <a:buNone/>
              <a:defRPr sz="1500"/>
            </a:lvl4pPr>
            <a:lvl5pPr marL="1745624" indent="0" algn="ctr">
              <a:buNone/>
              <a:defRPr sz="1500"/>
            </a:lvl5pPr>
            <a:lvl6pPr marL="2182031" indent="0" algn="ctr">
              <a:buNone/>
              <a:defRPr sz="1500"/>
            </a:lvl6pPr>
            <a:lvl7pPr marL="2618437" indent="0" algn="ctr">
              <a:buNone/>
              <a:defRPr sz="1500"/>
            </a:lvl7pPr>
            <a:lvl8pPr marL="3054843" indent="0" algn="ctr">
              <a:buNone/>
              <a:defRPr sz="1500"/>
            </a:lvl8pPr>
            <a:lvl9pPr marL="3491249" indent="0" algn="ctr">
              <a:buNone/>
              <a:defRPr sz="15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006314" y="4347110"/>
            <a:ext cx="2228850" cy="365125"/>
          </a:xfrm>
        </p:spPr>
        <p:txBody>
          <a:bodyPr/>
          <a:lstStyle>
            <a:lvl1pPr algn="l">
              <a:defRPr b="1">
                <a:solidFill>
                  <a:srgbClr val="BF2D23"/>
                </a:solidFill>
              </a:defRPr>
            </a:lvl1pPr>
          </a:lstStyle>
          <a:p>
            <a:endParaRPr lang="ru-RU" dirty="0">
              <a:latin typeface="Calibri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3002324" y="-379141"/>
            <a:ext cx="176327" cy="351923"/>
          </a:xfrm>
          <a:prstGeom prst="rect">
            <a:avLst/>
          </a:prstGeom>
          <a:noFill/>
        </p:spPr>
        <p:txBody>
          <a:bodyPr wrap="none" lIns="87279" tIns="43640" rIns="87279" bIns="43640" rtlCol="0">
            <a:spAutoFit/>
          </a:bodyPr>
          <a:lstStyle/>
          <a:p>
            <a:pPr defTabSz="872812"/>
            <a:endParaRPr lang="ru-RU" sz="1714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853" y="529211"/>
            <a:ext cx="3107391" cy="57545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391557" y="6467364"/>
            <a:ext cx="914029" cy="318965"/>
          </a:xfrm>
          <a:prstGeom prst="rect">
            <a:avLst/>
          </a:prstGeom>
          <a:noFill/>
        </p:spPr>
        <p:txBody>
          <a:bodyPr wrap="none" lIns="87279" tIns="43640" rIns="87279" bIns="43640" rtlCol="0">
            <a:spAutoFit/>
          </a:bodyPr>
          <a:lstStyle/>
          <a:p>
            <a:pPr defTabSz="872812"/>
            <a:r>
              <a:rPr lang="en-US" sz="1500">
                <a:solidFill>
                  <a:prstClr val="black">
                    <a:lumMod val="65000"/>
                    <a:lumOff val="35000"/>
                  </a:prstClr>
                </a:solidFill>
                <a:latin typeface="Calibri Light"/>
              </a:rPr>
              <a:t>rut.digital</a:t>
            </a:r>
            <a:endParaRPr lang="ru-RU" sz="1500" dirty="0">
              <a:solidFill>
                <a:prstClr val="black">
                  <a:lumMod val="65000"/>
                  <a:lumOff val="35000"/>
                </a:prstClr>
              </a:solidFill>
              <a:latin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34061293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>
            <a:off x="0" y="6513722"/>
            <a:ext cx="9906000" cy="3540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9" tIns="43640" rIns="87279" bIns="43640" rtlCol="0" anchor="ctr"/>
          <a:lstStyle/>
          <a:p>
            <a:pPr algn="ctr" defTabSz="872812"/>
            <a:endParaRPr lang="ru-RU" sz="1714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8"/>
            <a:ext cx="8543925" cy="659632"/>
          </a:xfrm>
        </p:spPr>
        <p:txBody>
          <a:bodyPr>
            <a:normAutofit/>
          </a:bodyPr>
          <a:lstStyle>
            <a:lvl1pPr>
              <a:defRPr sz="3071">
                <a:solidFill>
                  <a:srgbClr val="BF2D23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1180715"/>
            <a:ext cx="8543925" cy="4351338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65767" y="6554123"/>
            <a:ext cx="1956397" cy="2343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510" y="6547773"/>
            <a:ext cx="1704454" cy="2539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Calibri"/>
              </a:rPr>
              <a:pPr/>
              <a:t>‹#›</a:t>
            </a:fld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69909" y="6573173"/>
            <a:ext cx="4143695" cy="220028"/>
          </a:xfrm>
          <a:prstGeom prst="rect">
            <a:avLst/>
          </a:prstGeom>
        </p:spPr>
        <p:txBody>
          <a:bodyPr wrap="none" lIns="87279" tIns="43640" rIns="87279" bIns="43640">
            <a:spAutoFit/>
          </a:bodyPr>
          <a:lstStyle/>
          <a:p>
            <a:pPr defTabSz="872812"/>
            <a:r>
              <a:rPr lang="ru-RU" sz="857" b="1" dirty="0">
                <a:solidFill>
                  <a:prstClr val="white"/>
                </a:solidFill>
                <a:latin typeface="Acumin Pro Condensed" charset="0"/>
                <a:ea typeface="Acumin Pro Condensed" charset="0"/>
                <a:cs typeface="Acumin Pro Condensed" charset="0"/>
              </a:rPr>
              <a:t>Центр цифровых высокоскоростных транспортных систем РУТ (МИИТ) </a:t>
            </a: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951" y="6600994"/>
            <a:ext cx="212783" cy="195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3811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13002324" y="-379141"/>
            <a:ext cx="176327" cy="351923"/>
          </a:xfrm>
          <a:prstGeom prst="rect">
            <a:avLst/>
          </a:prstGeom>
          <a:noFill/>
        </p:spPr>
        <p:txBody>
          <a:bodyPr wrap="none" lIns="87279" tIns="43640" rIns="87279" bIns="43640" rtlCol="0">
            <a:spAutoFit/>
          </a:bodyPr>
          <a:lstStyle/>
          <a:p>
            <a:pPr defTabSz="872812"/>
            <a:endParaRPr lang="ru-RU" sz="1714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3213" y="884745"/>
            <a:ext cx="591352" cy="59135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66" y="346208"/>
            <a:ext cx="3581400" cy="72147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4625" y="-9808"/>
            <a:ext cx="4871375" cy="686780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14867" y="6362701"/>
            <a:ext cx="914029" cy="318965"/>
          </a:xfrm>
          <a:prstGeom prst="rect">
            <a:avLst/>
          </a:prstGeom>
          <a:noFill/>
        </p:spPr>
        <p:txBody>
          <a:bodyPr wrap="none" lIns="87279" tIns="43640" rIns="87279" bIns="43640" rtlCol="0">
            <a:spAutoFit/>
          </a:bodyPr>
          <a:lstStyle/>
          <a:p>
            <a:pPr defTabSz="872812"/>
            <a:r>
              <a:rPr lang="en-US" sz="1500">
                <a:solidFill>
                  <a:prstClr val="black">
                    <a:lumMod val="65000"/>
                    <a:lumOff val="35000"/>
                  </a:prstClr>
                </a:solidFill>
                <a:latin typeface="Calibri Light"/>
              </a:rPr>
              <a:t>rut.digital</a:t>
            </a:r>
            <a:endParaRPr lang="ru-RU" sz="1500" dirty="0">
              <a:solidFill>
                <a:prstClr val="black">
                  <a:lumMod val="65000"/>
                  <a:lumOff val="35000"/>
                </a:prstClr>
              </a:solidFill>
              <a:latin typeface="Calibri Ligh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14865" y="2258090"/>
            <a:ext cx="6333161" cy="1444148"/>
          </a:xfrm>
        </p:spPr>
        <p:txBody>
          <a:bodyPr anchor="t">
            <a:normAutofit/>
          </a:bodyPr>
          <a:lstStyle>
            <a:lvl1pPr algn="l">
              <a:defRPr sz="3429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4866" y="3741410"/>
            <a:ext cx="5556687" cy="1001493"/>
          </a:xfrm>
        </p:spPr>
        <p:txBody>
          <a:bodyPr anchor="t">
            <a:normAutofit/>
          </a:bodyPr>
          <a:lstStyle>
            <a:lvl1pPr marL="0" indent="0" algn="l">
              <a:buNone/>
              <a:defRPr sz="15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36406" indent="0" algn="ctr">
              <a:buNone/>
              <a:defRPr sz="1929"/>
            </a:lvl2pPr>
            <a:lvl3pPr marL="872812" indent="0" algn="ctr">
              <a:buNone/>
              <a:defRPr sz="1714"/>
            </a:lvl3pPr>
            <a:lvl4pPr marL="1309218" indent="0" algn="ctr">
              <a:buNone/>
              <a:defRPr sz="1500"/>
            </a:lvl4pPr>
            <a:lvl5pPr marL="1745624" indent="0" algn="ctr">
              <a:buNone/>
              <a:defRPr sz="1500"/>
            </a:lvl5pPr>
            <a:lvl6pPr marL="2182031" indent="0" algn="ctr">
              <a:buNone/>
              <a:defRPr sz="1500"/>
            </a:lvl6pPr>
            <a:lvl7pPr marL="2618437" indent="0" algn="ctr">
              <a:buNone/>
              <a:defRPr sz="1500"/>
            </a:lvl7pPr>
            <a:lvl8pPr marL="3054843" indent="0" algn="ctr">
              <a:buNone/>
              <a:defRPr sz="1500"/>
            </a:lvl8pPr>
            <a:lvl9pPr marL="3491249" indent="0" algn="ctr">
              <a:buNone/>
              <a:defRPr sz="15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514865" y="4807169"/>
            <a:ext cx="2228850" cy="365125"/>
          </a:xfrm>
        </p:spPr>
        <p:txBody>
          <a:bodyPr/>
          <a:lstStyle>
            <a:lvl1pPr algn="l">
              <a:defRPr b="1">
                <a:solidFill>
                  <a:srgbClr val="BF2D23"/>
                </a:solidFill>
              </a:defRPr>
            </a:lvl1pPr>
          </a:lstStyle>
          <a:p>
            <a:endParaRPr lang="ru-RU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07147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 userDrawn="1">
          <p15:clr>
            <a:srgbClr val="A4A3A4"/>
          </p15:clr>
        </p15:guide>
        <p15:guide id="2" orient="horz" pos="663" userDrawn="1">
          <p15:clr>
            <a:srgbClr val="A4A3A4"/>
          </p15:clr>
        </p15:guide>
        <p15:guide id="3" pos="2535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итульный слайд">
    <p:bg>
      <p:bgPr>
        <a:solidFill>
          <a:srgbClr val="BA0B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13002324" y="-379141"/>
            <a:ext cx="176327" cy="351923"/>
          </a:xfrm>
          <a:prstGeom prst="rect">
            <a:avLst/>
          </a:prstGeom>
          <a:noFill/>
        </p:spPr>
        <p:txBody>
          <a:bodyPr wrap="none" lIns="87279" tIns="43640" rIns="87279" bIns="43640" rtlCol="0">
            <a:spAutoFit/>
          </a:bodyPr>
          <a:lstStyle/>
          <a:p>
            <a:pPr defTabSz="872812"/>
            <a:endParaRPr lang="ru-RU" sz="1714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438" y="399993"/>
            <a:ext cx="4429124" cy="89032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891"/>
          <a:stretch/>
        </p:blipFill>
        <p:spPr>
          <a:xfrm>
            <a:off x="6329335" y="1286356"/>
            <a:ext cx="3576666" cy="557164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14867" y="6362701"/>
            <a:ext cx="914029" cy="318965"/>
          </a:xfrm>
          <a:prstGeom prst="rect">
            <a:avLst/>
          </a:prstGeom>
          <a:noFill/>
        </p:spPr>
        <p:txBody>
          <a:bodyPr wrap="none" lIns="87279" tIns="43640" rIns="87279" bIns="43640" rtlCol="0">
            <a:spAutoFit/>
          </a:bodyPr>
          <a:lstStyle/>
          <a:p>
            <a:pPr defTabSz="872812"/>
            <a:r>
              <a:rPr lang="en-US" sz="1500">
                <a:solidFill>
                  <a:prstClr val="white"/>
                </a:solidFill>
                <a:latin typeface="Calibri Light"/>
              </a:rPr>
              <a:t>rut.digital</a:t>
            </a:r>
            <a:endParaRPr lang="ru-RU" sz="1500" dirty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027405" y="-619932"/>
            <a:ext cx="176327" cy="351923"/>
          </a:xfrm>
          <a:prstGeom prst="rect">
            <a:avLst/>
          </a:prstGeom>
          <a:noFill/>
        </p:spPr>
        <p:txBody>
          <a:bodyPr wrap="none" lIns="87279" tIns="43640" rIns="87279" bIns="43640" rtlCol="0">
            <a:spAutoFit/>
          </a:bodyPr>
          <a:lstStyle/>
          <a:p>
            <a:pPr defTabSz="872812"/>
            <a:endParaRPr lang="ru-RU" sz="1714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452437" y="2369407"/>
            <a:ext cx="6333161" cy="1444148"/>
          </a:xfrm>
        </p:spPr>
        <p:txBody>
          <a:bodyPr anchor="t">
            <a:normAutofit/>
          </a:bodyPr>
          <a:lstStyle>
            <a:lvl1pPr algn="l">
              <a:defRPr sz="3429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452438" y="3852727"/>
            <a:ext cx="5556687" cy="1001493"/>
          </a:xfrm>
        </p:spPr>
        <p:txBody>
          <a:bodyPr anchor="t">
            <a:normAutofit/>
          </a:bodyPr>
          <a:lstStyle>
            <a:lvl1pPr marL="0" indent="0" algn="l">
              <a:buNone/>
              <a:defRPr sz="1500" b="1">
                <a:solidFill>
                  <a:schemeClr val="bg1"/>
                </a:solidFill>
              </a:defRPr>
            </a:lvl1pPr>
            <a:lvl2pPr marL="436406" indent="0" algn="ctr">
              <a:buNone/>
              <a:defRPr sz="1929"/>
            </a:lvl2pPr>
            <a:lvl3pPr marL="872812" indent="0" algn="ctr">
              <a:buNone/>
              <a:defRPr sz="1714"/>
            </a:lvl3pPr>
            <a:lvl4pPr marL="1309218" indent="0" algn="ctr">
              <a:buNone/>
              <a:defRPr sz="1500"/>
            </a:lvl4pPr>
            <a:lvl5pPr marL="1745624" indent="0" algn="ctr">
              <a:buNone/>
              <a:defRPr sz="1500"/>
            </a:lvl5pPr>
            <a:lvl6pPr marL="2182031" indent="0" algn="ctr">
              <a:buNone/>
              <a:defRPr sz="1500"/>
            </a:lvl6pPr>
            <a:lvl7pPr marL="2618437" indent="0" algn="ctr">
              <a:buNone/>
              <a:defRPr sz="1500"/>
            </a:lvl7pPr>
            <a:lvl8pPr marL="3054843" indent="0" algn="ctr">
              <a:buNone/>
              <a:defRPr sz="1500"/>
            </a:lvl8pPr>
            <a:lvl9pPr marL="3491249" indent="0" algn="ctr">
              <a:buNone/>
              <a:defRPr sz="15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452437" y="4918486"/>
            <a:ext cx="2228850" cy="365125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439518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итульный слайд">
    <p:bg>
      <p:bgPr>
        <a:solidFill>
          <a:srgbClr val="BA0B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13002324" y="-379141"/>
            <a:ext cx="176327" cy="351923"/>
          </a:xfrm>
          <a:prstGeom prst="rect">
            <a:avLst/>
          </a:prstGeom>
          <a:noFill/>
        </p:spPr>
        <p:txBody>
          <a:bodyPr wrap="none" lIns="87279" tIns="43640" rIns="87279" bIns="43640" rtlCol="0">
            <a:spAutoFit/>
          </a:bodyPr>
          <a:lstStyle/>
          <a:p>
            <a:pPr defTabSz="872812"/>
            <a:endParaRPr lang="ru-RU" sz="1714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66" y="2802231"/>
            <a:ext cx="4429124" cy="89032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891"/>
          <a:stretch/>
        </p:blipFill>
        <p:spPr>
          <a:xfrm>
            <a:off x="5362416" y="-219891"/>
            <a:ext cx="4543586" cy="7077891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14867" y="6362701"/>
            <a:ext cx="914029" cy="318965"/>
          </a:xfrm>
          <a:prstGeom prst="rect">
            <a:avLst/>
          </a:prstGeom>
          <a:noFill/>
        </p:spPr>
        <p:txBody>
          <a:bodyPr wrap="none" lIns="87279" tIns="43640" rIns="87279" bIns="43640" rtlCol="0">
            <a:spAutoFit/>
          </a:bodyPr>
          <a:lstStyle/>
          <a:p>
            <a:pPr defTabSz="872812"/>
            <a:r>
              <a:rPr lang="en-US" sz="1500">
                <a:solidFill>
                  <a:prstClr val="white"/>
                </a:solidFill>
                <a:latin typeface="Calibri Light"/>
              </a:rPr>
              <a:t>rut.digital</a:t>
            </a:r>
            <a:endParaRPr lang="ru-RU" sz="1500" dirty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027405" y="-619932"/>
            <a:ext cx="176327" cy="351923"/>
          </a:xfrm>
          <a:prstGeom prst="rect">
            <a:avLst/>
          </a:prstGeom>
          <a:noFill/>
        </p:spPr>
        <p:txBody>
          <a:bodyPr wrap="none" lIns="87279" tIns="43640" rIns="87279" bIns="43640" rtlCol="0">
            <a:spAutoFit/>
          </a:bodyPr>
          <a:lstStyle/>
          <a:p>
            <a:pPr defTabSz="872812"/>
            <a:endParaRPr lang="ru-RU" sz="1714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60971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2"/>
            <a:ext cx="8543925" cy="2852737"/>
          </a:xfrm>
        </p:spPr>
        <p:txBody>
          <a:bodyPr anchor="b"/>
          <a:lstStyle>
            <a:lvl1pPr>
              <a:defRPr sz="57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7"/>
            <a:ext cx="8543925" cy="1500187"/>
          </a:xfrm>
        </p:spPr>
        <p:txBody>
          <a:bodyPr/>
          <a:lstStyle>
            <a:lvl1pPr marL="0" indent="0">
              <a:buNone/>
              <a:defRPr sz="2286">
                <a:solidFill>
                  <a:schemeClr val="tx1"/>
                </a:solidFill>
              </a:defRPr>
            </a:lvl1pPr>
            <a:lvl2pPr marL="436406" indent="0">
              <a:buNone/>
              <a:defRPr sz="1929">
                <a:solidFill>
                  <a:schemeClr val="tx1">
                    <a:tint val="75000"/>
                  </a:schemeClr>
                </a:solidFill>
              </a:defRPr>
            </a:lvl2pPr>
            <a:lvl3pPr marL="872812" indent="0">
              <a:buNone/>
              <a:defRPr sz="1714">
                <a:solidFill>
                  <a:schemeClr val="tx1">
                    <a:tint val="75000"/>
                  </a:schemeClr>
                </a:solidFill>
              </a:defRPr>
            </a:lvl3pPr>
            <a:lvl4pPr marL="130921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74562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18203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61843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054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4912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09033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9377" y="1744453"/>
            <a:ext cx="6333161" cy="1444148"/>
          </a:xfrm>
        </p:spPr>
        <p:txBody>
          <a:bodyPr anchor="t">
            <a:normAutofit/>
          </a:bodyPr>
          <a:lstStyle>
            <a:lvl1pPr algn="l">
              <a:defRPr sz="278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9375" y="3477915"/>
            <a:ext cx="5556686" cy="1001493"/>
          </a:xfrm>
        </p:spPr>
        <p:txBody>
          <a:bodyPr anchor="t">
            <a:normAutofit/>
          </a:bodyPr>
          <a:lstStyle>
            <a:lvl1pPr marL="0" indent="0" algn="l">
              <a:buNone/>
              <a:defRPr sz="123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53776" indent="0" algn="ctr">
              <a:buNone/>
              <a:defRPr sz="1548"/>
            </a:lvl2pPr>
            <a:lvl3pPr marL="707551" indent="0" algn="ctr">
              <a:buNone/>
              <a:defRPr sz="1393"/>
            </a:lvl3pPr>
            <a:lvl4pPr marL="1061326" indent="0" algn="ctr">
              <a:buNone/>
              <a:defRPr sz="1238"/>
            </a:lvl4pPr>
            <a:lvl5pPr marL="1415102" indent="0" algn="ctr">
              <a:buNone/>
              <a:defRPr sz="1238"/>
            </a:lvl5pPr>
            <a:lvl6pPr marL="1768878" indent="0" algn="ctr">
              <a:buNone/>
              <a:defRPr sz="1238"/>
            </a:lvl6pPr>
            <a:lvl7pPr marL="2122653" indent="0" algn="ctr">
              <a:buNone/>
              <a:defRPr sz="1238"/>
            </a:lvl7pPr>
            <a:lvl8pPr marL="2476428" indent="0" algn="ctr">
              <a:buNone/>
              <a:defRPr sz="1238"/>
            </a:lvl8pPr>
            <a:lvl9pPr marL="2830204" indent="0" algn="ctr">
              <a:buNone/>
              <a:defRPr sz="1238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69374" y="4768718"/>
            <a:ext cx="2228850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13002327" y="-379139"/>
            <a:ext cx="184731" cy="306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393" dirty="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4627" y="-9807"/>
            <a:ext cx="4871375" cy="6867809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869374" y="367700"/>
            <a:ext cx="4900203" cy="4733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ru-RU" sz="1238" b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cumin Pro Condensed" charset="0"/>
                <a:ea typeface="Acumin Pro Condensed" charset="0"/>
                <a:cs typeface="Acumin Pro Condensed" charset="0"/>
              </a:rPr>
              <a:t>Центр цифровых высокоскоростных</a:t>
            </a:r>
            <a:r>
              <a:rPr lang="ru-RU" sz="1238" b="1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cumin Pro Condensed" charset="0"/>
                <a:ea typeface="Acumin Pro Condensed" charset="0"/>
                <a:cs typeface="Acumin Pro Condensed" charset="0"/>
              </a:rPr>
              <a:t> </a:t>
            </a:r>
            <a:r>
              <a:rPr lang="ru-RU" sz="1238" b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cumin Pro Condensed" charset="0"/>
                <a:ea typeface="Acumin Pro Condensed" charset="0"/>
                <a:cs typeface="Acumin Pro Condensed" charset="0"/>
              </a:rPr>
              <a:t>транспортных систем РУТ (МИИТ)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3214" y="884745"/>
            <a:ext cx="591353" cy="59135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869" y="318475"/>
            <a:ext cx="622428" cy="622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1549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534538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9" y="365129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286" b="1"/>
            </a:lvl1pPr>
            <a:lvl2pPr marL="436406" indent="0">
              <a:buNone/>
              <a:defRPr sz="1929" b="1"/>
            </a:lvl2pPr>
            <a:lvl3pPr marL="872812" indent="0">
              <a:buNone/>
              <a:defRPr sz="1714" b="1"/>
            </a:lvl3pPr>
            <a:lvl4pPr marL="1309218" indent="0">
              <a:buNone/>
              <a:defRPr sz="1500" b="1"/>
            </a:lvl4pPr>
            <a:lvl5pPr marL="1745624" indent="0">
              <a:buNone/>
              <a:defRPr sz="1500" b="1"/>
            </a:lvl5pPr>
            <a:lvl6pPr marL="2182031" indent="0">
              <a:buNone/>
              <a:defRPr sz="1500" b="1"/>
            </a:lvl6pPr>
            <a:lvl7pPr marL="2618437" indent="0">
              <a:buNone/>
              <a:defRPr sz="1500" b="1"/>
            </a:lvl7pPr>
            <a:lvl8pPr marL="3054843" indent="0">
              <a:buNone/>
              <a:defRPr sz="1500" b="1"/>
            </a:lvl8pPr>
            <a:lvl9pPr marL="3491249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286" b="1"/>
            </a:lvl1pPr>
            <a:lvl2pPr marL="436406" indent="0">
              <a:buNone/>
              <a:defRPr sz="1929" b="1"/>
            </a:lvl2pPr>
            <a:lvl3pPr marL="872812" indent="0">
              <a:buNone/>
              <a:defRPr sz="1714" b="1"/>
            </a:lvl3pPr>
            <a:lvl4pPr marL="1309218" indent="0">
              <a:buNone/>
              <a:defRPr sz="1500" b="1"/>
            </a:lvl4pPr>
            <a:lvl5pPr marL="1745624" indent="0">
              <a:buNone/>
              <a:defRPr sz="1500" b="1"/>
            </a:lvl5pPr>
            <a:lvl6pPr marL="2182031" indent="0">
              <a:buNone/>
              <a:defRPr sz="1500" b="1"/>
            </a:lvl6pPr>
            <a:lvl7pPr marL="2618437" indent="0">
              <a:buNone/>
              <a:defRPr sz="1500" b="1"/>
            </a:lvl7pPr>
            <a:lvl8pPr marL="3054843" indent="0">
              <a:buNone/>
              <a:defRPr sz="1500" b="1"/>
            </a:lvl8pPr>
            <a:lvl9pPr marL="3491249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86030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376392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073793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30" y="457200"/>
            <a:ext cx="3194943" cy="1600200"/>
          </a:xfrm>
        </p:spPr>
        <p:txBody>
          <a:bodyPr anchor="b"/>
          <a:lstStyle>
            <a:lvl1pPr>
              <a:defRPr sz="307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2" y="987429"/>
            <a:ext cx="5014913" cy="4873625"/>
          </a:xfrm>
        </p:spPr>
        <p:txBody>
          <a:bodyPr/>
          <a:lstStyle>
            <a:lvl1pPr>
              <a:defRPr sz="3071"/>
            </a:lvl1pPr>
            <a:lvl2pPr>
              <a:defRPr sz="2643"/>
            </a:lvl2pPr>
            <a:lvl3pPr>
              <a:defRPr sz="2286"/>
            </a:lvl3pPr>
            <a:lvl4pPr>
              <a:defRPr sz="1929"/>
            </a:lvl4pPr>
            <a:lvl5pPr>
              <a:defRPr sz="1929"/>
            </a:lvl5pPr>
            <a:lvl6pPr>
              <a:defRPr sz="1929"/>
            </a:lvl6pPr>
            <a:lvl7pPr>
              <a:defRPr sz="1929"/>
            </a:lvl7pPr>
            <a:lvl8pPr>
              <a:defRPr sz="1929"/>
            </a:lvl8pPr>
            <a:lvl9pPr>
              <a:defRPr sz="192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30" y="2057400"/>
            <a:ext cx="3194943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36406" indent="0">
              <a:buNone/>
              <a:defRPr sz="1357"/>
            </a:lvl2pPr>
            <a:lvl3pPr marL="872812" indent="0">
              <a:buNone/>
              <a:defRPr sz="1143"/>
            </a:lvl3pPr>
            <a:lvl4pPr marL="1309218" indent="0">
              <a:buNone/>
              <a:defRPr sz="929"/>
            </a:lvl4pPr>
            <a:lvl5pPr marL="1745624" indent="0">
              <a:buNone/>
              <a:defRPr sz="929"/>
            </a:lvl5pPr>
            <a:lvl6pPr marL="2182031" indent="0">
              <a:buNone/>
              <a:defRPr sz="929"/>
            </a:lvl6pPr>
            <a:lvl7pPr marL="2618437" indent="0">
              <a:buNone/>
              <a:defRPr sz="929"/>
            </a:lvl7pPr>
            <a:lvl8pPr marL="3054843" indent="0">
              <a:buNone/>
              <a:defRPr sz="929"/>
            </a:lvl8pPr>
            <a:lvl9pPr marL="3491249" indent="0">
              <a:buNone/>
              <a:defRPr sz="92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909468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30" y="457200"/>
            <a:ext cx="3194943" cy="1600200"/>
          </a:xfrm>
        </p:spPr>
        <p:txBody>
          <a:bodyPr anchor="b"/>
          <a:lstStyle>
            <a:lvl1pPr>
              <a:defRPr sz="307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2" y="987429"/>
            <a:ext cx="5014913" cy="4873625"/>
          </a:xfrm>
        </p:spPr>
        <p:txBody>
          <a:bodyPr anchor="t"/>
          <a:lstStyle>
            <a:lvl1pPr marL="0" indent="0">
              <a:buNone/>
              <a:defRPr sz="3071"/>
            </a:lvl1pPr>
            <a:lvl2pPr marL="436406" indent="0">
              <a:buNone/>
              <a:defRPr sz="2643"/>
            </a:lvl2pPr>
            <a:lvl3pPr marL="872812" indent="0">
              <a:buNone/>
              <a:defRPr sz="2286"/>
            </a:lvl3pPr>
            <a:lvl4pPr marL="1309218" indent="0">
              <a:buNone/>
              <a:defRPr sz="1929"/>
            </a:lvl4pPr>
            <a:lvl5pPr marL="1745624" indent="0">
              <a:buNone/>
              <a:defRPr sz="1929"/>
            </a:lvl5pPr>
            <a:lvl6pPr marL="2182031" indent="0">
              <a:buNone/>
              <a:defRPr sz="1929"/>
            </a:lvl6pPr>
            <a:lvl7pPr marL="2618437" indent="0">
              <a:buNone/>
              <a:defRPr sz="1929"/>
            </a:lvl7pPr>
            <a:lvl8pPr marL="3054843" indent="0">
              <a:buNone/>
              <a:defRPr sz="1929"/>
            </a:lvl8pPr>
            <a:lvl9pPr marL="3491249" indent="0">
              <a:buNone/>
              <a:defRPr sz="1929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30" y="2057400"/>
            <a:ext cx="3194943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36406" indent="0">
              <a:buNone/>
              <a:defRPr sz="1357"/>
            </a:lvl2pPr>
            <a:lvl3pPr marL="872812" indent="0">
              <a:buNone/>
              <a:defRPr sz="1143"/>
            </a:lvl3pPr>
            <a:lvl4pPr marL="1309218" indent="0">
              <a:buNone/>
              <a:defRPr sz="929"/>
            </a:lvl4pPr>
            <a:lvl5pPr marL="1745624" indent="0">
              <a:buNone/>
              <a:defRPr sz="929"/>
            </a:lvl5pPr>
            <a:lvl6pPr marL="2182031" indent="0">
              <a:buNone/>
              <a:defRPr sz="929"/>
            </a:lvl6pPr>
            <a:lvl7pPr marL="2618437" indent="0">
              <a:buNone/>
              <a:defRPr sz="929"/>
            </a:lvl7pPr>
            <a:lvl8pPr marL="3054843" indent="0">
              <a:buNone/>
              <a:defRPr sz="929"/>
            </a:lvl8pPr>
            <a:lvl9pPr marL="3491249" indent="0">
              <a:buNone/>
              <a:defRPr sz="92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883495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791119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913946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001241" y="234864"/>
            <a:ext cx="8645985" cy="268600"/>
          </a:xfrm>
          <a:prstGeom prst="rect">
            <a:avLst/>
          </a:prstGeo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>
              <a:defRPr lang="en-US" sz="1939" kern="1200">
                <a:solidFill>
                  <a:srgbClr val="D62828"/>
                </a:solidFill>
                <a:latin typeface="FuturaDemiC"/>
                <a:ea typeface="FuturaDemiC"/>
                <a:cs typeface="FuturaDemiC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9513953" y="6523048"/>
            <a:ext cx="225348" cy="222975"/>
          </a:xfrm>
          <a:prstGeom prst="rect">
            <a:avLst/>
          </a:prstGeom>
          <a:noFill/>
          <a:ln w="3175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33003" tIns="33003" rIns="33003" bIns="33003" numCol="1" spcCol="29006" rtlCol="0" anchor="ctr">
            <a:spAutoFit/>
          </a:bodyPr>
          <a:lstStyle>
            <a:defPPr>
              <a:defRPr lang="en-US"/>
            </a:defPPr>
            <a:lvl1pPr lvl="0" latinLnBrk="1" hangingPunct="0">
              <a:defRPr sz="1800">
                <a:solidFill>
                  <a:schemeClr val="bg1">
                    <a:lumMod val="65000"/>
                  </a:schemeClr>
                </a:solidFill>
                <a:latin typeface="FuturaDemiC"/>
                <a:cs typeface="FuturaDemiC"/>
              </a:defRPr>
            </a:lvl1pPr>
          </a:lstStyle>
          <a:p>
            <a:pPr lvl="0"/>
            <a:fld id="{42C328C1-A84F-4A39-A664-DBA00541A8C6}" type="slidenum">
              <a:rPr lang="en-US" sz="1016" b="0" smtClean="0">
                <a:solidFill>
                  <a:srgbClr val="000000"/>
                </a:solidFill>
              </a:rPr>
              <a:pPr lvl="0"/>
              <a:t>‹#›</a:t>
            </a:fld>
            <a:endParaRPr lang="en-US" sz="1016" b="0" dirty="0">
              <a:solidFill>
                <a:srgbClr val="000000"/>
              </a:solidFill>
            </a:endParaRPr>
          </a:p>
        </p:txBody>
      </p:sp>
      <p:sp>
        <p:nvSpPr>
          <p:cNvPr id="6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001242" y="1188287"/>
            <a:ext cx="8645984" cy="486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33858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510255" y="6520334"/>
            <a:ext cx="52251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ru-RU" sz="1100" b="1" dirty="0">
                <a:solidFill>
                  <a:schemeClr val="bg1"/>
                </a:solidFill>
                <a:effectLst/>
                <a:latin typeface="Acumin Pro Condensed" charset="0"/>
                <a:ea typeface="Acumin Pro Condensed" charset="0"/>
                <a:cs typeface="Acumin Pro Condensed" charset="0"/>
              </a:rPr>
              <a:t>Центр цифровых высокоскоростных транспортных систем РУТ (МИИТ) </a:t>
            </a: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479822"/>
            <a:ext cx="9906000" cy="37817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65766" y="6546739"/>
            <a:ext cx="1956397" cy="2217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509" y="6533804"/>
            <a:ext cx="1704454" cy="2346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86E897-D47A-DF49-947E-7FDF216B1BB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510255" y="6520334"/>
            <a:ext cx="52251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ru-RU" sz="1100" b="1" dirty="0">
                <a:solidFill>
                  <a:schemeClr val="bg1"/>
                </a:solidFill>
                <a:effectLst/>
                <a:latin typeface="Acumin Pro Condensed" charset="0"/>
                <a:ea typeface="Acumin Pro Condensed" charset="0"/>
                <a:cs typeface="Acumin Pro Condensed" charset="0"/>
              </a:rPr>
              <a:t>Центр цифровых высокоскоростных транспортных систем РУТ (МИИТ) </a:t>
            </a:r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799" y="6533804"/>
            <a:ext cx="262505" cy="262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0285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0627" y="910265"/>
            <a:ext cx="6333161" cy="1444148"/>
          </a:xfrm>
        </p:spPr>
        <p:txBody>
          <a:bodyPr anchor="t">
            <a:normAutofit/>
          </a:bodyPr>
          <a:lstStyle>
            <a:lvl1pPr algn="l">
              <a:defRPr sz="278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90628" y="2643727"/>
            <a:ext cx="5556686" cy="1001493"/>
          </a:xfrm>
        </p:spPr>
        <p:txBody>
          <a:bodyPr anchor="t">
            <a:normAutofit/>
          </a:bodyPr>
          <a:lstStyle>
            <a:lvl1pPr marL="0" indent="0" algn="l">
              <a:buNone/>
              <a:defRPr sz="123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53776" indent="0" algn="ctr">
              <a:buNone/>
              <a:defRPr sz="1548"/>
            </a:lvl2pPr>
            <a:lvl3pPr marL="707551" indent="0" algn="ctr">
              <a:buNone/>
              <a:defRPr sz="1393"/>
            </a:lvl3pPr>
            <a:lvl4pPr marL="1061326" indent="0" algn="ctr">
              <a:buNone/>
              <a:defRPr sz="1238"/>
            </a:lvl4pPr>
            <a:lvl5pPr marL="1415102" indent="0" algn="ctr">
              <a:buNone/>
              <a:defRPr sz="1238"/>
            </a:lvl5pPr>
            <a:lvl6pPr marL="1768878" indent="0" algn="ctr">
              <a:buNone/>
              <a:defRPr sz="1238"/>
            </a:lvl6pPr>
            <a:lvl7pPr marL="2122653" indent="0" algn="ctr">
              <a:buNone/>
              <a:defRPr sz="1238"/>
            </a:lvl7pPr>
            <a:lvl8pPr marL="2476428" indent="0" algn="ctr">
              <a:buNone/>
              <a:defRPr sz="1238"/>
            </a:lvl8pPr>
            <a:lvl9pPr marL="2830204" indent="0" algn="ctr">
              <a:buNone/>
              <a:defRPr sz="1238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0624" y="3934530"/>
            <a:ext cx="2228850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13002327" y="-379139"/>
            <a:ext cx="184731" cy="306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393" dirty="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4627" y="-9807"/>
            <a:ext cx="4871375" cy="6867809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-2536" y="6031838"/>
            <a:ext cx="824459" cy="826167"/>
          </a:xfrm>
          <a:prstGeom prst="rect">
            <a:avLst/>
          </a:prstGeom>
          <a:solidFill>
            <a:srgbClr val="BF2D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93"/>
          </a:p>
        </p:txBody>
      </p:sp>
      <p:sp>
        <p:nvSpPr>
          <p:cNvPr id="24" name="Прямоугольник 23"/>
          <p:cNvSpPr/>
          <p:nvPr/>
        </p:nvSpPr>
        <p:spPr>
          <a:xfrm>
            <a:off x="834044" y="6255547"/>
            <a:ext cx="4900203" cy="306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ru-RU" sz="1393" b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cumin Pro Condensed" charset="0"/>
                <a:ea typeface="Acumin Pro Condensed" charset="0"/>
                <a:cs typeface="Acumin Pro Condensed" charset="0"/>
              </a:rPr>
              <a:t>Центр цифровых</a:t>
            </a:r>
            <a:r>
              <a:rPr lang="ru-RU" sz="1393" b="1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cumin Pro Condensed" charset="0"/>
                <a:ea typeface="Acumin Pro Condensed" charset="0"/>
                <a:cs typeface="Acumin Pro Condensed" charset="0"/>
              </a:rPr>
              <a:t> </a:t>
            </a:r>
            <a:r>
              <a:rPr lang="ru-RU" sz="1393" b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cumin Pro Condensed" charset="0"/>
                <a:ea typeface="Acumin Pro Condensed" charset="0"/>
                <a:cs typeface="Acumin Pro Condensed" charset="0"/>
              </a:rPr>
              <a:t>транспортных систем 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854" y="6161046"/>
            <a:ext cx="558339" cy="558339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2787" y="-9809"/>
            <a:ext cx="824459" cy="826167"/>
          </a:xfrm>
          <a:prstGeom prst="rect">
            <a:avLst/>
          </a:prstGeom>
          <a:solidFill>
            <a:srgbClr val="BF2D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93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339" y="139949"/>
            <a:ext cx="485783" cy="54526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824459" y="227913"/>
            <a:ext cx="4900203" cy="306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ru-RU" sz="1393" b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cumin Pro Condensed" charset="0"/>
                <a:ea typeface="Acumin Pro Condensed" charset="0"/>
                <a:cs typeface="Acumin Pro Condensed" charset="0"/>
              </a:rPr>
              <a:t>Российский университет транспорта (МИИТ)</a:t>
            </a:r>
          </a:p>
        </p:txBody>
      </p:sp>
    </p:spTree>
    <p:extLst>
      <p:ext uri="{BB962C8B-B14F-4D97-AF65-F5344CB8AC3E}">
        <p14:creationId xmlns:p14="http://schemas.microsoft.com/office/powerpoint/2010/main" val="40536952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0A47919B-6AC4-9B42-B1CF-EF8B748B7F57}"/>
              </a:ext>
            </a:extLst>
          </p:cNvPr>
          <p:cNvGrpSpPr/>
          <p:nvPr userDrawn="1"/>
        </p:nvGrpSpPr>
        <p:grpSpPr>
          <a:xfrm>
            <a:off x="0" y="1924"/>
            <a:ext cx="9395745" cy="6480248"/>
            <a:chOff x="510255" y="0"/>
            <a:chExt cx="9395745" cy="6480248"/>
          </a:xfrm>
        </p:grpSpPr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7B358566-C4D5-7643-9782-BDEBCACFC3F1}"/>
                </a:ext>
              </a:extLst>
            </p:cNvPr>
            <p:cNvGrpSpPr/>
            <p:nvPr/>
          </p:nvGrpSpPr>
          <p:grpSpPr>
            <a:xfrm>
              <a:off x="510255" y="0"/>
              <a:ext cx="9395745" cy="6480248"/>
              <a:chOff x="510255" y="0"/>
              <a:chExt cx="9395745" cy="6480248"/>
            </a:xfrm>
          </p:grpSpPr>
          <p:pic>
            <p:nvPicPr>
              <p:cNvPr id="19" name="Рисунок 18">
                <a:extLst>
                  <a:ext uri="{FF2B5EF4-FFF2-40B4-BE49-F238E27FC236}">
                    <a16:creationId xmlns:a16="http://schemas.microsoft.com/office/drawing/2014/main" id="{0E2A0D88-8DA1-3440-9375-17420457100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alphaModFix amt="8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10255" y="0"/>
                <a:ext cx="8587446" cy="6480248"/>
              </a:xfrm>
              <a:prstGeom prst="rect">
                <a:avLst/>
              </a:prstGeom>
            </p:spPr>
          </p:pic>
          <p:sp>
            <p:nvSpPr>
              <p:cNvPr id="20" name="Прямоугольник 19">
                <a:extLst>
                  <a:ext uri="{FF2B5EF4-FFF2-40B4-BE49-F238E27FC236}">
                    <a16:creationId xmlns:a16="http://schemas.microsoft.com/office/drawing/2014/main" id="{08B358C4-23E1-0B49-BF51-4CC74F73D09F}"/>
                  </a:ext>
                </a:extLst>
              </p:cNvPr>
              <p:cNvSpPr/>
              <p:nvPr/>
            </p:nvSpPr>
            <p:spPr>
              <a:xfrm>
                <a:off x="5112327" y="0"/>
                <a:ext cx="4793673" cy="6480248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59000">
                    <a:schemeClr val="bg1"/>
                  </a:gs>
                  <a:gs pos="0">
                    <a:schemeClr val="bg1">
                      <a:alpha val="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24B8DB8F-AD72-5845-A04D-A9FA6A31F6D5}"/>
                </a:ext>
              </a:extLst>
            </p:cNvPr>
            <p:cNvGrpSpPr/>
            <p:nvPr/>
          </p:nvGrpSpPr>
          <p:grpSpPr>
            <a:xfrm>
              <a:off x="1869079" y="281886"/>
              <a:ext cx="1835447" cy="3730465"/>
              <a:chOff x="1869079" y="281886"/>
              <a:chExt cx="1835447" cy="3730465"/>
            </a:xfrm>
          </p:grpSpPr>
          <p:sp>
            <p:nvSpPr>
              <p:cNvPr id="13" name="Полилиния 12">
                <a:extLst>
                  <a:ext uri="{FF2B5EF4-FFF2-40B4-BE49-F238E27FC236}">
                    <a16:creationId xmlns:a16="http://schemas.microsoft.com/office/drawing/2014/main" id="{175C81E9-7444-5549-89F1-53332D33DECE}"/>
                  </a:ext>
                </a:extLst>
              </p:cNvPr>
              <p:cNvSpPr/>
              <p:nvPr/>
            </p:nvSpPr>
            <p:spPr>
              <a:xfrm>
                <a:off x="1986662" y="405353"/>
                <a:ext cx="1717864" cy="3485532"/>
              </a:xfrm>
              <a:custGeom>
                <a:avLst/>
                <a:gdLst>
                  <a:gd name="connsiteX0" fmla="*/ 0 w 1809294"/>
                  <a:gd name="connsiteY0" fmla="*/ 3482801 h 3482801"/>
                  <a:gd name="connsiteX1" fmla="*/ 54707 w 1809294"/>
                  <a:gd name="connsiteY1" fmla="*/ 3467170 h 3482801"/>
                  <a:gd name="connsiteX2" fmla="*/ 70338 w 1809294"/>
                  <a:gd name="connsiteY2" fmla="*/ 3439816 h 3482801"/>
                  <a:gd name="connsiteX3" fmla="*/ 144584 w 1809294"/>
                  <a:gd name="connsiteY3" fmla="*/ 3385109 h 3482801"/>
                  <a:gd name="connsiteX4" fmla="*/ 254000 w 1809294"/>
                  <a:gd name="connsiteY4" fmla="*/ 3346032 h 3482801"/>
                  <a:gd name="connsiteX5" fmla="*/ 328246 w 1809294"/>
                  <a:gd name="connsiteY5" fmla="*/ 3291324 h 3482801"/>
                  <a:gd name="connsiteX6" fmla="*/ 379046 w 1809294"/>
                  <a:gd name="connsiteY6" fmla="*/ 3213170 h 3482801"/>
                  <a:gd name="connsiteX7" fmla="*/ 422031 w 1809294"/>
                  <a:gd name="connsiteY7" fmla="*/ 3158462 h 3482801"/>
                  <a:gd name="connsiteX8" fmla="*/ 484554 w 1809294"/>
                  <a:gd name="connsiteY8" fmla="*/ 3080309 h 3482801"/>
                  <a:gd name="connsiteX9" fmla="*/ 609600 w 1809294"/>
                  <a:gd name="connsiteY9" fmla="*/ 3002155 h 3482801"/>
                  <a:gd name="connsiteX10" fmla="*/ 730738 w 1809294"/>
                  <a:gd name="connsiteY10" fmla="*/ 2924001 h 3482801"/>
                  <a:gd name="connsiteX11" fmla="*/ 781538 w 1809294"/>
                  <a:gd name="connsiteY11" fmla="*/ 2896647 h 3482801"/>
                  <a:gd name="connsiteX12" fmla="*/ 824523 w 1809294"/>
                  <a:gd name="connsiteY12" fmla="*/ 2896647 h 3482801"/>
                  <a:gd name="connsiteX13" fmla="*/ 992554 w 1809294"/>
                  <a:gd name="connsiteY13" fmla="*/ 2892739 h 3482801"/>
                  <a:gd name="connsiteX14" fmla="*/ 1031631 w 1809294"/>
                  <a:gd name="connsiteY14" fmla="*/ 2892739 h 3482801"/>
                  <a:gd name="connsiteX15" fmla="*/ 1160584 w 1809294"/>
                  <a:gd name="connsiteY15" fmla="*/ 2857570 h 3482801"/>
                  <a:gd name="connsiteX16" fmla="*/ 1277815 w 1809294"/>
                  <a:gd name="connsiteY16" fmla="*/ 2826309 h 3482801"/>
                  <a:gd name="connsiteX17" fmla="*/ 1340338 w 1809294"/>
                  <a:gd name="connsiteY17" fmla="*/ 2795047 h 3482801"/>
                  <a:gd name="connsiteX18" fmla="*/ 1367692 w 1809294"/>
                  <a:gd name="connsiteY18" fmla="*/ 2767693 h 3482801"/>
                  <a:gd name="connsiteX19" fmla="*/ 1391138 w 1809294"/>
                  <a:gd name="connsiteY19" fmla="*/ 2716893 h 3482801"/>
                  <a:gd name="connsiteX20" fmla="*/ 1398954 w 1809294"/>
                  <a:gd name="connsiteY20" fmla="*/ 2705170 h 3482801"/>
                  <a:gd name="connsiteX21" fmla="*/ 1438031 w 1809294"/>
                  <a:gd name="connsiteY21" fmla="*/ 2685632 h 3482801"/>
                  <a:gd name="connsiteX22" fmla="*/ 1473200 w 1809294"/>
                  <a:gd name="connsiteY22" fmla="*/ 2658278 h 3482801"/>
                  <a:gd name="connsiteX23" fmla="*/ 1484923 w 1809294"/>
                  <a:gd name="connsiteY23" fmla="*/ 2615293 h 3482801"/>
                  <a:gd name="connsiteX24" fmla="*/ 1504461 w 1809294"/>
                  <a:gd name="connsiteY24" fmla="*/ 2521509 h 3482801"/>
                  <a:gd name="connsiteX25" fmla="*/ 1516184 w 1809294"/>
                  <a:gd name="connsiteY25" fmla="*/ 2470709 h 3482801"/>
                  <a:gd name="connsiteX26" fmla="*/ 1531815 w 1809294"/>
                  <a:gd name="connsiteY26" fmla="*/ 2451170 h 3482801"/>
                  <a:gd name="connsiteX27" fmla="*/ 1543538 w 1809294"/>
                  <a:gd name="connsiteY27" fmla="*/ 2443355 h 3482801"/>
                  <a:gd name="connsiteX28" fmla="*/ 1598246 w 1809294"/>
                  <a:gd name="connsiteY28" fmla="*/ 2427724 h 3482801"/>
                  <a:gd name="connsiteX29" fmla="*/ 1727200 w 1809294"/>
                  <a:gd name="connsiteY29" fmla="*/ 2412093 h 3482801"/>
                  <a:gd name="connsiteX30" fmla="*/ 1774092 w 1809294"/>
                  <a:gd name="connsiteY30" fmla="*/ 2388647 h 3482801"/>
                  <a:gd name="connsiteX31" fmla="*/ 1793631 w 1809294"/>
                  <a:gd name="connsiteY31" fmla="*/ 2349570 h 3482801"/>
                  <a:gd name="connsiteX32" fmla="*/ 1809261 w 1809294"/>
                  <a:gd name="connsiteY32" fmla="*/ 2197170 h 3482801"/>
                  <a:gd name="connsiteX33" fmla="*/ 1797538 w 1809294"/>
                  <a:gd name="connsiteY33" fmla="*/ 2126832 h 3482801"/>
                  <a:gd name="connsiteX34" fmla="*/ 1789723 w 1809294"/>
                  <a:gd name="connsiteY34" fmla="*/ 2076032 h 3482801"/>
                  <a:gd name="connsiteX35" fmla="*/ 1758461 w 1809294"/>
                  <a:gd name="connsiteY35" fmla="*/ 2052585 h 3482801"/>
                  <a:gd name="connsiteX36" fmla="*/ 1750646 w 1809294"/>
                  <a:gd name="connsiteY36" fmla="*/ 2017416 h 3482801"/>
                  <a:gd name="connsiteX37" fmla="*/ 1731107 w 1809294"/>
                  <a:gd name="connsiteY37" fmla="*/ 1954893 h 3482801"/>
                  <a:gd name="connsiteX38" fmla="*/ 1723292 w 1809294"/>
                  <a:gd name="connsiteY38" fmla="*/ 1923632 h 3482801"/>
                  <a:gd name="connsiteX39" fmla="*/ 1723292 w 1809294"/>
                  <a:gd name="connsiteY39" fmla="*/ 1818124 h 3482801"/>
                  <a:gd name="connsiteX40" fmla="*/ 1750646 w 1809294"/>
                  <a:gd name="connsiteY40" fmla="*/ 1802493 h 3482801"/>
                  <a:gd name="connsiteX41" fmla="*/ 1762369 w 1809294"/>
                  <a:gd name="connsiteY41" fmla="*/ 1775139 h 3482801"/>
                  <a:gd name="connsiteX42" fmla="*/ 1746738 w 1809294"/>
                  <a:gd name="connsiteY42" fmla="*/ 1728247 h 3482801"/>
                  <a:gd name="connsiteX43" fmla="*/ 1727200 w 1809294"/>
                  <a:gd name="connsiteY43" fmla="*/ 1681355 h 3482801"/>
                  <a:gd name="connsiteX44" fmla="*/ 1719384 w 1809294"/>
                  <a:gd name="connsiteY44" fmla="*/ 1618832 h 3482801"/>
                  <a:gd name="connsiteX45" fmla="*/ 1727200 w 1809294"/>
                  <a:gd name="connsiteY45" fmla="*/ 1552401 h 3482801"/>
                  <a:gd name="connsiteX46" fmla="*/ 1727200 w 1809294"/>
                  <a:gd name="connsiteY46" fmla="*/ 1497693 h 3482801"/>
                  <a:gd name="connsiteX47" fmla="*/ 1695938 w 1809294"/>
                  <a:gd name="connsiteY47" fmla="*/ 1407816 h 3482801"/>
                  <a:gd name="connsiteX48" fmla="*/ 1692031 w 1809294"/>
                  <a:gd name="connsiteY48" fmla="*/ 1333570 h 3482801"/>
                  <a:gd name="connsiteX49" fmla="*/ 1680307 w 1809294"/>
                  <a:gd name="connsiteY49" fmla="*/ 1243693 h 3482801"/>
                  <a:gd name="connsiteX50" fmla="*/ 1660769 w 1809294"/>
                  <a:gd name="connsiteY50" fmla="*/ 1216339 h 3482801"/>
                  <a:gd name="connsiteX51" fmla="*/ 1602154 w 1809294"/>
                  <a:gd name="connsiteY51" fmla="*/ 1173355 h 3482801"/>
                  <a:gd name="connsiteX52" fmla="*/ 1539631 w 1809294"/>
                  <a:gd name="connsiteY52" fmla="*/ 1130370 h 3482801"/>
                  <a:gd name="connsiteX53" fmla="*/ 1524000 w 1809294"/>
                  <a:gd name="connsiteY53" fmla="*/ 1110832 h 3482801"/>
                  <a:gd name="connsiteX54" fmla="*/ 1488831 w 1809294"/>
                  <a:gd name="connsiteY54" fmla="*/ 981878 h 3482801"/>
                  <a:gd name="connsiteX55" fmla="*/ 1466862 w 1809294"/>
                  <a:gd name="connsiteY55" fmla="*/ 904915 h 3482801"/>
                  <a:gd name="connsiteX56" fmla="*/ 1413361 w 1809294"/>
                  <a:gd name="connsiteY56" fmla="*/ 753352 h 3482801"/>
                  <a:gd name="connsiteX57" fmla="*/ 1364500 w 1809294"/>
                  <a:gd name="connsiteY57" fmla="*/ 613749 h 3482801"/>
                  <a:gd name="connsiteX58" fmla="*/ 1329600 w 1809294"/>
                  <a:gd name="connsiteY58" fmla="*/ 432265 h 3482801"/>
                  <a:gd name="connsiteX59" fmla="*/ 1301679 w 1809294"/>
                  <a:gd name="connsiteY59" fmla="*/ 299642 h 3482801"/>
                  <a:gd name="connsiteX60" fmla="*/ 1215614 w 1809294"/>
                  <a:gd name="connsiteY60" fmla="*/ 0 h 3482801"/>
                  <a:gd name="connsiteX0" fmla="*/ 0 w 1809294"/>
                  <a:gd name="connsiteY0" fmla="*/ 3482801 h 3482801"/>
                  <a:gd name="connsiteX1" fmla="*/ 54707 w 1809294"/>
                  <a:gd name="connsiteY1" fmla="*/ 3467170 h 3482801"/>
                  <a:gd name="connsiteX2" fmla="*/ 144584 w 1809294"/>
                  <a:gd name="connsiteY2" fmla="*/ 3385109 h 3482801"/>
                  <a:gd name="connsiteX3" fmla="*/ 254000 w 1809294"/>
                  <a:gd name="connsiteY3" fmla="*/ 3346032 h 3482801"/>
                  <a:gd name="connsiteX4" fmla="*/ 328246 w 1809294"/>
                  <a:gd name="connsiteY4" fmla="*/ 3291324 h 3482801"/>
                  <a:gd name="connsiteX5" fmla="*/ 379046 w 1809294"/>
                  <a:gd name="connsiteY5" fmla="*/ 3213170 h 3482801"/>
                  <a:gd name="connsiteX6" fmla="*/ 422031 w 1809294"/>
                  <a:gd name="connsiteY6" fmla="*/ 3158462 h 3482801"/>
                  <a:gd name="connsiteX7" fmla="*/ 484554 w 1809294"/>
                  <a:gd name="connsiteY7" fmla="*/ 3080309 h 3482801"/>
                  <a:gd name="connsiteX8" fmla="*/ 609600 w 1809294"/>
                  <a:gd name="connsiteY8" fmla="*/ 3002155 h 3482801"/>
                  <a:gd name="connsiteX9" fmla="*/ 730738 w 1809294"/>
                  <a:gd name="connsiteY9" fmla="*/ 2924001 h 3482801"/>
                  <a:gd name="connsiteX10" fmla="*/ 781538 w 1809294"/>
                  <a:gd name="connsiteY10" fmla="*/ 2896647 h 3482801"/>
                  <a:gd name="connsiteX11" fmla="*/ 824523 w 1809294"/>
                  <a:gd name="connsiteY11" fmla="*/ 2896647 h 3482801"/>
                  <a:gd name="connsiteX12" fmla="*/ 992554 w 1809294"/>
                  <a:gd name="connsiteY12" fmla="*/ 2892739 h 3482801"/>
                  <a:gd name="connsiteX13" fmla="*/ 1031631 w 1809294"/>
                  <a:gd name="connsiteY13" fmla="*/ 2892739 h 3482801"/>
                  <a:gd name="connsiteX14" fmla="*/ 1160584 w 1809294"/>
                  <a:gd name="connsiteY14" fmla="*/ 2857570 h 3482801"/>
                  <a:gd name="connsiteX15" fmla="*/ 1277815 w 1809294"/>
                  <a:gd name="connsiteY15" fmla="*/ 2826309 h 3482801"/>
                  <a:gd name="connsiteX16" fmla="*/ 1340338 w 1809294"/>
                  <a:gd name="connsiteY16" fmla="*/ 2795047 h 3482801"/>
                  <a:gd name="connsiteX17" fmla="*/ 1367692 w 1809294"/>
                  <a:gd name="connsiteY17" fmla="*/ 2767693 h 3482801"/>
                  <a:gd name="connsiteX18" fmla="*/ 1391138 w 1809294"/>
                  <a:gd name="connsiteY18" fmla="*/ 2716893 h 3482801"/>
                  <a:gd name="connsiteX19" fmla="*/ 1398954 w 1809294"/>
                  <a:gd name="connsiteY19" fmla="*/ 2705170 h 3482801"/>
                  <a:gd name="connsiteX20" fmla="*/ 1438031 w 1809294"/>
                  <a:gd name="connsiteY20" fmla="*/ 2685632 h 3482801"/>
                  <a:gd name="connsiteX21" fmla="*/ 1473200 w 1809294"/>
                  <a:gd name="connsiteY21" fmla="*/ 2658278 h 3482801"/>
                  <a:gd name="connsiteX22" fmla="*/ 1484923 w 1809294"/>
                  <a:gd name="connsiteY22" fmla="*/ 2615293 h 3482801"/>
                  <a:gd name="connsiteX23" fmla="*/ 1504461 w 1809294"/>
                  <a:gd name="connsiteY23" fmla="*/ 2521509 h 3482801"/>
                  <a:gd name="connsiteX24" fmla="*/ 1516184 w 1809294"/>
                  <a:gd name="connsiteY24" fmla="*/ 2470709 h 3482801"/>
                  <a:gd name="connsiteX25" fmla="*/ 1531815 w 1809294"/>
                  <a:gd name="connsiteY25" fmla="*/ 2451170 h 3482801"/>
                  <a:gd name="connsiteX26" fmla="*/ 1543538 w 1809294"/>
                  <a:gd name="connsiteY26" fmla="*/ 2443355 h 3482801"/>
                  <a:gd name="connsiteX27" fmla="*/ 1598246 w 1809294"/>
                  <a:gd name="connsiteY27" fmla="*/ 2427724 h 3482801"/>
                  <a:gd name="connsiteX28" fmla="*/ 1727200 w 1809294"/>
                  <a:gd name="connsiteY28" fmla="*/ 2412093 h 3482801"/>
                  <a:gd name="connsiteX29" fmla="*/ 1774092 w 1809294"/>
                  <a:gd name="connsiteY29" fmla="*/ 2388647 h 3482801"/>
                  <a:gd name="connsiteX30" fmla="*/ 1793631 w 1809294"/>
                  <a:gd name="connsiteY30" fmla="*/ 2349570 h 3482801"/>
                  <a:gd name="connsiteX31" fmla="*/ 1809261 w 1809294"/>
                  <a:gd name="connsiteY31" fmla="*/ 2197170 h 3482801"/>
                  <a:gd name="connsiteX32" fmla="*/ 1797538 w 1809294"/>
                  <a:gd name="connsiteY32" fmla="*/ 2126832 h 3482801"/>
                  <a:gd name="connsiteX33" fmla="*/ 1789723 w 1809294"/>
                  <a:gd name="connsiteY33" fmla="*/ 2076032 h 3482801"/>
                  <a:gd name="connsiteX34" fmla="*/ 1758461 w 1809294"/>
                  <a:gd name="connsiteY34" fmla="*/ 2052585 h 3482801"/>
                  <a:gd name="connsiteX35" fmla="*/ 1750646 w 1809294"/>
                  <a:gd name="connsiteY35" fmla="*/ 2017416 h 3482801"/>
                  <a:gd name="connsiteX36" fmla="*/ 1731107 w 1809294"/>
                  <a:gd name="connsiteY36" fmla="*/ 1954893 h 3482801"/>
                  <a:gd name="connsiteX37" fmla="*/ 1723292 w 1809294"/>
                  <a:gd name="connsiteY37" fmla="*/ 1923632 h 3482801"/>
                  <a:gd name="connsiteX38" fmla="*/ 1723292 w 1809294"/>
                  <a:gd name="connsiteY38" fmla="*/ 1818124 h 3482801"/>
                  <a:gd name="connsiteX39" fmla="*/ 1750646 w 1809294"/>
                  <a:gd name="connsiteY39" fmla="*/ 1802493 h 3482801"/>
                  <a:gd name="connsiteX40" fmla="*/ 1762369 w 1809294"/>
                  <a:gd name="connsiteY40" fmla="*/ 1775139 h 3482801"/>
                  <a:gd name="connsiteX41" fmla="*/ 1746738 w 1809294"/>
                  <a:gd name="connsiteY41" fmla="*/ 1728247 h 3482801"/>
                  <a:gd name="connsiteX42" fmla="*/ 1727200 w 1809294"/>
                  <a:gd name="connsiteY42" fmla="*/ 1681355 h 3482801"/>
                  <a:gd name="connsiteX43" fmla="*/ 1719384 w 1809294"/>
                  <a:gd name="connsiteY43" fmla="*/ 1618832 h 3482801"/>
                  <a:gd name="connsiteX44" fmla="*/ 1727200 w 1809294"/>
                  <a:gd name="connsiteY44" fmla="*/ 1552401 h 3482801"/>
                  <a:gd name="connsiteX45" fmla="*/ 1727200 w 1809294"/>
                  <a:gd name="connsiteY45" fmla="*/ 1497693 h 3482801"/>
                  <a:gd name="connsiteX46" fmla="*/ 1695938 w 1809294"/>
                  <a:gd name="connsiteY46" fmla="*/ 1407816 h 3482801"/>
                  <a:gd name="connsiteX47" fmla="*/ 1692031 w 1809294"/>
                  <a:gd name="connsiteY47" fmla="*/ 1333570 h 3482801"/>
                  <a:gd name="connsiteX48" fmla="*/ 1680307 w 1809294"/>
                  <a:gd name="connsiteY48" fmla="*/ 1243693 h 3482801"/>
                  <a:gd name="connsiteX49" fmla="*/ 1660769 w 1809294"/>
                  <a:gd name="connsiteY49" fmla="*/ 1216339 h 3482801"/>
                  <a:gd name="connsiteX50" fmla="*/ 1602154 w 1809294"/>
                  <a:gd name="connsiteY50" fmla="*/ 1173355 h 3482801"/>
                  <a:gd name="connsiteX51" fmla="*/ 1539631 w 1809294"/>
                  <a:gd name="connsiteY51" fmla="*/ 1130370 h 3482801"/>
                  <a:gd name="connsiteX52" fmla="*/ 1524000 w 1809294"/>
                  <a:gd name="connsiteY52" fmla="*/ 1110832 h 3482801"/>
                  <a:gd name="connsiteX53" fmla="*/ 1488831 w 1809294"/>
                  <a:gd name="connsiteY53" fmla="*/ 981878 h 3482801"/>
                  <a:gd name="connsiteX54" fmla="*/ 1466862 w 1809294"/>
                  <a:gd name="connsiteY54" fmla="*/ 904915 h 3482801"/>
                  <a:gd name="connsiteX55" fmla="*/ 1413361 w 1809294"/>
                  <a:gd name="connsiteY55" fmla="*/ 753352 h 3482801"/>
                  <a:gd name="connsiteX56" fmla="*/ 1364500 w 1809294"/>
                  <a:gd name="connsiteY56" fmla="*/ 613749 h 3482801"/>
                  <a:gd name="connsiteX57" fmla="*/ 1329600 w 1809294"/>
                  <a:gd name="connsiteY57" fmla="*/ 432265 h 3482801"/>
                  <a:gd name="connsiteX58" fmla="*/ 1301679 w 1809294"/>
                  <a:gd name="connsiteY58" fmla="*/ 299642 h 3482801"/>
                  <a:gd name="connsiteX59" fmla="*/ 1215614 w 1809294"/>
                  <a:gd name="connsiteY59" fmla="*/ 0 h 3482801"/>
                  <a:gd name="connsiteX0" fmla="*/ 0 w 1754587"/>
                  <a:gd name="connsiteY0" fmla="*/ 3467170 h 3467170"/>
                  <a:gd name="connsiteX1" fmla="*/ 89877 w 1754587"/>
                  <a:gd name="connsiteY1" fmla="*/ 3385109 h 3467170"/>
                  <a:gd name="connsiteX2" fmla="*/ 199293 w 1754587"/>
                  <a:gd name="connsiteY2" fmla="*/ 3346032 h 3467170"/>
                  <a:gd name="connsiteX3" fmla="*/ 273539 w 1754587"/>
                  <a:gd name="connsiteY3" fmla="*/ 3291324 h 3467170"/>
                  <a:gd name="connsiteX4" fmla="*/ 324339 w 1754587"/>
                  <a:gd name="connsiteY4" fmla="*/ 3213170 h 3467170"/>
                  <a:gd name="connsiteX5" fmla="*/ 367324 w 1754587"/>
                  <a:gd name="connsiteY5" fmla="*/ 3158462 h 3467170"/>
                  <a:gd name="connsiteX6" fmla="*/ 429847 w 1754587"/>
                  <a:gd name="connsiteY6" fmla="*/ 3080309 h 3467170"/>
                  <a:gd name="connsiteX7" fmla="*/ 554893 w 1754587"/>
                  <a:gd name="connsiteY7" fmla="*/ 3002155 h 3467170"/>
                  <a:gd name="connsiteX8" fmla="*/ 676031 w 1754587"/>
                  <a:gd name="connsiteY8" fmla="*/ 2924001 h 3467170"/>
                  <a:gd name="connsiteX9" fmla="*/ 726831 w 1754587"/>
                  <a:gd name="connsiteY9" fmla="*/ 2896647 h 3467170"/>
                  <a:gd name="connsiteX10" fmla="*/ 769816 w 1754587"/>
                  <a:gd name="connsiteY10" fmla="*/ 2896647 h 3467170"/>
                  <a:gd name="connsiteX11" fmla="*/ 937847 w 1754587"/>
                  <a:gd name="connsiteY11" fmla="*/ 2892739 h 3467170"/>
                  <a:gd name="connsiteX12" fmla="*/ 976924 w 1754587"/>
                  <a:gd name="connsiteY12" fmla="*/ 2892739 h 3467170"/>
                  <a:gd name="connsiteX13" fmla="*/ 1105877 w 1754587"/>
                  <a:gd name="connsiteY13" fmla="*/ 2857570 h 3467170"/>
                  <a:gd name="connsiteX14" fmla="*/ 1223108 w 1754587"/>
                  <a:gd name="connsiteY14" fmla="*/ 2826309 h 3467170"/>
                  <a:gd name="connsiteX15" fmla="*/ 1285631 w 1754587"/>
                  <a:gd name="connsiteY15" fmla="*/ 2795047 h 3467170"/>
                  <a:gd name="connsiteX16" fmla="*/ 1312985 w 1754587"/>
                  <a:gd name="connsiteY16" fmla="*/ 2767693 h 3467170"/>
                  <a:gd name="connsiteX17" fmla="*/ 1336431 w 1754587"/>
                  <a:gd name="connsiteY17" fmla="*/ 2716893 h 3467170"/>
                  <a:gd name="connsiteX18" fmla="*/ 1344247 w 1754587"/>
                  <a:gd name="connsiteY18" fmla="*/ 2705170 h 3467170"/>
                  <a:gd name="connsiteX19" fmla="*/ 1383324 w 1754587"/>
                  <a:gd name="connsiteY19" fmla="*/ 2685632 h 3467170"/>
                  <a:gd name="connsiteX20" fmla="*/ 1418493 w 1754587"/>
                  <a:gd name="connsiteY20" fmla="*/ 2658278 h 3467170"/>
                  <a:gd name="connsiteX21" fmla="*/ 1430216 w 1754587"/>
                  <a:gd name="connsiteY21" fmla="*/ 2615293 h 3467170"/>
                  <a:gd name="connsiteX22" fmla="*/ 1449754 w 1754587"/>
                  <a:gd name="connsiteY22" fmla="*/ 2521509 h 3467170"/>
                  <a:gd name="connsiteX23" fmla="*/ 1461477 w 1754587"/>
                  <a:gd name="connsiteY23" fmla="*/ 2470709 h 3467170"/>
                  <a:gd name="connsiteX24" fmla="*/ 1477108 w 1754587"/>
                  <a:gd name="connsiteY24" fmla="*/ 2451170 h 3467170"/>
                  <a:gd name="connsiteX25" fmla="*/ 1488831 w 1754587"/>
                  <a:gd name="connsiteY25" fmla="*/ 2443355 h 3467170"/>
                  <a:gd name="connsiteX26" fmla="*/ 1543539 w 1754587"/>
                  <a:gd name="connsiteY26" fmla="*/ 2427724 h 3467170"/>
                  <a:gd name="connsiteX27" fmla="*/ 1672493 w 1754587"/>
                  <a:gd name="connsiteY27" fmla="*/ 2412093 h 3467170"/>
                  <a:gd name="connsiteX28" fmla="*/ 1719385 w 1754587"/>
                  <a:gd name="connsiteY28" fmla="*/ 2388647 h 3467170"/>
                  <a:gd name="connsiteX29" fmla="*/ 1738924 w 1754587"/>
                  <a:gd name="connsiteY29" fmla="*/ 2349570 h 3467170"/>
                  <a:gd name="connsiteX30" fmla="*/ 1754554 w 1754587"/>
                  <a:gd name="connsiteY30" fmla="*/ 2197170 h 3467170"/>
                  <a:gd name="connsiteX31" fmla="*/ 1742831 w 1754587"/>
                  <a:gd name="connsiteY31" fmla="*/ 2126832 h 3467170"/>
                  <a:gd name="connsiteX32" fmla="*/ 1735016 w 1754587"/>
                  <a:gd name="connsiteY32" fmla="*/ 2076032 h 3467170"/>
                  <a:gd name="connsiteX33" fmla="*/ 1703754 w 1754587"/>
                  <a:gd name="connsiteY33" fmla="*/ 2052585 h 3467170"/>
                  <a:gd name="connsiteX34" fmla="*/ 1695939 w 1754587"/>
                  <a:gd name="connsiteY34" fmla="*/ 2017416 h 3467170"/>
                  <a:gd name="connsiteX35" fmla="*/ 1676400 w 1754587"/>
                  <a:gd name="connsiteY35" fmla="*/ 1954893 h 3467170"/>
                  <a:gd name="connsiteX36" fmla="*/ 1668585 w 1754587"/>
                  <a:gd name="connsiteY36" fmla="*/ 1923632 h 3467170"/>
                  <a:gd name="connsiteX37" fmla="*/ 1668585 w 1754587"/>
                  <a:gd name="connsiteY37" fmla="*/ 1818124 h 3467170"/>
                  <a:gd name="connsiteX38" fmla="*/ 1695939 w 1754587"/>
                  <a:gd name="connsiteY38" fmla="*/ 1802493 h 3467170"/>
                  <a:gd name="connsiteX39" fmla="*/ 1707662 w 1754587"/>
                  <a:gd name="connsiteY39" fmla="*/ 1775139 h 3467170"/>
                  <a:gd name="connsiteX40" fmla="*/ 1692031 w 1754587"/>
                  <a:gd name="connsiteY40" fmla="*/ 1728247 h 3467170"/>
                  <a:gd name="connsiteX41" fmla="*/ 1672493 w 1754587"/>
                  <a:gd name="connsiteY41" fmla="*/ 1681355 h 3467170"/>
                  <a:gd name="connsiteX42" fmla="*/ 1664677 w 1754587"/>
                  <a:gd name="connsiteY42" fmla="*/ 1618832 h 3467170"/>
                  <a:gd name="connsiteX43" fmla="*/ 1672493 w 1754587"/>
                  <a:gd name="connsiteY43" fmla="*/ 1552401 h 3467170"/>
                  <a:gd name="connsiteX44" fmla="*/ 1672493 w 1754587"/>
                  <a:gd name="connsiteY44" fmla="*/ 1497693 h 3467170"/>
                  <a:gd name="connsiteX45" fmla="*/ 1641231 w 1754587"/>
                  <a:gd name="connsiteY45" fmla="*/ 1407816 h 3467170"/>
                  <a:gd name="connsiteX46" fmla="*/ 1637324 w 1754587"/>
                  <a:gd name="connsiteY46" fmla="*/ 1333570 h 3467170"/>
                  <a:gd name="connsiteX47" fmla="*/ 1625600 w 1754587"/>
                  <a:gd name="connsiteY47" fmla="*/ 1243693 h 3467170"/>
                  <a:gd name="connsiteX48" fmla="*/ 1606062 w 1754587"/>
                  <a:gd name="connsiteY48" fmla="*/ 1216339 h 3467170"/>
                  <a:gd name="connsiteX49" fmla="*/ 1547447 w 1754587"/>
                  <a:gd name="connsiteY49" fmla="*/ 1173355 h 3467170"/>
                  <a:gd name="connsiteX50" fmla="*/ 1484924 w 1754587"/>
                  <a:gd name="connsiteY50" fmla="*/ 1130370 h 3467170"/>
                  <a:gd name="connsiteX51" fmla="*/ 1469293 w 1754587"/>
                  <a:gd name="connsiteY51" fmla="*/ 1110832 h 3467170"/>
                  <a:gd name="connsiteX52" fmla="*/ 1434124 w 1754587"/>
                  <a:gd name="connsiteY52" fmla="*/ 981878 h 3467170"/>
                  <a:gd name="connsiteX53" fmla="*/ 1412155 w 1754587"/>
                  <a:gd name="connsiteY53" fmla="*/ 904915 h 3467170"/>
                  <a:gd name="connsiteX54" fmla="*/ 1358654 w 1754587"/>
                  <a:gd name="connsiteY54" fmla="*/ 753352 h 3467170"/>
                  <a:gd name="connsiteX55" fmla="*/ 1309793 w 1754587"/>
                  <a:gd name="connsiteY55" fmla="*/ 613749 h 3467170"/>
                  <a:gd name="connsiteX56" fmla="*/ 1274893 w 1754587"/>
                  <a:gd name="connsiteY56" fmla="*/ 432265 h 3467170"/>
                  <a:gd name="connsiteX57" fmla="*/ 1246972 w 1754587"/>
                  <a:gd name="connsiteY57" fmla="*/ 299642 h 3467170"/>
                  <a:gd name="connsiteX58" fmla="*/ 1160907 w 1754587"/>
                  <a:gd name="connsiteY58" fmla="*/ 0 h 3467170"/>
                  <a:gd name="connsiteX0" fmla="*/ 0 w 1717864"/>
                  <a:gd name="connsiteY0" fmla="*/ 3485532 h 3485532"/>
                  <a:gd name="connsiteX1" fmla="*/ 53154 w 1717864"/>
                  <a:gd name="connsiteY1" fmla="*/ 3385109 h 3485532"/>
                  <a:gd name="connsiteX2" fmla="*/ 162570 w 1717864"/>
                  <a:gd name="connsiteY2" fmla="*/ 3346032 h 3485532"/>
                  <a:gd name="connsiteX3" fmla="*/ 236816 w 1717864"/>
                  <a:gd name="connsiteY3" fmla="*/ 3291324 h 3485532"/>
                  <a:gd name="connsiteX4" fmla="*/ 287616 w 1717864"/>
                  <a:gd name="connsiteY4" fmla="*/ 3213170 h 3485532"/>
                  <a:gd name="connsiteX5" fmla="*/ 330601 w 1717864"/>
                  <a:gd name="connsiteY5" fmla="*/ 3158462 h 3485532"/>
                  <a:gd name="connsiteX6" fmla="*/ 393124 w 1717864"/>
                  <a:gd name="connsiteY6" fmla="*/ 3080309 h 3485532"/>
                  <a:gd name="connsiteX7" fmla="*/ 518170 w 1717864"/>
                  <a:gd name="connsiteY7" fmla="*/ 3002155 h 3485532"/>
                  <a:gd name="connsiteX8" fmla="*/ 639308 w 1717864"/>
                  <a:gd name="connsiteY8" fmla="*/ 2924001 h 3485532"/>
                  <a:gd name="connsiteX9" fmla="*/ 690108 w 1717864"/>
                  <a:gd name="connsiteY9" fmla="*/ 2896647 h 3485532"/>
                  <a:gd name="connsiteX10" fmla="*/ 733093 w 1717864"/>
                  <a:gd name="connsiteY10" fmla="*/ 2896647 h 3485532"/>
                  <a:gd name="connsiteX11" fmla="*/ 901124 w 1717864"/>
                  <a:gd name="connsiteY11" fmla="*/ 2892739 h 3485532"/>
                  <a:gd name="connsiteX12" fmla="*/ 940201 w 1717864"/>
                  <a:gd name="connsiteY12" fmla="*/ 2892739 h 3485532"/>
                  <a:gd name="connsiteX13" fmla="*/ 1069154 w 1717864"/>
                  <a:gd name="connsiteY13" fmla="*/ 2857570 h 3485532"/>
                  <a:gd name="connsiteX14" fmla="*/ 1186385 w 1717864"/>
                  <a:gd name="connsiteY14" fmla="*/ 2826309 h 3485532"/>
                  <a:gd name="connsiteX15" fmla="*/ 1248908 w 1717864"/>
                  <a:gd name="connsiteY15" fmla="*/ 2795047 h 3485532"/>
                  <a:gd name="connsiteX16" fmla="*/ 1276262 w 1717864"/>
                  <a:gd name="connsiteY16" fmla="*/ 2767693 h 3485532"/>
                  <a:gd name="connsiteX17" fmla="*/ 1299708 w 1717864"/>
                  <a:gd name="connsiteY17" fmla="*/ 2716893 h 3485532"/>
                  <a:gd name="connsiteX18" fmla="*/ 1307524 w 1717864"/>
                  <a:gd name="connsiteY18" fmla="*/ 2705170 h 3485532"/>
                  <a:gd name="connsiteX19" fmla="*/ 1346601 w 1717864"/>
                  <a:gd name="connsiteY19" fmla="*/ 2685632 h 3485532"/>
                  <a:gd name="connsiteX20" fmla="*/ 1381770 w 1717864"/>
                  <a:gd name="connsiteY20" fmla="*/ 2658278 h 3485532"/>
                  <a:gd name="connsiteX21" fmla="*/ 1393493 w 1717864"/>
                  <a:gd name="connsiteY21" fmla="*/ 2615293 h 3485532"/>
                  <a:gd name="connsiteX22" fmla="*/ 1413031 w 1717864"/>
                  <a:gd name="connsiteY22" fmla="*/ 2521509 h 3485532"/>
                  <a:gd name="connsiteX23" fmla="*/ 1424754 w 1717864"/>
                  <a:gd name="connsiteY23" fmla="*/ 2470709 h 3485532"/>
                  <a:gd name="connsiteX24" fmla="*/ 1440385 w 1717864"/>
                  <a:gd name="connsiteY24" fmla="*/ 2451170 h 3485532"/>
                  <a:gd name="connsiteX25" fmla="*/ 1452108 w 1717864"/>
                  <a:gd name="connsiteY25" fmla="*/ 2443355 h 3485532"/>
                  <a:gd name="connsiteX26" fmla="*/ 1506816 w 1717864"/>
                  <a:gd name="connsiteY26" fmla="*/ 2427724 h 3485532"/>
                  <a:gd name="connsiteX27" fmla="*/ 1635770 w 1717864"/>
                  <a:gd name="connsiteY27" fmla="*/ 2412093 h 3485532"/>
                  <a:gd name="connsiteX28" fmla="*/ 1682662 w 1717864"/>
                  <a:gd name="connsiteY28" fmla="*/ 2388647 h 3485532"/>
                  <a:gd name="connsiteX29" fmla="*/ 1702201 w 1717864"/>
                  <a:gd name="connsiteY29" fmla="*/ 2349570 h 3485532"/>
                  <a:gd name="connsiteX30" fmla="*/ 1717831 w 1717864"/>
                  <a:gd name="connsiteY30" fmla="*/ 2197170 h 3485532"/>
                  <a:gd name="connsiteX31" fmla="*/ 1706108 w 1717864"/>
                  <a:gd name="connsiteY31" fmla="*/ 2126832 h 3485532"/>
                  <a:gd name="connsiteX32" fmla="*/ 1698293 w 1717864"/>
                  <a:gd name="connsiteY32" fmla="*/ 2076032 h 3485532"/>
                  <a:gd name="connsiteX33" fmla="*/ 1667031 w 1717864"/>
                  <a:gd name="connsiteY33" fmla="*/ 2052585 h 3485532"/>
                  <a:gd name="connsiteX34" fmla="*/ 1659216 w 1717864"/>
                  <a:gd name="connsiteY34" fmla="*/ 2017416 h 3485532"/>
                  <a:gd name="connsiteX35" fmla="*/ 1639677 w 1717864"/>
                  <a:gd name="connsiteY35" fmla="*/ 1954893 h 3485532"/>
                  <a:gd name="connsiteX36" fmla="*/ 1631862 w 1717864"/>
                  <a:gd name="connsiteY36" fmla="*/ 1923632 h 3485532"/>
                  <a:gd name="connsiteX37" fmla="*/ 1631862 w 1717864"/>
                  <a:gd name="connsiteY37" fmla="*/ 1818124 h 3485532"/>
                  <a:gd name="connsiteX38" fmla="*/ 1659216 w 1717864"/>
                  <a:gd name="connsiteY38" fmla="*/ 1802493 h 3485532"/>
                  <a:gd name="connsiteX39" fmla="*/ 1670939 w 1717864"/>
                  <a:gd name="connsiteY39" fmla="*/ 1775139 h 3485532"/>
                  <a:gd name="connsiteX40" fmla="*/ 1655308 w 1717864"/>
                  <a:gd name="connsiteY40" fmla="*/ 1728247 h 3485532"/>
                  <a:gd name="connsiteX41" fmla="*/ 1635770 w 1717864"/>
                  <a:gd name="connsiteY41" fmla="*/ 1681355 h 3485532"/>
                  <a:gd name="connsiteX42" fmla="*/ 1627954 w 1717864"/>
                  <a:gd name="connsiteY42" fmla="*/ 1618832 h 3485532"/>
                  <a:gd name="connsiteX43" fmla="*/ 1635770 w 1717864"/>
                  <a:gd name="connsiteY43" fmla="*/ 1552401 h 3485532"/>
                  <a:gd name="connsiteX44" fmla="*/ 1635770 w 1717864"/>
                  <a:gd name="connsiteY44" fmla="*/ 1497693 h 3485532"/>
                  <a:gd name="connsiteX45" fmla="*/ 1604508 w 1717864"/>
                  <a:gd name="connsiteY45" fmla="*/ 1407816 h 3485532"/>
                  <a:gd name="connsiteX46" fmla="*/ 1600601 w 1717864"/>
                  <a:gd name="connsiteY46" fmla="*/ 1333570 h 3485532"/>
                  <a:gd name="connsiteX47" fmla="*/ 1588877 w 1717864"/>
                  <a:gd name="connsiteY47" fmla="*/ 1243693 h 3485532"/>
                  <a:gd name="connsiteX48" fmla="*/ 1569339 w 1717864"/>
                  <a:gd name="connsiteY48" fmla="*/ 1216339 h 3485532"/>
                  <a:gd name="connsiteX49" fmla="*/ 1510724 w 1717864"/>
                  <a:gd name="connsiteY49" fmla="*/ 1173355 h 3485532"/>
                  <a:gd name="connsiteX50" fmla="*/ 1448201 w 1717864"/>
                  <a:gd name="connsiteY50" fmla="*/ 1130370 h 3485532"/>
                  <a:gd name="connsiteX51" fmla="*/ 1432570 w 1717864"/>
                  <a:gd name="connsiteY51" fmla="*/ 1110832 h 3485532"/>
                  <a:gd name="connsiteX52" fmla="*/ 1397401 w 1717864"/>
                  <a:gd name="connsiteY52" fmla="*/ 981878 h 3485532"/>
                  <a:gd name="connsiteX53" fmla="*/ 1375432 w 1717864"/>
                  <a:gd name="connsiteY53" fmla="*/ 904915 h 3485532"/>
                  <a:gd name="connsiteX54" fmla="*/ 1321931 w 1717864"/>
                  <a:gd name="connsiteY54" fmla="*/ 753352 h 3485532"/>
                  <a:gd name="connsiteX55" fmla="*/ 1273070 w 1717864"/>
                  <a:gd name="connsiteY55" fmla="*/ 613749 h 3485532"/>
                  <a:gd name="connsiteX56" fmla="*/ 1238170 w 1717864"/>
                  <a:gd name="connsiteY56" fmla="*/ 432265 h 3485532"/>
                  <a:gd name="connsiteX57" fmla="*/ 1210249 w 1717864"/>
                  <a:gd name="connsiteY57" fmla="*/ 299642 h 3485532"/>
                  <a:gd name="connsiteX58" fmla="*/ 1124184 w 1717864"/>
                  <a:gd name="connsiteY58" fmla="*/ 0 h 3485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717864" h="3485532">
                    <a:moveTo>
                      <a:pt x="0" y="3485532"/>
                    </a:moveTo>
                    <a:cubicBezTo>
                      <a:pt x="24097" y="3469250"/>
                      <a:pt x="26059" y="3408359"/>
                      <a:pt x="53154" y="3385109"/>
                    </a:cubicBezTo>
                    <a:cubicBezTo>
                      <a:pt x="80249" y="3361859"/>
                      <a:pt x="131960" y="3361663"/>
                      <a:pt x="162570" y="3346032"/>
                    </a:cubicBezTo>
                    <a:cubicBezTo>
                      <a:pt x="193180" y="3330401"/>
                      <a:pt x="215975" y="3313468"/>
                      <a:pt x="236816" y="3291324"/>
                    </a:cubicBezTo>
                    <a:cubicBezTo>
                      <a:pt x="257657" y="3269180"/>
                      <a:pt x="271985" y="3235314"/>
                      <a:pt x="287616" y="3213170"/>
                    </a:cubicBezTo>
                    <a:cubicBezTo>
                      <a:pt x="303247" y="3191026"/>
                      <a:pt x="330601" y="3158462"/>
                      <a:pt x="330601" y="3158462"/>
                    </a:cubicBezTo>
                    <a:cubicBezTo>
                      <a:pt x="348186" y="3136319"/>
                      <a:pt x="361863" y="3106360"/>
                      <a:pt x="393124" y="3080309"/>
                    </a:cubicBezTo>
                    <a:cubicBezTo>
                      <a:pt x="424385" y="3054258"/>
                      <a:pt x="477139" y="3028206"/>
                      <a:pt x="518170" y="3002155"/>
                    </a:cubicBezTo>
                    <a:cubicBezTo>
                      <a:pt x="559201" y="2976104"/>
                      <a:pt x="610652" y="2941586"/>
                      <a:pt x="639308" y="2924001"/>
                    </a:cubicBezTo>
                    <a:cubicBezTo>
                      <a:pt x="667964" y="2906416"/>
                      <a:pt x="674477" y="2901206"/>
                      <a:pt x="690108" y="2896647"/>
                    </a:cubicBezTo>
                    <a:cubicBezTo>
                      <a:pt x="705739" y="2892088"/>
                      <a:pt x="733093" y="2896647"/>
                      <a:pt x="733093" y="2896647"/>
                    </a:cubicBezTo>
                    <a:lnTo>
                      <a:pt x="901124" y="2892739"/>
                    </a:lnTo>
                    <a:cubicBezTo>
                      <a:pt x="935642" y="2892088"/>
                      <a:pt x="912196" y="2898600"/>
                      <a:pt x="940201" y="2892739"/>
                    </a:cubicBezTo>
                    <a:cubicBezTo>
                      <a:pt x="968206" y="2886878"/>
                      <a:pt x="1069154" y="2857570"/>
                      <a:pt x="1069154" y="2857570"/>
                    </a:cubicBezTo>
                    <a:cubicBezTo>
                      <a:pt x="1110185" y="2846498"/>
                      <a:pt x="1156426" y="2836729"/>
                      <a:pt x="1186385" y="2826309"/>
                    </a:cubicBezTo>
                    <a:cubicBezTo>
                      <a:pt x="1216344" y="2815889"/>
                      <a:pt x="1233929" y="2804816"/>
                      <a:pt x="1248908" y="2795047"/>
                    </a:cubicBezTo>
                    <a:cubicBezTo>
                      <a:pt x="1263888" y="2785278"/>
                      <a:pt x="1267795" y="2780719"/>
                      <a:pt x="1276262" y="2767693"/>
                    </a:cubicBezTo>
                    <a:cubicBezTo>
                      <a:pt x="1284729" y="2754667"/>
                      <a:pt x="1299708" y="2716893"/>
                      <a:pt x="1299708" y="2716893"/>
                    </a:cubicBezTo>
                    <a:cubicBezTo>
                      <a:pt x="1304918" y="2706473"/>
                      <a:pt x="1299709" y="2710380"/>
                      <a:pt x="1307524" y="2705170"/>
                    </a:cubicBezTo>
                    <a:cubicBezTo>
                      <a:pt x="1315339" y="2699960"/>
                      <a:pt x="1334227" y="2693447"/>
                      <a:pt x="1346601" y="2685632"/>
                    </a:cubicBezTo>
                    <a:cubicBezTo>
                      <a:pt x="1358975" y="2677817"/>
                      <a:pt x="1373955" y="2670001"/>
                      <a:pt x="1381770" y="2658278"/>
                    </a:cubicBezTo>
                    <a:cubicBezTo>
                      <a:pt x="1389585" y="2646555"/>
                      <a:pt x="1388283" y="2638088"/>
                      <a:pt x="1393493" y="2615293"/>
                    </a:cubicBezTo>
                    <a:cubicBezTo>
                      <a:pt x="1398703" y="2592498"/>
                      <a:pt x="1407821" y="2545606"/>
                      <a:pt x="1413031" y="2521509"/>
                    </a:cubicBezTo>
                    <a:cubicBezTo>
                      <a:pt x="1418241" y="2497412"/>
                      <a:pt x="1424754" y="2470709"/>
                      <a:pt x="1424754" y="2470709"/>
                    </a:cubicBezTo>
                    <a:cubicBezTo>
                      <a:pt x="1429313" y="2458986"/>
                      <a:pt x="1435826" y="2455729"/>
                      <a:pt x="1440385" y="2451170"/>
                    </a:cubicBezTo>
                    <a:cubicBezTo>
                      <a:pt x="1444944" y="2446611"/>
                      <a:pt x="1441036" y="2447263"/>
                      <a:pt x="1452108" y="2443355"/>
                    </a:cubicBezTo>
                    <a:cubicBezTo>
                      <a:pt x="1463180" y="2439447"/>
                      <a:pt x="1476206" y="2432934"/>
                      <a:pt x="1506816" y="2427724"/>
                    </a:cubicBezTo>
                    <a:cubicBezTo>
                      <a:pt x="1537426" y="2422514"/>
                      <a:pt x="1606462" y="2418606"/>
                      <a:pt x="1635770" y="2412093"/>
                    </a:cubicBezTo>
                    <a:cubicBezTo>
                      <a:pt x="1665078" y="2405580"/>
                      <a:pt x="1671590" y="2399067"/>
                      <a:pt x="1682662" y="2388647"/>
                    </a:cubicBezTo>
                    <a:cubicBezTo>
                      <a:pt x="1693734" y="2378227"/>
                      <a:pt x="1696339" y="2381483"/>
                      <a:pt x="1702201" y="2349570"/>
                    </a:cubicBezTo>
                    <a:cubicBezTo>
                      <a:pt x="1708063" y="2317657"/>
                      <a:pt x="1717180" y="2234293"/>
                      <a:pt x="1717831" y="2197170"/>
                    </a:cubicBezTo>
                    <a:cubicBezTo>
                      <a:pt x="1718482" y="2160047"/>
                      <a:pt x="1709364" y="2147022"/>
                      <a:pt x="1706108" y="2126832"/>
                    </a:cubicBezTo>
                    <a:cubicBezTo>
                      <a:pt x="1702852" y="2106642"/>
                      <a:pt x="1704806" y="2088406"/>
                      <a:pt x="1698293" y="2076032"/>
                    </a:cubicBezTo>
                    <a:cubicBezTo>
                      <a:pt x="1691780" y="2063658"/>
                      <a:pt x="1673544" y="2062354"/>
                      <a:pt x="1667031" y="2052585"/>
                    </a:cubicBezTo>
                    <a:cubicBezTo>
                      <a:pt x="1660518" y="2042816"/>
                      <a:pt x="1663775" y="2033698"/>
                      <a:pt x="1659216" y="2017416"/>
                    </a:cubicBezTo>
                    <a:cubicBezTo>
                      <a:pt x="1654657" y="2001134"/>
                      <a:pt x="1644236" y="1970524"/>
                      <a:pt x="1639677" y="1954893"/>
                    </a:cubicBezTo>
                    <a:cubicBezTo>
                      <a:pt x="1635118" y="1939262"/>
                      <a:pt x="1633164" y="1946427"/>
                      <a:pt x="1631862" y="1923632"/>
                    </a:cubicBezTo>
                    <a:cubicBezTo>
                      <a:pt x="1630560" y="1900837"/>
                      <a:pt x="1627303" y="1838314"/>
                      <a:pt x="1631862" y="1818124"/>
                    </a:cubicBezTo>
                    <a:cubicBezTo>
                      <a:pt x="1636421" y="1797934"/>
                      <a:pt x="1652703" y="1809657"/>
                      <a:pt x="1659216" y="1802493"/>
                    </a:cubicBezTo>
                    <a:cubicBezTo>
                      <a:pt x="1665729" y="1795329"/>
                      <a:pt x="1671590" y="1787513"/>
                      <a:pt x="1670939" y="1775139"/>
                    </a:cubicBezTo>
                    <a:cubicBezTo>
                      <a:pt x="1670288" y="1762765"/>
                      <a:pt x="1661169" y="1743878"/>
                      <a:pt x="1655308" y="1728247"/>
                    </a:cubicBezTo>
                    <a:cubicBezTo>
                      <a:pt x="1649447" y="1712616"/>
                      <a:pt x="1640329" y="1699591"/>
                      <a:pt x="1635770" y="1681355"/>
                    </a:cubicBezTo>
                    <a:cubicBezTo>
                      <a:pt x="1631211" y="1663119"/>
                      <a:pt x="1627954" y="1640324"/>
                      <a:pt x="1627954" y="1618832"/>
                    </a:cubicBezTo>
                    <a:cubicBezTo>
                      <a:pt x="1627954" y="1597340"/>
                      <a:pt x="1634467" y="1572591"/>
                      <a:pt x="1635770" y="1552401"/>
                    </a:cubicBezTo>
                    <a:cubicBezTo>
                      <a:pt x="1637073" y="1532211"/>
                      <a:pt x="1640980" y="1521790"/>
                      <a:pt x="1635770" y="1497693"/>
                    </a:cubicBezTo>
                    <a:cubicBezTo>
                      <a:pt x="1630560" y="1473596"/>
                      <a:pt x="1610369" y="1435170"/>
                      <a:pt x="1604508" y="1407816"/>
                    </a:cubicBezTo>
                    <a:cubicBezTo>
                      <a:pt x="1598647" y="1380462"/>
                      <a:pt x="1603206" y="1360924"/>
                      <a:pt x="1600601" y="1333570"/>
                    </a:cubicBezTo>
                    <a:cubicBezTo>
                      <a:pt x="1597996" y="1306216"/>
                      <a:pt x="1594087" y="1263231"/>
                      <a:pt x="1588877" y="1243693"/>
                    </a:cubicBezTo>
                    <a:cubicBezTo>
                      <a:pt x="1583667" y="1224155"/>
                      <a:pt x="1582364" y="1228062"/>
                      <a:pt x="1569339" y="1216339"/>
                    </a:cubicBezTo>
                    <a:cubicBezTo>
                      <a:pt x="1556314" y="1204616"/>
                      <a:pt x="1530913" y="1187683"/>
                      <a:pt x="1510724" y="1173355"/>
                    </a:cubicBezTo>
                    <a:cubicBezTo>
                      <a:pt x="1490535" y="1159027"/>
                      <a:pt x="1448201" y="1130370"/>
                      <a:pt x="1448201" y="1130370"/>
                    </a:cubicBezTo>
                    <a:cubicBezTo>
                      <a:pt x="1435175" y="1119949"/>
                      <a:pt x="1441037" y="1135581"/>
                      <a:pt x="1432570" y="1110832"/>
                    </a:cubicBezTo>
                    <a:cubicBezTo>
                      <a:pt x="1424103" y="1086083"/>
                      <a:pt x="1406924" y="1016197"/>
                      <a:pt x="1397401" y="981878"/>
                    </a:cubicBezTo>
                    <a:cubicBezTo>
                      <a:pt x="1387878" y="947559"/>
                      <a:pt x="1388010" y="943003"/>
                      <a:pt x="1375432" y="904915"/>
                    </a:cubicBezTo>
                    <a:cubicBezTo>
                      <a:pt x="1362854" y="866827"/>
                      <a:pt x="1338991" y="801880"/>
                      <a:pt x="1321931" y="753352"/>
                    </a:cubicBezTo>
                    <a:cubicBezTo>
                      <a:pt x="1304871" y="704824"/>
                      <a:pt x="1287030" y="667263"/>
                      <a:pt x="1273070" y="613749"/>
                    </a:cubicBezTo>
                    <a:cubicBezTo>
                      <a:pt x="1259110" y="560234"/>
                      <a:pt x="1248640" y="484616"/>
                      <a:pt x="1238170" y="432265"/>
                    </a:cubicBezTo>
                    <a:cubicBezTo>
                      <a:pt x="1227700" y="379914"/>
                      <a:pt x="1229247" y="371686"/>
                      <a:pt x="1210249" y="299642"/>
                    </a:cubicBezTo>
                    <a:cubicBezTo>
                      <a:pt x="1191251" y="227598"/>
                      <a:pt x="1157717" y="113799"/>
                      <a:pt x="1124184" y="0"/>
                    </a:cubicBezTo>
                  </a:path>
                </a:pathLst>
              </a:custGeom>
              <a:noFill/>
              <a:ln w="38100">
                <a:solidFill>
                  <a:srgbClr val="FF0000"/>
                </a:solidFill>
                <a:headEnd type="oval" w="lg" len="lg"/>
                <a:tailEnd type="oval" w="lg" len="lg"/>
              </a:ln>
              <a:effectLst>
                <a:glow rad="254000">
                  <a:srgbClr val="FF0000">
                    <a:alpha val="20000"/>
                  </a:srgb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3A143479-741E-1341-BDA1-0007EFB62C5D}"/>
                  </a:ext>
                </a:extLst>
              </p:cNvPr>
              <p:cNvSpPr txBox="1"/>
              <p:nvPr/>
            </p:nvSpPr>
            <p:spPr>
              <a:xfrm>
                <a:off x="1869079" y="3766130"/>
                <a:ext cx="2503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5F25DD5-BEB0-0946-8D33-634ABC672F18}"/>
                  </a:ext>
                </a:extLst>
              </p:cNvPr>
              <p:cNvSpPr txBox="1"/>
              <p:nvPr/>
            </p:nvSpPr>
            <p:spPr>
              <a:xfrm>
                <a:off x="2987329" y="281886"/>
                <a:ext cx="2503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</p:grpSp>
      <p:sp>
        <p:nvSpPr>
          <p:cNvPr id="31" name="Прямоугольник 30"/>
          <p:cNvSpPr/>
          <p:nvPr userDrawn="1"/>
        </p:nvSpPr>
        <p:spPr>
          <a:xfrm>
            <a:off x="0" y="6479822"/>
            <a:ext cx="9906000" cy="37817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65766" y="6546739"/>
            <a:ext cx="1956397" cy="2217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509" y="6533804"/>
            <a:ext cx="1704454" cy="2346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86E897-D47A-DF49-947E-7FDF216B1BB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4" name="Прямоугольник 23"/>
          <p:cNvSpPr/>
          <p:nvPr userDrawn="1"/>
        </p:nvSpPr>
        <p:spPr>
          <a:xfrm>
            <a:off x="510255" y="6520334"/>
            <a:ext cx="52251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ru-RU" sz="1100" b="1" dirty="0">
                <a:solidFill>
                  <a:schemeClr val="bg1"/>
                </a:solidFill>
                <a:effectLst/>
                <a:latin typeface="Acumin Pro Condensed" charset="0"/>
                <a:ea typeface="Acumin Pro Condensed" charset="0"/>
                <a:cs typeface="Acumin Pro Condensed" charset="0"/>
              </a:rPr>
              <a:t>Центр цифровых высокоскоростных транспортных систем РУТ (МИИТ) </a:t>
            </a:r>
          </a:p>
        </p:txBody>
      </p:sp>
      <p:pic>
        <p:nvPicPr>
          <p:cNvPr id="32" name="Рисунок 3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799" y="6533804"/>
            <a:ext cx="262505" cy="262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7758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>
            <a:off x="0" y="6523056"/>
            <a:ext cx="9906000" cy="33494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93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1" y="365128"/>
            <a:ext cx="8543925" cy="659632"/>
          </a:xfrm>
        </p:spPr>
        <p:txBody>
          <a:bodyPr>
            <a:normAutofit/>
          </a:bodyPr>
          <a:lstStyle>
            <a:lvl1pPr>
              <a:defRPr sz="2476">
                <a:solidFill>
                  <a:srgbClr val="BF2D23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41" y="1180715"/>
            <a:ext cx="8543925" cy="4351338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65769" y="6595975"/>
            <a:ext cx="1956397" cy="172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510" y="6581672"/>
            <a:ext cx="1704454" cy="1868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C0E7F69-BF9F-4C00-A470-3F84C9DC11B3}" type="slidenum">
              <a:rPr lang="ru-RU" smtClean="0"/>
              <a:t>‹#›</a:t>
            </a:fld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543063" y="6595975"/>
            <a:ext cx="3813865" cy="2132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ru-RU" sz="786" b="1" dirty="0">
                <a:solidFill>
                  <a:schemeClr val="bg1"/>
                </a:solidFill>
                <a:effectLst/>
                <a:latin typeface="Acumin Pro Condensed" charset="0"/>
                <a:ea typeface="Acumin Pro Condensed" charset="0"/>
                <a:cs typeface="Acumin Pro Condensed" charset="0"/>
              </a:rPr>
              <a:t>Центр цифровых высокоскоростных транспортных систем РУТ (МИИТ) </a:t>
            </a:r>
          </a:p>
        </p:txBody>
      </p:sp>
      <p:pic>
        <p:nvPicPr>
          <p:cNvPr id="32" name="Рисунок 31"/>
          <p:cNvPicPr>
            <a:picLocks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802" y="6595975"/>
            <a:ext cx="222857" cy="205714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6576" y="0"/>
            <a:ext cx="3549427" cy="1967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195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81" y="1709745"/>
            <a:ext cx="8543925" cy="2852737"/>
          </a:xfrm>
        </p:spPr>
        <p:txBody>
          <a:bodyPr anchor="b"/>
          <a:lstStyle>
            <a:lvl1pPr>
              <a:defRPr sz="4643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81" y="4589470"/>
            <a:ext cx="8543925" cy="1500187"/>
          </a:xfrm>
        </p:spPr>
        <p:txBody>
          <a:bodyPr/>
          <a:lstStyle>
            <a:lvl1pPr marL="0" indent="0">
              <a:buNone/>
              <a:defRPr sz="1857">
                <a:solidFill>
                  <a:schemeClr val="tx1"/>
                </a:solidFill>
              </a:defRPr>
            </a:lvl1pPr>
            <a:lvl2pPr marL="353776" indent="0">
              <a:buNone/>
              <a:defRPr sz="1548">
                <a:solidFill>
                  <a:schemeClr val="tx1">
                    <a:tint val="75000"/>
                  </a:schemeClr>
                </a:solidFill>
              </a:defRPr>
            </a:lvl2pPr>
            <a:lvl3pPr marL="707551" indent="0">
              <a:buNone/>
              <a:defRPr sz="1393">
                <a:solidFill>
                  <a:schemeClr val="tx1">
                    <a:tint val="75000"/>
                  </a:schemeClr>
                </a:solidFill>
              </a:defRPr>
            </a:lvl3pPr>
            <a:lvl4pPr marL="1061326" indent="0">
              <a:buNone/>
              <a:defRPr sz="1238">
                <a:solidFill>
                  <a:schemeClr val="tx1">
                    <a:tint val="75000"/>
                  </a:schemeClr>
                </a:solidFill>
              </a:defRPr>
            </a:lvl4pPr>
            <a:lvl5pPr marL="1415102" indent="0">
              <a:buNone/>
              <a:defRPr sz="1238">
                <a:solidFill>
                  <a:schemeClr val="tx1">
                    <a:tint val="75000"/>
                  </a:schemeClr>
                </a:solidFill>
              </a:defRPr>
            </a:lvl5pPr>
            <a:lvl6pPr marL="1768878" indent="0">
              <a:buNone/>
              <a:defRPr sz="1238">
                <a:solidFill>
                  <a:schemeClr val="tx1">
                    <a:tint val="75000"/>
                  </a:schemeClr>
                </a:solidFill>
              </a:defRPr>
            </a:lvl6pPr>
            <a:lvl7pPr marL="2122653" indent="0">
              <a:buNone/>
              <a:defRPr sz="1238">
                <a:solidFill>
                  <a:schemeClr val="tx1">
                    <a:tint val="75000"/>
                  </a:schemeClr>
                </a:solidFill>
              </a:defRPr>
            </a:lvl7pPr>
            <a:lvl8pPr marL="2476428" indent="0">
              <a:buNone/>
              <a:defRPr sz="1238">
                <a:solidFill>
                  <a:schemeClr val="tx1">
                    <a:tint val="75000"/>
                  </a:schemeClr>
                </a:solidFill>
              </a:defRPr>
            </a:lvl8pPr>
            <a:lvl9pPr marL="2830204" indent="0">
              <a:buNone/>
              <a:defRPr sz="12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E7F69-BF9F-4C00-A470-3F84C9DC11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56436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9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4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E7F69-BF9F-4C00-A470-3F84C9DC11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45707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30" y="365129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31" y="1681163"/>
            <a:ext cx="4190702" cy="823912"/>
          </a:xfrm>
        </p:spPr>
        <p:txBody>
          <a:bodyPr anchor="b"/>
          <a:lstStyle>
            <a:lvl1pPr marL="0" indent="0">
              <a:buNone/>
              <a:defRPr sz="1857" b="1"/>
            </a:lvl1pPr>
            <a:lvl2pPr marL="353776" indent="0">
              <a:buNone/>
              <a:defRPr sz="1548" b="1"/>
            </a:lvl2pPr>
            <a:lvl3pPr marL="707551" indent="0">
              <a:buNone/>
              <a:defRPr sz="1393" b="1"/>
            </a:lvl3pPr>
            <a:lvl4pPr marL="1061326" indent="0">
              <a:buNone/>
              <a:defRPr sz="1238" b="1"/>
            </a:lvl4pPr>
            <a:lvl5pPr marL="1415102" indent="0">
              <a:buNone/>
              <a:defRPr sz="1238" b="1"/>
            </a:lvl5pPr>
            <a:lvl6pPr marL="1768878" indent="0">
              <a:buNone/>
              <a:defRPr sz="1238" b="1"/>
            </a:lvl6pPr>
            <a:lvl7pPr marL="2122653" indent="0">
              <a:buNone/>
              <a:defRPr sz="1238" b="1"/>
            </a:lvl7pPr>
            <a:lvl8pPr marL="2476428" indent="0">
              <a:buNone/>
              <a:defRPr sz="1238" b="1"/>
            </a:lvl8pPr>
            <a:lvl9pPr marL="2830204" indent="0">
              <a:buNone/>
              <a:defRPr sz="1238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31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4" y="1681163"/>
            <a:ext cx="4211340" cy="823912"/>
          </a:xfrm>
        </p:spPr>
        <p:txBody>
          <a:bodyPr anchor="b"/>
          <a:lstStyle>
            <a:lvl1pPr marL="0" indent="0">
              <a:buNone/>
              <a:defRPr sz="1857" b="1"/>
            </a:lvl1pPr>
            <a:lvl2pPr marL="353776" indent="0">
              <a:buNone/>
              <a:defRPr sz="1548" b="1"/>
            </a:lvl2pPr>
            <a:lvl3pPr marL="707551" indent="0">
              <a:buNone/>
              <a:defRPr sz="1393" b="1"/>
            </a:lvl3pPr>
            <a:lvl4pPr marL="1061326" indent="0">
              <a:buNone/>
              <a:defRPr sz="1238" b="1"/>
            </a:lvl4pPr>
            <a:lvl5pPr marL="1415102" indent="0">
              <a:buNone/>
              <a:defRPr sz="1238" b="1"/>
            </a:lvl5pPr>
            <a:lvl6pPr marL="1768878" indent="0">
              <a:buNone/>
              <a:defRPr sz="1238" b="1"/>
            </a:lvl6pPr>
            <a:lvl7pPr marL="2122653" indent="0">
              <a:buNone/>
              <a:defRPr sz="1238" b="1"/>
            </a:lvl7pPr>
            <a:lvl8pPr marL="2476428" indent="0">
              <a:buNone/>
              <a:defRPr sz="1238" b="1"/>
            </a:lvl8pPr>
            <a:lvl9pPr marL="2830204" indent="0">
              <a:buNone/>
              <a:defRPr sz="1238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4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E7F69-BF9F-4C00-A470-3F84C9DC11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84993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E7F69-BF9F-4C00-A470-3F84C9DC11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3672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E7F69-BF9F-4C00-A470-3F84C9DC11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4622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41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41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9" y="6356358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F41A5-9456-4D6F-91AE-CFF549896AC7}" type="datetimeFigureOut">
              <a:rPr lang="ru-RU" smtClean="0"/>
              <a:t>26.11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6" y="6356358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4" y="6356358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2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E7F69-BF9F-4C00-A470-3F84C9DC11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2234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707551" rtl="0" eaLnBrk="1" latinLnBrk="0" hangingPunct="1">
        <a:lnSpc>
          <a:spcPct val="90000"/>
        </a:lnSpc>
        <a:spcBef>
          <a:spcPct val="0"/>
        </a:spcBef>
        <a:buNone/>
        <a:defRPr sz="340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6888" indent="-176888" algn="l" defTabSz="707551" rtl="0" eaLnBrk="1" latinLnBrk="0" hangingPunct="1">
        <a:lnSpc>
          <a:spcPct val="90000"/>
        </a:lnSpc>
        <a:spcBef>
          <a:spcPts val="774"/>
        </a:spcBef>
        <a:buFont typeface="Arial" panose="020B0604020202020204" pitchFamily="34" charset="0"/>
        <a:buChar char="•"/>
        <a:defRPr sz="2166" kern="1200">
          <a:solidFill>
            <a:schemeClr val="tx1"/>
          </a:solidFill>
          <a:latin typeface="+mn-lt"/>
          <a:ea typeface="+mn-ea"/>
          <a:cs typeface="+mn-cs"/>
        </a:defRPr>
      </a:lvl1pPr>
      <a:lvl2pPr marL="530663" indent="-176888" algn="l" defTabSz="707551" rtl="0" eaLnBrk="1" latinLnBrk="0" hangingPunct="1">
        <a:lnSpc>
          <a:spcPct val="90000"/>
        </a:lnSpc>
        <a:spcBef>
          <a:spcPts val="387"/>
        </a:spcBef>
        <a:buFont typeface="Arial" panose="020B0604020202020204" pitchFamily="34" charset="0"/>
        <a:buChar char="•"/>
        <a:defRPr sz="1857" kern="1200">
          <a:solidFill>
            <a:schemeClr val="tx1"/>
          </a:solidFill>
          <a:latin typeface="+mn-lt"/>
          <a:ea typeface="+mn-ea"/>
          <a:cs typeface="+mn-cs"/>
        </a:defRPr>
      </a:lvl2pPr>
      <a:lvl3pPr marL="884438" indent="-176888" algn="l" defTabSz="707551" rtl="0" eaLnBrk="1" latinLnBrk="0" hangingPunct="1">
        <a:lnSpc>
          <a:spcPct val="90000"/>
        </a:lnSpc>
        <a:spcBef>
          <a:spcPts val="387"/>
        </a:spcBef>
        <a:buFont typeface="Arial" panose="020B0604020202020204" pitchFamily="34" charset="0"/>
        <a:buChar char="•"/>
        <a:defRPr sz="1548" kern="1200">
          <a:solidFill>
            <a:schemeClr val="tx1"/>
          </a:solidFill>
          <a:latin typeface="+mn-lt"/>
          <a:ea typeface="+mn-ea"/>
          <a:cs typeface="+mn-cs"/>
        </a:defRPr>
      </a:lvl3pPr>
      <a:lvl4pPr marL="1238214" indent="-176888" algn="l" defTabSz="707551" rtl="0" eaLnBrk="1" latinLnBrk="0" hangingPunct="1">
        <a:lnSpc>
          <a:spcPct val="90000"/>
        </a:lnSpc>
        <a:spcBef>
          <a:spcPts val="387"/>
        </a:spcBef>
        <a:buFont typeface="Arial" panose="020B0604020202020204" pitchFamily="34" charset="0"/>
        <a:buChar char="•"/>
        <a:defRPr sz="1393" kern="1200">
          <a:solidFill>
            <a:schemeClr val="tx1"/>
          </a:solidFill>
          <a:latin typeface="+mn-lt"/>
          <a:ea typeface="+mn-ea"/>
          <a:cs typeface="+mn-cs"/>
        </a:defRPr>
      </a:lvl4pPr>
      <a:lvl5pPr marL="1591990" indent="-176888" algn="l" defTabSz="707551" rtl="0" eaLnBrk="1" latinLnBrk="0" hangingPunct="1">
        <a:lnSpc>
          <a:spcPct val="90000"/>
        </a:lnSpc>
        <a:spcBef>
          <a:spcPts val="387"/>
        </a:spcBef>
        <a:buFont typeface="Arial" panose="020B0604020202020204" pitchFamily="34" charset="0"/>
        <a:buChar char="•"/>
        <a:defRPr sz="1393" kern="1200">
          <a:solidFill>
            <a:schemeClr val="tx1"/>
          </a:solidFill>
          <a:latin typeface="+mn-lt"/>
          <a:ea typeface="+mn-ea"/>
          <a:cs typeface="+mn-cs"/>
        </a:defRPr>
      </a:lvl5pPr>
      <a:lvl6pPr marL="1945765" indent="-176888" algn="l" defTabSz="707551" rtl="0" eaLnBrk="1" latinLnBrk="0" hangingPunct="1">
        <a:lnSpc>
          <a:spcPct val="90000"/>
        </a:lnSpc>
        <a:spcBef>
          <a:spcPts val="387"/>
        </a:spcBef>
        <a:buFont typeface="Arial" panose="020B0604020202020204" pitchFamily="34" charset="0"/>
        <a:buChar char="•"/>
        <a:defRPr sz="1393" kern="1200">
          <a:solidFill>
            <a:schemeClr val="tx1"/>
          </a:solidFill>
          <a:latin typeface="+mn-lt"/>
          <a:ea typeface="+mn-ea"/>
          <a:cs typeface="+mn-cs"/>
        </a:defRPr>
      </a:lvl6pPr>
      <a:lvl7pPr marL="2299540" indent="-176888" algn="l" defTabSz="707551" rtl="0" eaLnBrk="1" latinLnBrk="0" hangingPunct="1">
        <a:lnSpc>
          <a:spcPct val="90000"/>
        </a:lnSpc>
        <a:spcBef>
          <a:spcPts val="387"/>
        </a:spcBef>
        <a:buFont typeface="Arial" panose="020B0604020202020204" pitchFamily="34" charset="0"/>
        <a:buChar char="•"/>
        <a:defRPr sz="1393" kern="1200">
          <a:solidFill>
            <a:schemeClr val="tx1"/>
          </a:solidFill>
          <a:latin typeface="+mn-lt"/>
          <a:ea typeface="+mn-ea"/>
          <a:cs typeface="+mn-cs"/>
        </a:defRPr>
      </a:lvl7pPr>
      <a:lvl8pPr marL="2653316" indent="-176888" algn="l" defTabSz="707551" rtl="0" eaLnBrk="1" latinLnBrk="0" hangingPunct="1">
        <a:lnSpc>
          <a:spcPct val="90000"/>
        </a:lnSpc>
        <a:spcBef>
          <a:spcPts val="387"/>
        </a:spcBef>
        <a:buFont typeface="Arial" panose="020B0604020202020204" pitchFamily="34" charset="0"/>
        <a:buChar char="•"/>
        <a:defRPr sz="1393" kern="1200">
          <a:solidFill>
            <a:schemeClr val="tx1"/>
          </a:solidFill>
          <a:latin typeface="+mn-lt"/>
          <a:ea typeface="+mn-ea"/>
          <a:cs typeface="+mn-cs"/>
        </a:defRPr>
      </a:lvl8pPr>
      <a:lvl9pPr marL="3007091" indent="-176888" algn="l" defTabSz="707551" rtl="0" eaLnBrk="1" latinLnBrk="0" hangingPunct="1">
        <a:lnSpc>
          <a:spcPct val="90000"/>
        </a:lnSpc>
        <a:spcBef>
          <a:spcPts val="387"/>
        </a:spcBef>
        <a:buFont typeface="Arial" panose="020B0604020202020204" pitchFamily="34" charset="0"/>
        <a:buChar char="•"/>
        <a:defRPr sz="139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07551" rtl="0" eaLnBrk="1" latinLnBrk="0" hangingPunct="1">
        <a:defRPr sz="1393" kern="1200">
          <a:solidFill>
            <a:schemeClr val="tx1"/>
          </a:solidFill>
          <a:latin typeface="+mn-lt"/>
          <a:ea typeface="+mn-ea"/>
          <a:cs typeface="+mn-cs"/>
        </a:defRPr>
      </a:lvl1pPr>
      <a:lvl2pPr marL="353776" algn="l" defTabSz="707551" rtl="0" eaLnBrk="1" latinLnBrk="0" hangingPunct="1">
        <a:defRPr sz="1393" kern="1200">
          <a:solidFill>
            <a:schemeClr val="tx1"/>
          </a:solidFill>
          <a:latin typeface="+mn-lt"/>
          <a:ea typeface="+mn-ea"/>
          <a:cs typeface="+mn-cs"/>
        </a:defRPr>
      </a:lvl2pPr>
      <a:lvl3pPr marL="707551" algn="l" defTabSz="707551" rtl="0" eaLnBrk="1" latinLnBrk="0" hangingPunct="1">
        <a:defRPr sz="1393" kern="1200">
          <a:solidFill>
            <a:schemeClr val="tx1"/>
          </a:solidFill>
          <a:latin typeface="+mn-lt"/>
          <a:ea typeface="+mn-ea"/>
          <a:cs typeface="+mn-cs"/>
        </a:defRPr>
      </a:lvl3pPr>
      <a:lvl4pPr marL="1061326" algn="l" defTabSz="707551" rtl="0" eaLnBrk="1" latinLnBrk="0" hangingPunct="1">
        <a:defRPr sz="1393" kern="1200">
          <a:solidFill>
            <a:schemeClr val="tx1"/>
          </a:solidFill>
          <a:latin typeface="+mn-lt"/>
          <a:ea typeface="+mn-ea"/>
          <a:cs typeface="+mn-cs"/>
        </a:defRPr>
      </a:lvl4pPr>
      <a:lvl5pPr marL="1415102" algn="l" defTabSz="707551" rtl="0" eaLnBrk="1" latinLnBrk="0" hangingPunct="1">
        <a:defRPr sz="1393" kern="1200">
          <a:solidFill>
            <a:schemeClr val="tx1"/>
          </a:solidFill>
          <a:latin typeface="+mn-lt"/>
          <a:ea typeface="+mn-ea"/>
          <a:cs typeface="+mn-cs"/>
        </a:defRPr>
      </a:lvl5pPr>
      <a:lvl6pPr marL="1768878" algn="l" defTabSz="707551" rtl="0" eaLnBrk="1" latinLnBrk="0" hangingPunct="1">
        <a:defRPr sz="1393" kern="1200">
          <a:solidFill>
            <a:schemeClr val="tx1"/>
          </a:solidFill>
          <a:latin typeface="+mn-lt"/>
          <a:ea typeface="+mn-ea"/>
          <a:cs typeface="+mn-cs"/>
        </a:defRPr>
      </a:lvl6pPr>
      <a:lvl7pPr marL="2122653" algn="l" defTabSz="707551" rtl="0" eaLnBrk="1" latinLnBrk="0" hangingPunct="1">
        <a:defRPr sz="1393" kern="1200">
          <a:solidFill>
            <a:schemeClr val="tx1"/>
          </a:solidFill>
          <a:latin typeface="+mn-lt"/>
          <a:ea typeface="+mn-ea"/>
          <a:cs typeface="+mn-cs"/>
        </a:defRPr>
      </a:lvl7pPr>
      <a:lvl8pPr marL="2476428" algn="l" defTabSz="707551" rtl="0" eaLnBrk="1" latinLnBrk="0" hangingPunct="1">
        <a:defRPr sz="1393" kern="1200">
          <a:solidFill>
            <a:schemeClr val="tx1"/>
          </a:solidFill>
          <a:latin typeface="+mn-lt"/>
          <a:ea typeface="+mn-ea"/>
          <a:cs typeface="+mn-cs"/>
        </a:defRPr>
      </a:lvl8pPr>
      <a:lvl9pPr marL="2830204" algn="l" defTabSz="707551" rtl="0" eaLnBrk="1" latinLnBrk="0" hangingPunct="1">
        <a:defRPr sz="139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9"/>
            <a:ext cx="8543925" cy="1325563"/>
          </a:xfrm>
          <a:prstGeom prst="rect">
            <a:avLst/>
          </a:prstGeom>
        </p:spPr>
        <p:txBody>
          <a:bodyPr vert="horz" lIns="122191" tIns="61096" rIns="122191" bIns="61096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122191" tIns="61096" rIns="122191" bIns="61096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4"/>
            <a:ext cx="2228850" cy="365125"/>
          </a:xfrm>
          <a:prstGeom prst="rect">
            <a:avLst/>
          </a:prstGeom>
        </p:spPr>
        <p:txBody>
          <a:bodyPr vert="horz" lIns="122191" tIns="61096" rIns="122191" bIns="61096" rtlCol="0" anchor="ctr"/>
          <a:lstStyle>
            <a:lvl1pPr algn="l">
              <a:defRPr sz="114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72812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4"/>
            <a:ext cx="3343275" cy="365125"/>
          </a:xfrm>
          <a:prstGeom prst="rect">
            <a:avLst/>
          </a:prstGeom>
        </p:spPr>
        <p:txBody>
          <a:bodyPr vert="horz" lIns="122191" tIns="61096" rIns="122191" bIns="61096" rtlCol="0" anchor="ctr"/>
          <a:lstStyle>
            <a:lvl1pPr algn="ctr">
              <a:defRPr sz="114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72812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4"/>
            <a:ext cx="2228850" cy="365125"/>
          </a:xfrm>
          <a:prstGeom prst="rect">
            <a:avLst/>
          </a:prstGeom>
        </p:spPr>
        <p:txBody>
          <a:bodyPr vert="horz" lIns="122191" tIns="61096" rIns="122191" bIns="61096" rtlCol="0" anchor="ctr"/>
          <a:lstStyle>
            <a:lvl1pPr algn="r">
              <a:defRPr sz="114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72812"/>
            <a:fld id="{2B86E897-D47A-DF49-947E-7FDF216B1B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872812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538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</p:sldLayoutIdLst>
  <p:hf hdr="0" ftr="0" dt="0"/>
  <p:txStyles>
    <p:titleStyle>
      <a:lvl1pPr algn="l" defTabSz="872812" rtl="0" eaLnBrk="1" latinLnBrk="0" hangingPunct="1">
        <a:lnSpc>
          <a:spcPct val="90000"/>
        </a:lnSpc>
        <a:spcBef>
          <a:spcPct val="0"/>
        </a:spcBef>
        <a:buNone/>
        <a:defRPr sz="42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8203" indent="-218203" algn="l" defTabSz="872812" rtl="0" eaLnBrk="1" latinLnBrk="0" hangingPunct="1">
        <a:lnSpc>
          <a:spcPct val="90000"/>
        </a:lnSpc>
        <a:spcBef>
          <a:spcPts val="954"/>
        </a:spcBef>
        <a:buFont typeface="Arial" panose="020B0604020202020204" pitchFamily="34" charset="0"/>
        <a:buChar char="•"/>
        <a:defRPr sz="2643" kern="1200">
          <a:solidFill>
            <a:schemeClr val="tx1"/>
          </a:solidFill>
          <a:latin typeface="+mn-lt"/>
          <a:ea typeface="+mn-ea"/>
          <a:cs typeface="+mn-cs"/>
        </a:defRPr>
      </a:lvl1pPr>
      <a:lvl2pPr marL="654610" indent="-218203" algn="l" defTabSz="872812" rtl="0" eaLnBrk="1" latinLnBrk="0" hangingPunct="1">
        <a:lnSpc>
          <a:spcPct val="90000"/>
        </a:lnSpc>
        <a:spcBef>
          <a:spcPts val="477"/>
        </a:spcBef>
        <a:buFont typeface="Arial" panose="020B0604020202020204" pitchFamily="34" charset="0"/>
        <a:buChar char="•"/>
        <a:defRPr sz="2286" kern="1200">
          <a:solidFill>
            <a:schemeClr val="tx1"/>
          </a:solidFill>
          <a:latin typeface="+mn-lt"/>
          <a:ea typeface="+mn-ea"/>
          <a:cs typeface="+mn-cs"/>
        </a:defRPr>
      </a:lvl2pPr>
      <a:lvl3pPr marL="1091015" indent="-218203" algn="l" defTabSz="872812" rtl="0" eaLnBrk="1" latinLnBrk="0" hangingPunct="1">
        <a:lnSpc>
          <a:spcPct val="90000"/>
        </a:lnSpc>
        <a:spcBef>
          <a:spcPts val="477"/>
        </a:spcBef>
        <a:buFont typeface="Arial" panose="020B0604020202020204" pitchFamily="34" charset="0"/>
        <a:buChar char="•"/>
        <a:defRPr sz="1929" kern="1200">
          <a:solidFill>
            <a:schemeClr val="tx1"/>
          </a:solidFill>
          <a:latin typeface="+mn-lt"/>
          <a:ea typeface="+mn-ea"/>
          <a:cs typeface="+mn-cs"/>
        </a:defRPr>
      </a:lvl3pPr>
      <a:lvl4pPr marL="1527421" indent="-218203" algn="l" defTabSz="872812" rtl="0" eaLnBrk="1" latinLnBrk="0" hangingPunct="1">
        <a:lnSpc>
          <a:spcPct val="90000"/>
        </a:lnSpc>
        <a:spcBef>
          <a:spcPts val="477"/>
        </a:spcBef>
        <a:buFont typeface="Arial" panose="020B0604020202020204" pitchFamily="34" charset="0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963828" indent="-218203" algn="l" defTabSz="872812" rtl="0" eaLnBrk="1" latinLnBrk="0" hangingPunct="1">
        <a:lnSpc>
          <a:spcPct val="90000"/>
        </a:lnSpc>
        <a:spcBef>
          <a:spcPts val="477"/>
        </a:spcBef>
        <a:buFont typeface="Arial" panose="020B0604020202020204" pitchFamily="34" charset="0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400234" indent="-218203" algn="l" defTabSz="872812" rtl="0" eaLnBrk="1" latinLnBrk="0" hangingPunct="1">
        <a:lnSpc>
          <a:spcPct val="90000"/>
        </a:lnSpc>
        <a:spcBef>
          <a:spcPts val="477"/>
        </a:spcBef>
        <a:buFont typeface="Arial" panose="020B0604020202020204" pitchFamily="34" charset="0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836640" indent="-218203" algn="l" defTabSz="872812" rtl="0" eaLnBrk="1" latinLnBrk="0" hangingPunct="1">
        <a:lnSpc>
          <a:spcPct val="90000"/>
        </a:lnSpc>
        <a:spcBef>
          <a:spcPts val="477"/>
        </a:spcBef>
        <a:buFont typeface="Arial" panose="020B0604020202020204" pitchFamily="34" charset="0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273046" indent="-218203" algn="l" defTabSz="872812" rtl="0" eaLnBrk="1" latinLnBrk="0" hangingPunct="1">
        <a:lnSpc>
          <a:spcPct val="90000"/>
        </a:lnSpc>
        <a:spcBef>
          <a:spcPts val="477"/>
        </a:spcBef>
        <a:buFont typeface="Arial" panose="020B0604020202020204" pitchFamily="34" charset="0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709452" indent="-218203" algn="l" defTabSz="872812" rtl="0" eaLnBrk="1" latinLnBrk="0" hangingPunct="1">
        <a:lnSpc>
          <a:spcPct val="90000"/>
        </a:lnSpc>
        <a:spcBef>
          <a:spcPts val="477"/>
        </a:spcBef>
        <a:buFont typeface="Arial" panose="020B0604020202020204" pitchFamily="34" charset="0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81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6406" algn="l" defTabSz="87281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2812" algn="l" defTabSz="87281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9218" algn="l" defTabSz="87281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5624" algn="l" defTabSz="87281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82031" algn="l" defTabSz="87281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8437" algn="l" defTabSz="87281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54843" algn="l" defTabSz="87281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91249" algn="l" defTabSz="87281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85.xml"/><Relationship Id="rId21" Type="http://schemas.openxmlformats.org/officeDocument/2006/relationships/tags" Target="../tags/tag80.xml"/><Relationship Id="rId42" Type="http://schemas.openxmlformats.org/officeDocument/2006/relationships/tags" Target="../tags/tag101.xml"/><Relationship Id="rId47" Type="http://schemas.openxmlformats.org/officeDocument/2006/relationships/tags" Target="../tags/tag106.xml"/><Relationship Id="rId63" Type="http://schemas.openxmlformats.org/officeDocument/2006/relationships/tags" Target="../tags/tag122.xml"/><Relationship Id="rId68" Type="http://schemas.openxmlformats.org/officeDocument/2006/relationships/tags" Target="../tags/tag127.xml"/><Relationship Id="rId84" Type="http://schemas.openxmlformats.org/officeDocument/2006/relationships/oleObject" Target="../embeddings/oleObject5.bin"/><Relationship Id="rId89" Type="http://schemas.openxmlformats.org/officeDocument/2006/relationships/image" Target="../media/image54.emf"/><Relationship Id="rId16" Type="http://schemas.openxmlformats.org/officeDocument/2006/relationships/tags" Target="../tags/tag75.xml"/><Relationship Id="rId11" Type="http://schemas.openxmlformats.org/officeDocument/2006/relationships/tags" Target="../tags/tag70.xml"/><Relationship Id="rId32" Type="http://schemas.openxmlformats.org/officeDocument/2006/relationships/tags" Target="../tags/tag91.xml"/><Relationship Id="rId37" Type="http://schemas.openxmlformats.org/officeDocument/2006/relationships/tags" Target="../tags/tag96.xml"/><Relationship Id="rId53" Type="http://schemas.openxmlformats.org/officeDocument/2006/relationships/tags" Target="../tags/tag112.xml"/><Relationship Id="rId58" Type="http://schemas.openxmlformats.org/officeDocument/2006/relationships/tags" Target="../tags/tag117.xml"/><Relationship Id="rId74" Type="http://schemas.openxmlformats.org/officeDocument/2006/relationships/tags" Target="../tags/tag133.xml"/><Relationship Id="rId79" Type="http://schemas.openxmlformats.org/officeDocument/2006/relationships/tags" Target="../tags/tag138.xml"/><Relationship Id="rId5" Type="http://schemas.openxmlformats.org/officeDocument/2006/relationships/tags" Target="../tags/tag64.xml"/><Relationship Id="rId90" Type="http://schemas.openxmlformats.org/officeDocument/2006/relationships/oleObject" Target="../embeddings/oleObject8.bin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tags" Target="../tags/tag86.xml"/><Relationship Id="rId30" Type="http://schemas.openxmlformats.org/officeDocument/2006/relationships/tags" Target="../tags/tag89.xml"/><Relationship Id="rId35" Type="http://schemas.openxmlformats.org/officeDocument/2006/relationships/tags" Target="../tags/tag94.xml"/><Relationship Id="rId43" Type="http://schemas.openxmlformats.org/officeDocument/2006/relationships/tags" Target="../tags/tag102.xml"/><Relationship Id="rId48" Type="http://schemas.openxmlformats.org/officeDocument/2006/relationships/tags" Target="../tags/tag107.xml"/><Relationship Id="rId56" Type="http://schemas.openxmlformats.org/officeDocument/2006/relationships/tags" Target="../tags/tag115.xml"/><Relationship Id="rId64" Type="http://schemas.openxmlformats.org/officeDocument/2006/relationships/tags" Target="../tags/tag123.xml"/><Relationship Id="rId69" Type="http://schemas.openxmlformats.org/officeDocument/2006/relationships/tags" Target="../tags/tag128.xml"/><Relationship Id="rId77" Type="http://schemas.openxmlformats.org/officeDocument/2006/relationships/tags" Target="../tags/tag136.xml"/><Relationship Id="rId8" Type="http://schemas.openxmlformats.org/officeDocument/2006/relationships/tags" Target="../tags/tag67.xml"/><Relationship Id="rId51" Type="http://schemas.openxmlformats.org/officeDocument/2006/relationships/tags" Target="../tags/tag110.xml"/><Relationship Id="rId72" Type="http://schemas.openxmlformats.org/officeDocument/2006/relationships/tags" Target="../tags/tag131.xml"/><Relationship Id="rId80" Type="http://schemas.openxmlformats.org/officeDocument/2006/relationships/slideLayout" Target="../slideLayouts/slideLayout15.xml"/><Relationship Id="rId85" Type="http://schemas.openxmlformats.org/officeDocument/2006/relationships/image" Target="../media/image52.emf"/><Relationship Id="rId3" Type="http://schemas.openxmlformats.org/officeDocument/2006/relationships/tags" Target="../tags/tag62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tags" Target="../tags/tag84.xml"/><Relationship Id="rId33" Type="http://schemas.openxmlformats.org/officeDocument/2006/relationships/tags" Target="../tags/tag92.xml"/><Relationship Id="rId38" Type="http://schemas.openxmlformats.org/officeDocument/2006/relationships/tags" Target="../tags/tag97.xml"/><Relationship Id="rId46" Type="http://schemas.openxmlformats.org/officeDocument/2006/relationships/tags" Target="../tags/tag105.xml"/><Relationship Id="rId59" Type="http://schemas.openxmlformats.org/officeDocument/2006/relationships/tags" Target="../tags/tag118.xml"/><Relationship Id="rId67" Type="http://schemas.openxmlformats.org/officeDocument/2006/relationships/tags" Target="../tags/tag126.xml"/><Relationship Id="rId20" Type="http://schemas.openxmlformats.org/officeDocument/2006/relationships/tags" Target="../tags/tag79.xml"/><Relationship Id="rId41" Type="http://schemas.openxmlformats.org/officeDocument/2006/relationships/tags" Target="../tags/tag100.xml"/><Relationship Id="rId54" Type="http://schemas.openxmlformats.org/officeDocument/2006/relationships/tags" Target="../tags/tag113.xml"/><Relationship Id="rId62" Type="http://schemas.openxmlformats.org/officeDocument/2006/relationships/tags" Target="../tags/tag121.xml"/><Relationship Id="rId70" Type="http://schemas.openxmlformats.org/officeDocument/2006/relationships/tags" Target="../tags/tag129.xml"/><Relationship Id="rId75" Type="http://schemas.openxmlformats.org/officeDocument/2006/relationships/tags" Target="../tags/tag134.xml"/><Relationship Id="rId83" Type="http://schemas.openxmlformats.org/officeDocument/2006/relationships/image" Target="../media/image18.png"/><Relationship Id="rId88" Type="http://schemas.openxmlformats.org/officeDocument/2006/relationships/oleObject" Target="../embeddings/oleObject7.bin"/><Relationship Id="rId91" Type="http://schemas.openxmlformats.org/officeDocument/2006/relationships/image" Target="../media/image55.emf"/><Relationship Id="rId1" Type="http://schemas.openxmlformats.org/officeDocument/2006/relationships/vmlDrawing" Target="../drawings/vmlDrawing2.vml"/><Relationship Id="rId6" Type="http://schemas.openxmlformats.org/officeDocument/2006/relationships/tags" Target="../tags/tag65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tags" Target="../tags/tag87.xml"/><Relationship Id="rId36" Type="http://schemas.openxmlformats.org/officeDocument/2006/relationships/tags" Target="../tags/tag95.xml"/><Relationship Id="rId49" Type="http://schemas.openxmlformats.org/officeDocument/2006/relationships/tags" Target="../tags/tag108.xml"/><Relationship Id="rId57" Type="http://schemas.openxmlformats.org/officeDocument/2006/relationships/tags" Target="../tags/tag116.xml"/><Relationship Id="rId10" Type="http://schemas.openxmlformats.org/officeDocument/2006/relationships/tags" Target="../tags/tag69.xml"/><Relationship Id="rId31" Type="http://schemas.openxmlformats.org/officeDocument/2006/relationships/tags" Target="../tags/tag90.xml"/><Relationship Id="rId44" Type="http://schemas.openxmlformats.org/officeDocument/2006/relationships/tags" Target="../tags/tag103.xml"/><Relationship Id="rId52" Type="http://schemas.openxmlformats.org/officeDocument/2006/relationships/tags" Target="../tags/tag111.xml"/><Relationship Id="rId60" Type="http://schemas.openxmlformats.org/officeDocument/2006/relationships/tags" Target="../tags/tag119.xml"/><Relationship Id="rId65" Type="http://schemas.openxmlformats.org/officeDocument/2006/relationships/tags" Target="../tags/tag124.xml"/><Relationship Id="rId73" Type="http://schemas.openxmlformats.org/officeDocument/2006/relationships/tags" Target="../tags/tag132.xml"/><Relationship Id="rId78" Type="http://schemas.openxmlformats.org/officeDocument/2006/relationships/tags" Target="../tags/tag137.xml"/><Relationship Id="rId81" Type="http://schemas.openxmlformats.org/officeDocument/2006/relationships/oleObject" Target="../embeddings/oleObject4.bin"/><Relationship Id="rId86" Type="http://schemas.openxmlformats.org/officeDocument/2006/relationships/oleObject" Target="../embeddings/oleObject6.bin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39" Type="http://schemas.openxmlformats.org/officeDocument/2006/relationships/tags" Target="../tags/tag98.xml"/><Relationship Id="rId34" Type="http://schemas.openxmlformats.org/officeDocument/2006/relationships/tags" Target="../tags/tag93.xml"/><Relationship Id="rId50" Type="http://schemas.openxmlformats.org/officeDocument/2006/relationships/tags" Target="../tags/tag109.xml"/><Relationship Id="rId55" Type="http://schemas.openxmlformats.org/officeDocument/2006/relationships/tags" Target="../tags/tag114.xml"/><Relationship Id="rId76" Type="http://schemas.openxmlformats.org/officeDocument/2006/relationships/tags" Target="../tags/tag135.xml"/><Relationship Id="rId7" Type="http://schemas.openxmlformats.org/officeDocument/2006/relationships/tags" Target="../tags/tag66.xml"/><Relationship Id="rId71" Type="http://schemas.openxmlformats.org/officeDocument/2006/relationships/tags" Target="../tags/tag130.xml"/><Relationship Id="rId2" Type="http://schemas.openxmlformats.org/officeDocument/2006/relationships/tags" Target="../tags/tag61.xml"/><Relationship Id="rId29" Type="http://schemas.openxmlformats.org/officeDocument/2006/relationships/tags" Target="../tags/tag88.xml"/><Relationship Id="rId24" Type="http://schemas.openxmlformats.org/officeDocument/2006/relationships/tags" Target="../tags/tag83.xml"/><Relationship Id="rId40" Type="http://schemas.openxmlformats.org/officeDocument/2006/relationships/tags" Target="../tags/tag99.xml"/><Relationship Id="rId45" Type="http://schemas.openxmlformats.org/officeDocument/2006/relationships/tags" Target="../tags/tag104.xml"/><Relationship Id="rId66" Type="http://schemas.openxmlformats.org/officeDocument/2006/relationships/tags" Target="../tags/tag125.xml"/><Relationship Id="rId87" Type="http://schemas.openxmlformats.org/officeDocument/2006/relationships/image" Target="../media/image53.emf"/><Relationship Id="rId61" Type="http://schemas.openxmlformats.org/officeDocument/2006/relationships/tags" Target="../tags/tag120.xml"/><Relationship Id="rId82" Type="http://schemas.openxmlformats.org/officeDocument/2006/relationships/image" Target="../media/image51.emf"/><Relationship Id="rId19" Type="http://schemas.openxmlformats.org/officeDocument/2006/relationships/tags" Target="../tags/tag7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png"/><Relationship Id="rId3" Type="http://schemas.openxmlformats.org/officeDocument/2006/relationships/image" Target="../media/image57.emf"/><Relationship Id="rId7" Type="http://schemas.openxmlformats.org/officeDocument/2006/relationships/image" Target="../media/image61.svg"/><Relationship Id="rId12" Type="http://schemas.openxmlformats.org/officeDocument/2006/relationships/image" Target="../media/image66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tiff"/><Relationship Id="rId10" Type="http://schemas.openxmlformats.org/officeDocument/2006/relationships/image" Target="../media/image64.png"/><Relationship Id="rId4" Type="http://schemas.openxmlformats.org/officeDocument/2006/relationships/image" Target="../media/image58.tiff"/><Relationship Id="rId9" Type="http://schemas.openxmlformats.org/officeDocument/2006/relationships/image" Target="../media/image63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9.png"/><Relationship Id="rId7" Type="http://schemas.openxmlformats.org/officeDocument/2006/relationships/image" Target="../media/image70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7.png"/><Relationship Id="rId5" Type="http://schemas.openxmlformats.org/officeDocument/2006/relationships/image" Target="../media/image64.png"/><Relationship Id="rId4" Type="http://schemas.openxmlformats.org/officeDocument/2006/relationships/image" Target="../media/image57.emf"/><Relationship Id="rId9" Type="http://schemas.openxmlformats.org/officeDocument/2006/relationships/image" Target="../media/image7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69.png"/><Relationship Id="rId7" Type="http://schemas.openxmlformats.org/officeDocument/2006/relationships/image" Target="../media/image74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5" Type="http://schemas.openxmlformats.org/officeDocument/2006/relationships/image" Target="../media/image70.png"/><Relationship Id="rId10" Type="http://schemas.openxmlformats.org/officeDocument/2006/relationships/image" Target="../media/image77.png"/><Relationship Id="rId4" Type="http://schemas.openxmlformats.org/officeDocument/2006/relationships/image" Target="../media/image57.emf"/><Relationship Id="rId9" Type="http://schemas.openxmlformats.org/officeDocument/2006/relationships/image" Target="../media/image7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tags" Target="../tags/tag151.xml"/><Relationship Id="rId18" Type="http://schemas.openxmlformats.org/officeDocument/2006/relationships/tags" Target="../tags/tag156.xml"/><Relationship Id="rId3" Type="http://schemas.openxmlformats.org/officeDocument/2006/relationships/tags" Target="../tags/tag141.xml"/><Relationship Id="rId21" Type="http://schemas.openxmlformats.org/officeDocument/2006/relationships/image" Target="../media/image80.png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17" Type="http://schemas.openxmlformats.org/officeDocument/2006/relationships/tags" Target="../tags/tag155.xml"/><Relationship Id="rId2" Type="http://schemas.openxmlformats.org/officeDocument/2006/relationships/tags" Target="../tags/tag140.xml"/><Relationship Id="rId16" Type="http://schemas.openxmlformats.org/officeDocument/2006/relationships/tags" Target="../tags/tag154.xml"/><Relationship Id="rId20" Type="http://schemas.openxmlformats.org/officeDocument/2006/relationships/image" Target="../media/image79.png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5" Type="http://schemas.openxmlformats.org/officeDocument/2006/relationships/tags" Target="../tags/tag143.xml"/><Relationship Id="rId15" Type="http://schemas.openxmlformats.org/officeDocument/2006/relationships/tags" Target="../tags/tag153.xml"/><Relationship Id="rId10" Type="http://schemas.openxmlformats.org/officeDocument/2006/relationships/tags" Target="../tags/tag148.xml"/><Relationship Id="rId19" Type="http://schemas.openxmlformats.org/officeDocument/2006/relationships/slideLayout" Target="../slideLayouts/slideLayout4.xml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tags" Target="../tags/tag15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slideLayout" Target="../slideLayouts/slideLayout4.xml"/><Relationship Id="rId1" Type="http://schemas.openxmlformats.org/officeDocument/2006/relationships/video" Target="https://www.youtube.com/embed/mDFre8QPU3I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slideLayout" Target="../slideLayouts/slideLayout4.xml"/><Relationship Id="rId1" Type="http://schemas.openxmlformats.org/officeDocument/2006/relationships/video" Target="https://www.youtube.com/embed/bBqgr00exIE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7.png"/><Relationship Id="rId7" Type="http://schemas.openxmlformats.org/officeDocument/2006/relationships/image" Target="../media/image68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0.png"/><Relationship Id="rId11" Type="http://schemas.openxmlformats.org/officeDocument/2006/relationships/image" Target="../media/image57.emf"/><Relationship Id="rId5" Type="http://schemas.openxmlformats.org/officeDocument/2006/relationships/image" Target="../media/image89.png"/><Relationship Id="rId10" Type="http://schemas.openxmlformats.org/officeDocument/2006/relationships/image" Target="../media/image92.png"/><Relationship Id="rId4" Type="http://schemas.openxmlformats.org/officeDocument/2006/relationships/image" Target="../media/image88.png"/><Relationship Id="rId9" Type="http://schemas.openxmlformats.org/officeDocument/2006/relationships/image" Target="../media/image69.pn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3" Type="http://schemas.openxmlformats.org/officeDocument/2006/relationships/image" Target="../media/image57.emf"/><Relationship Id="rId7" Type="http://schemas.openxmlformats.org/officeDocument/2006/relationships/image" Target="../media/image95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4.tiff"/><Relationship Id="rId5" Type="http://schemas.microsoft.com/office/2007/relationships/hdphoto" Target="../media/hdphoto8.wdp"/><Relationship Id="rId4" Type="http://schemas.openxmlformats.org/officeDocument/2006/relationships/image" Target="../media/image93.png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5.xml"/><Relationship Id="rId21" Type="http://schemas.openxmlformats.org/officeDocument/2006/relationships/tags" Target="../tags/tag20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63" Type="http://schemas.openxmlformats.org/officeDocument/2006/relationships/image" Target="../media/image18.png"/><Relationship Id="rId68" Type="http://schemas.openxmlformats.org/officeDocument/2006/relationships/oleObject" Target="../embeddings/oleObject3.bin"/><Relationship Id="rId84" Type="http://schemas.openxmlformats.org/officeDocument/2006/relationships/image" Target="../media/image28.png"/><Relationship Id="rId16" Type="http://schemas.openxmlformats.org/officeDocument/2006/relationships/tags" Target="../tags/tag15.xml"/><Relationship Id="rId11" Type="http://schemas.openxmlformats.org/officeDocument/2006/relationships/tags" Target="../tags/tag10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74" Type="http://schemas.openxmlformats.org/officeDocument/2006/relationships/image" Target="../media/image21.png"/><Relationship Id="rId79" Type="http://schemas.microsoft.com/office/2007/relationships/hdphoto" Target="../media/hdphoto4.wdp"/><Relationship Id="rId5" Type="http://schemas.openxmlformats.org/officeDocument/2006/relationships/tags" Target="../tags/tag4.xml"/><Relationship Id="rId19" Type="http://schemas.openxmlformats.org/officeDocument/2006/relationships/tags" Target="../tags/tag1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oleObject" Target="../embeddings/oleObject1.bin"/><Relationship Id="rId69" Type="http://schemas.openxmlformats.org/officeDocument/2006/relationships/image" Target="../media/image17.emf"/><Relationship Id="rId77" Type="http://schemas.openxmlformats.org/officeDocument/2006/relationships/image" Target="../media/image23.jpeg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image" Target="../media/image20.png"/><Relationship Id="rId80" Type="http://schemas.openxmlformats.org/officeDocument/2006/relationships/image" Target="../media/image25.png"/><Relationship Id="rId85" Type="http://schemas.microsoft.com/office/2007/relationships/hdphoto" Target="../media/hdphoto6.wdp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image" Target="../media/image16.emf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notesSlide" Target="../notesSlides/notesSlide1.xml"/><Relationship Id="rId70" Type="http://schemas.openxmlformats.org/officeDocument/2006/relationships/image" Target="../media/image19.png"/><Relationship Id="rId75" Type="http://schemas.microsoft.com/office/2007/relationships/hdphoto" Target="../media/hdphoto3.wdp"/><Relationship Id="rId83" Type="http://schemas.microsoft.com/office/2007/relationships/hdphoto" Target="../media/hdphoto5.wdp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image" Target="../media/image15.emf"/><Relationship Id="rId73" Type="http://schemas.microsoft.com/office/2007/relationships/hdphoto" Target="../media/hdphoto2.wdp"/><Relationship Id="rId78" Type="http://schemas.openxmlformats.org/officeDocument/2006/relationships/image" Target="../media/image24.png"/><Relationship Id="rId81" Type="http://schemas.openxmlformats.org/officeDocument/2006/relationships/image" Target="../media/image26.tiff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9" Type="http://schemas.openxmlformats.org/officeDocument/2006/relationships/tags" Target="../tags/tag38.xml"/><Relationship Id="rId34" Type="http://schemas.openxmlformats.org/officeDocument/2006/relationships/tags" Target="../tags/tag33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76" Type="http://schemas.openxmlformats.org/officeDocument/2006/relationships/image" Target="../media/image22.jpeg"/><Relationship Id="rId7" Type="http://schemas.openxmlformats.org/officeDocument/2006/relationships/tags" Target="../tags/tag6.xml"/><Relationship Id="rId71" Type="http://schemas.microsoft.com/office/2007/relationships/hdphoto" Target="../media/hdphoto1.wdp"/><Relationship Id="rId2" Type="http://schemas.openxmlformats.org/officeDocument/2006/relationships/tags" Target="../tags/tag1.xml"/><Relationship Id="rId29" Type="http://schemas.openxmlformats.org/officeDocument/2006/relationships/tags" Target="../tags/tag28.xml"/><Relationship Id="rId24" Type="http://schemas.openxmlformats.org/officeDocument/2006/relationships/tags" Target="../tags/tag23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66" Type="http://schemas.openxmlformats.org/officeDocument/2006/relationships/oleObject" Target="../embeddings/oleObject2.bin"/><Relationship Id="rId61" Type="http://schemas.openxmlformats.org/officeDocument/2006/relationships/slideLayout" Target="../slideLayouts/slideLayout15.xml"/><Relationship Id="rId82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0.xml"/><Relationship Id="rId6" Type="http://schemas.openxmlformats.org/officeDocument/2006/relationships/image" Target="../media/image32.tiff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6.tiff"/><Relationship Id="rId5" Type="http://schemas.microsoft.com/office/2007/relationships/hdphoto" Target="../media/hdphoto7.wdp"/><Relationship Id="rId4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1.jpeg"/><Relationship Id="rId5" Type="http://schemas.openxmlformats.org/officeDocument/2006/relationships/image" Target="../media/image40.png"/><Relationship Id="rId4" Type="http://schemas.openxmlformats.org/officeDocument/2006/relationships/image" Target="../media/image3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1" Type="http://schemas.openxmlformats.org/officeDocument/2006/relationships/image" Target="../media/image48.svg"/><Relationship Id="rId2" Type="http://schemas.openxmlformats.org/officeDocument/2006/relationships/notesSlide" Target="../notesSlides/notesSlide3.xml"/><Relationship Id="rId20" Type="http://schemas.openxmlformats.org/officeDocument/2006/relationships/image" Target="../media/image47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23" Type="http://schemas.openxmlformats.org/officeDocument/2006/relationships/image" Target="../media/image49.tiff"/><Relationship Id="rId19" Type="http://schemas.openxmlformats.org/officeDocument/2006/relationships/image" Target="../media/image210.png"/><Relationship Id="rId4" Type="http://schemas.openxmlformats.org/officeDocument/2006/relationships/image" Target="../media/image44.svg"/><Relationship Id="rId22" Type="http://schemas.openxmlformats.org/officeDocument/2006/relationships/image" Target="../media/image171.png"/></Relationships>
</file>

<file path=ppt/slides/_rels/slide8.xml.rels><?xml version="1.0" encoding="UTF-8" standalone="yes"?>
<Relationships xmlns="http://schemas.openxmlformats.org/package/2006/relationships"><Relationship Id="rId18" Type="http://schemas.openxmlformats.org/officeDocument/2006/relationships/image" Target="../media/image50.tiff"/><Relationship Id="rId3" Type="http://schemas.openxmlformats.org/officeDocument/2006/relationships/image" Target="../media/image43.png"/><Relationship Id="rId17" Type="http://schemas.openxmlformats.org/officeDocument/2006/relationships/image" Target="../media/image190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30.png"/><Relationship Id="rId20" Type="http://schemas.openxmlformats.org/officeDocument/2006/relationships/image" Target="../media/image48.sv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19" Type="http://schemas.openxmlformats.org/officeDocument/2006/relationships/image" Target="../media/image47.png"/><Relationship Id="rId4" Type="http://schemas.openxmlformats.org/officeDocument/2006/relationships/image" Target="../media/image4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50.tiff"/><Relationship Id="rId5" Type="http://schemas.openxmlformats.org/officeDocument/2006/relationships/image" Target="../media/image48.svg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874144" y="1999946"/>
            <a:ext cx="7109271" cy="1939008"/>
          </a:xfrm>
        </p:spPr>
        <p:txBody>
          <a:bodyPr>
            <a:normAutofit fontScale="90000"/>
          </a:bodyPr>
          <a:lstStyle/>
          <a:p>
            <a:r>
              <a:rPr lang="ru-RU" dirty="0"/>
              <a:t>Моделирование процесса организации работы Московского транспортного узла с учётом МЦД-1, МЦД-2 с перспективой запуска МЦД-3 и МЦД-4</a:t>
            </a:r>
          </a:p>
        </p:txBody>
      </p:sp>
    </p:spTree>
    <p:extLst>
      <p:ext uri="{BB962C8B-B14F-4D97-AF65-F5344CB8AC3E}">
        <p14:creationId xmlns:p14="http://schemas.microsoft.com/office/powerpoint/2010/main" val="18524363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Объект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1000" y="0"/>
          <a:ext cx="113393" cy="113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81" imgW="270" imgH="270" progId="TCLayout.ActiveDocument.1">
                  <p:embed/>
                </p:oleObj>
              </mc:Choice>
              <mc:Fallback>
                <p:oleObj name="think-cell Slide" r:id="rId81" imgW="270" imgH="270" progId="TCLayout.ActiveDocument.1">
                  <p:embed/>
                  <p:pic>
                    <p:nvPicPr>
                      <p:cNvPr id="49" name="Объект 48" hidden="1"/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381000" y="0"/>
                        <a:ext cx="113393" cy="113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13393" cy="11339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43" b="1">
              <a:latin typeface="Calibri"/>
              <a:sym typeface="Calibri"/>
            </a:endParaRPr>
          </a:p>
        </p:txBody>
      </p:sp>
      <p:sp>
        <p:nvSpPr>
          <p:cNvPr id="187" name="Прямоугольник 186"/>
          <p:cNvSpPr/>
          <p:nvPr>
            <p:custDataLst>
              <p:tags r:id="rId4"/>
            </p:custDataLst>
          </p:nvPr>
        </p:nvSpPr>
        <p:spPr>
          <a:xfrm>
            <a:off x="6011257" y="-1607"/>
            <a:ext cx="3513744" cy="19815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>
              <a:latin typeface="+mj-lt"/>
            </a:endParaRPr>
          </a:p>
        </p:txBody>
      </p:sp>
      <p:grpSp>
        <p:nvGrpSpPr>
          <p:cNvPr id="3" name="Группа 2"/>
          <p:cNvGrpSpPr/>
          <p:nvPr>
            <p:custDataLst>
              <p:tags r:id="rId5"/>
            </p:custDataLst>
          </p:nvPr>
        </p:nvGrpSpPr>
        <p:grpSpPr>
          <a:xfrm>
            <a:off x="278971" y="1118340"/>
            <a:ext cx="5706256" cy="5191201"/>
            <a:chOff x="62154" y="1436932"/>
            <a:chExt cx="7988759" cy="7267681"/>
          </a:xfrm>
        </p:grpSpPr>
        <p:pic>
          <p:nvPicPr>
            <p:cNvPr id="4" name="Picture 3"/>
            <p:cNvPicPr>
              <a:picLocks noChangeAspect="1" noChangeArrowheads="1"/>
            </p:cNvPicPr>
            <p:nvPr>
              <p:custDataLst>
                <p:tags r:id="rId56"/>
              </p:custDataLst>
            </p:nvPr>
          </p:nvPicPr>
          <p:blipFill rotWithShape="1">
            <a:blip r:embed="rId8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572"/>
            <a:stretch/>
          </p:blipFill>
          <p:spPr bwMode="auto">
            <a:xfrm>
              <a:off x="62154" y="1436932"/>
              <a:ext cx="7820206" cy="72676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" name="Полилиния 4"/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1028180" y="1980829"/>
              <a:ext cx="6688640" cy="4998628"/>
            </a:xfrm>
            <a:custGeom>
              <a:avLst/>
              <a:gdLst>
                <a:gd name="connsiteX0" fmla="*/ 0 w 5005449"/>
                <a:gd name="connsiteY0" fmla="*/ 0 h 3740727"/>
                <a:gd name="connsiteX1" fmla="*/ 789709 w 5005449"/>
                <a:gd name="connsiteY1" fmla="*/ 564078 h 3740727"/>
                <a:gd name="connsiteX2" fmla="*/ 1193470 w 5005449"/>
                <a:gd name="connsiteY2" fmla="*/ 849086 h 3740727"/>
                <a:gd name="connsiteX3" fmla="*/ 1721922 w 5005449"/>
                <a:gd name="connsiteY3" fmla="*/ 1276597 h 3740727"/>
                <a:gd name="connsiteX4" fmla="*/ 1959428 w 5005449"/>
                <a:gd name="connsiteY4" fmla="*/ 1508166 h 3740727"/>
                <a:gd name="connsiteX5" fmla="*/ 2161309 w 5005449"/>
                <a:gd name="connsiteY5" fmla="*/ 1698171 h 3740727"/>
                <a:gd name="connsiteX6" fmla="*/ 2280062 w 5005449"/>
                <a:gd name="connsiteY6" fmla="*/ 1757548 h 3740727"/>
                <a:gd name="connsiteX7" fmla="*/ 2547257 w 5005449"/>
                <a:gd name="connsiteY7" fmla="*/ 1846613 h 3740727"/>
                <a:gd name="connsiteX8" fmla="*/ 2594758 w 5005449"/>
                <a:gd name="connsiteY8" fmla="*/ 1995054 h 3740727"/>
                <a:gd name="connsiteX9" fmla="*/ 2618509 w 5005449"/>
                <a:gd name="connsiteY9" fmla="*/ 2107870 h 3740727"/>
                <a:gd name="connsiteX10" fmla="*/ 2671948 w 5005449"/>
                <a:gd name="connsiteY10" fmla="*/ 2226623 h 3740727"/>
                <a:gd name="connsiteX11" fmla="*/ 2784763 w 5005449"/>
                <a:gd name="connsiteY11" fmla="*/ 2333501 h 3740727"/>
                <a:gd name="connsiteX12" fmla="*/ 3152899 w 5005449"/>
                <a:gd name="connsiteY12" fmla="*/ 2517569 h 3740727"/>
                <a:gd name="connsiteX13" fmla="*/ 3449782 w 5005449"/>
                <a:gd name="connsiteY13" fmla="*/ 2719449 h 3740727"/>
                <a:gd name="connsiteX14" fmla="*/ 3883231 w 5005449"/>
                <a:gd name="connsiteY14" fmla="*/ 3040083 h 3740727"/>
                <a:gd name="connsiteX15" fmla="*/ 4429496 w 5005449"/>
                <a:gd name="connsiteY15" fmla="*/ 3378530 h 3740727"/>
                <a:gd name="connsiteX16" fmla="*/ 5005449 w 5005449"/>
                <a:gd name="connsiteY16" fmla="*/ 3740727 h 374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005449" h="3740727">
                  <a:moveTo>
                    <a:pt x="0" y="0"/>
                  </a:moveTo>
                  <a:lnTo>
                    <a:pt x="789709" y="564078"/>
                  </a:lnTo>
                  <a:cubicBezTo>
                    <a:pt x="988621" y="705592"/>
                    <a:pt x="1038101" y="730333"/>
                    <a:pt x="1193470" y="849086"/>
                  </a:cubicBezTo>
                  <a:cubicBezTo>
                    <a:pt x="1348839" y="967839"/>
                    <a:pt x="1594262" y="1166750"/>
                    <a:pt x="1721922" y="1276597"/>
                  </a:cubicBezTo>
                  <a:cubicBezTo>
                    <a:pt x="1849582" y="1386444"/>
                    <a:pt x="1886197" y="1437904"/>
                    <a:pt x="1959428" y="1508166"/>
                  </a:cubicBezTo>
                  <a:cubicBezTo>
                    <a:pt x="2032659" y="1578428"/>
                    <a:pt x="2107870" y="1656607"/>
                    <a:pt x="2161309" y="1698171"/>
                  </a:cubicBezTo>
                  <a:cubicBezTo>
                    <a:pt x="2214748" y="1739735"/>
                    <a:pt x="2215737" y="1732808"/>
                    <a:pt x="2280062" y="1757548"/>
                  </a:cubicBezTo>
                  <a:cubicBezTo>
                    <a:pt x="2344387" y="1782288"/>
                    <a:pt x="2494808" y="1807029"/>
                    <a:pt x="2547257" y="1846613"/>
                  </a:cubicBezTo>
                  <a:cubicBezTo>
                    <a:pt x="2599706" y="1886197"/>
                    <a:pt x="2582883" y="1951511"/>
                    <a:pt x="2594758" y="1995054"/>
                  </a:cubicBezTo>
                  <a:cubicBezTo>
                    <a:pt x="2606633" y="2038597"/>
                    <a:pt x="2605644" y="2069275"/>
                    <a:pt x="2618509" y="2107870"/>
                  </a:cubicBezTo>
                  <a:cubicBezTo>
                    <a:pt x="2631374" y="2146465"/>
                    <a:pt x="2644239" y="2189018"/>
                    <a:pt x="2671948" y="2226623"/>
                  </a:cubicBezTo>
                  <a:cubicBezTo>
                    <a:pt x="2699657" y="2264228"/>
                    <a:pt x="2704605" y="2285010"/>
                    <a:pt x="2784763" y="2333501"/>
                  </a:cubicBezTo>
                  <a:cubicBezTo>
                    <a:pt x="2864922" y="2381992"/>
                    <a:pt x="3042063" y="2453244"/>
                    <a:pt x="3152899" y="2517569"/>
                  </a:cubicBezTo>
                  <a:cubicBezTo>
                    <a:pt x="3263736" y="2581894"/>
                    <a:pt x="3328060" y="2632363"/>
                    <a:pt x="3449782" y="2719449"/>
                  </a:cubicBezTo>
                  <a:cubicBezTo>
                    <a:pt x="3571504" y="2806535"/>
                    <a:pt x="3719945" y="2930236"/>
                    <a:pt x="3883231" y="3040083"/>
                  </a:cubicBezTo>
                  <a:cubicBezTo>
                    <a:pt x="4046517" y="3149930"/>
                    <a:pt x="4429496" y="3378530"/>
                    <a:pt x="4429496" y="3378530"/>
                  </a:cubicBezTo>
                  <a:lnTo>
                    <a:pt x="5005449" y="3740727"/>
                  </a:lnTo>
                </a:path>
              </a:pathLst>
            </a:custGeom>
            <a:ln w="25400">
              <a:solidFill>
                <a:srgbClr val="FFFF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86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" name="Полилиния 5"/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3370830" y="1838654"/>
              <a:ext cx="1937805" cy="6762804"/>
            </a:xfrm>
            <a:custGeom>
              <a:avLst/>
              <a:gdLst>
                <a:gd name="connsiteX0" fmla="*/ 55033 w 1217083"/>
                <a:gd name="connsiteY0" fmla="*/ 4464050 h 4464050"/>
                <a:gd name="connsiteX1" fmla="*/ 4233 w 1217083"/>
                <a:gd name="connsiteY1" fmla="*/ 4235450 h 4464050"/>
                <a:gd name="connsiteX2" fmla="*/ 29633 w 1217083"/>
                <a:gd name="connsiteY2" fmla="*/ 3994150 h 4464050"/>
                <a:gd name="connsiteX3" fmla="*/ 93133 w 1217083"/>
                <a:gd name="connsiteY3" fmla="*/ 3702050 h 4464050"/>
                <a:gd name="connsiteX4" fmla="*/ 156633 w 1217083"/>
                <a:gd name="connsiteY4" fmla="*/ 3403600 h 4464050"/>
                <a:gd name="connsiteX5" fmla="*/ 194733 w 1217083"/>
                <a:gd name="connsiteY5" fmla="*/ 3333750 h 4464050"/>
                <a:gd name="connsiteX6" fmla="*/ 283633 w 1217083"/>
                <a:gd name="connsiteY6" fmla="*/ 3238500 h 4464050"/>
                <a:gd name="connsiteX7" fmla="*/ 347133 w 1217083"/>
                <a:gd name="connsiteY7" fmla="*/ 3098800 h 4464050"/>
                <a:gd name="connsiteX8" fmla="*/ 448733 w 1217083"/>
                <a:gd name="connsiteY8" fmla="*/ 2933700 h 4464050"/>
                <a:gd name="connsiteX9" fmla="*/ 582083 w 1217083"/>
                <a:gd name="connsiteY9" fmla="*/ 2813050 h 4464050"/>
                <a:gd name="connsiteX10" fmla="*/ 728133 w 1217083"/>
                <a:gd name="connsiteY10" fmla="*/ 2641600 h 4464050"/>
                <a:gd name="connsiteX11" fmla="*/ 867833 w 1217083"/>
                <a:gd name="connsiteY11" fmla="*/ 2419350 h 4464050"/>
                <a:gd name="connsiteX12" fmla="*/ 893233 w 1217083"/>
                <a:gd name="connsiteY12" fmla="*/ 2190750 h 4464050"/>
                <a:gd name="connsiteX13" fmla="*/ 886883 w 1217083"/>
                <a:gd name="connsiteY13" fmla="*/ 2019300 h 4464050"/>
                <a:gd name="connsiteX14" fmla="*/ 817033 w 1217083"/>
                <a:gd name="connsiteY14" fmla="*/ 1879600 h 4464050"/>
                <a:gd name="connsiteX15" fmla="*/ 677333 w 1217083"/>
                <a:gd name="connsiteY15" fmla="*/ 1708150 h 4464050"/>
                <a:gd name="connsiteX16" fmla="*/ 588433 w 1217083"/>
                <a:gd name="connsiteY16" fmla="*/ 1638300 h 4464050"/>
                <a:gd name="connsiteX17" fmla="*/ 556683 w 1217083"/>
                <a:gd name="connsiteY17" fmla="*/ 1555750 h 4464050"/>
                <a:gd name="connsiteX18" fmla="*/ 518583 w 1217083"/>
                <a:gd name="connsiteY18" fmla="*/ 1441450 h 4464050"/>
                <a:gd name="connsiteX19" fmla="*/ 531283 w 1217083"/>
                <a:gd name="connsiteY19" fmla="*/ 1257300 h 4464050"/>
                <a:gd name="connsiteX20" fmla="*/ 626533 w 1217083"/>
                <a:gd name="connsiteY20" fmla="*/ 1003300 h 4464050"/>
                <a:gd name="connsiteX21" fmla="*/ 632883 w 1217083"/>
                <a:gd name="connsiteY21" fmla="*/ 774700 h 4464050"/>
                <a:gd name="connsiteX22" fmla="*/ 709083 w 1217083"/>
                <a:gd name="connsiteY22" fmla="*/ 654050 h 4464050"/>
                <a:gd name="connsiteX23" fmla="*/ 829733 w 1217083"/>
                <a:gd name="connsiteY23" fmla="*/ 514350 h 4464050"/>
                <a:gd name="connsiteX24" fmla="*/ 1064683 w 1217083"/>
                <a:gd name="connsiteY24" fmla="*/ 254000 h 4464050"/>
                <a:gd name="connsiteX25" fmla="*/ 1217083 w 1217083"/>
                <a:gd name="connsiteY25" fmla="*/ 0 h 4464050"/>
                <a:gd name="connsiteX0" fmla="*/ 55033 w 1450158"/>
                <a:gd name="connsiteY0" fmla="*/ 5060950 h 5060950"/>
                <a:gd name="connsiteX1" fmla="*/ 4233 w 1450158"/>
                <a:gd name="connsiteY1" fmla="*/ 4832350 h 5060950"/>
                <a:gd name="connsiteX2" fmla="*/ 29633 w 1450158"/>
                <a:gd name="connsiteY2" fmla="*/ 4591050 h 5060950"/>
                <a:gd name="connsiteX3" fmla="*/ 93133 w 1450158"/>
                <a:gd name="connsiteY3" fmla="*/ 4298950 h 5060950"/>
                <a:gd name="connsiteX4" fmla="*/ 156633 w 1450158"/>
                <a:gd name="connsiteY4" fmla="*/ 4000500 h 5060950"/>
                <a:gd name="connsiteX5" fmla="*/ 194733 w 1450158"/>
                <a:gd name="connsiteY5" fmla="*/ 3930650 h 5060950"/>
                <a:gd name="connsiteX6" fmla="*/ 283633 w 1450158"/>
                <a:gd name="connsiteY6" fmla="*/ 3835400 h 5060950"/>
                <a:gd name="connsiteX7" fmla="*/ 347133 w 1450158"/>
                <a:gd name="connsiteY7" fmla="*/ 3695700 h 5060950"/>
                <a:gd name="connsiteX8" fmla="*/ 448733 w 1450158"/>
                <a:gd name="connsiteY8" fmla="*/ 3530600 h 5060950"/>
                <a:gd name="connsiteX9" fmla="*/ 582083 w 1450158"/>
                <a:gd name="connsiteY9" fmla="*/ 3409950 h 5060950"/>
                <a:gd name="connsiteX10" fmla="*/ 728133 w 1450158"/>
                <a:gd name="connsiteY10" fmla="*/ 3238500 h 5060950"/>
                <a:gd name="connsiteX11" fmla="*/ 867833 w 1450158"/>
                <a:gd name="connsiteY11" fmla="*/ 3016250 h 5060950"/>
                <a:gd name="connsiteX12" fmla="*/ 893233 w 1450158"/>
                <a:gd name="connsiteY12" fmla="*/ 2787650 h 5060950"/>
                <a:gd name="connsiteX13" fmla="*/ 886883 w 1450158"/>
                <a:gd name="connsiteY13" fmla="*/ 2616200 h 5060950"/>
                <a:gd name="connsiteX14" fmla="*/ 817033 w 1450158"/>
                <a:gd name="connsiteY14" fmla="*/ 2476500 h 5060950"/>
                <a:gd name="connsiteX15" fmla="*/ 677333 w 1450158"/>
                <a:gd name="connsiteY15" fmla="*/ 2305050 h 5060950"/>
                <a:gd name="connsiteX16" fmla="*/ 588433 w 1450158"/>
                <a:gd name="connsiteY16" fmla="*/ 2235200 h 5060950"/>
                <a:gd name="connsiteX17" fmla="*/ 556683 w 1450158"/>
                <a:gd name="connsiteY17" fmla="*/ 2152650 h 5060950"/>
                <a:gd name="connsiteX18" fmla="*/ 518583 w 1450158"/>
                <a:gd name="connsiteY18" fmla="*/ 2038350 h 5060950"/>
                <a:gd name="connsiteX19" fmla="*/ 531283 w 1450158"/>
                <a:gd name="connsiteY19" fmla="*/ 1854200 h 5060950"/>
                <a:gd name="connsiteX20" fmla="*/ 626533 w 1450158"/>
                <a:gd name="connsiteY20" fmla="*/ 1600200 h 5060950"/>
                <a:gd name="connsiteX21" fmla="*/ 632883 w 1450158"/>
                <a:gd name="connsiteY21" fmla="*/ 1371600 h 5060950"/>
                <a:gd name="connsiteX22" fmla="*/ 709083 w 1450158"/>
                <a:gd name="connsiteY22" fmla="*/ 1250950 h 5060950"/>
                <a:gd name="connsiteX23" fmla="*/ 829733 w 1450158"/>
                <a:gd name="connsiteY23" fmla="*/ 1111250 h 5060950"/>
                <a:gd name="connsiteX24" fmla="*/ 1064683 w 1450158"/>
                <a:gd name="connsiteY24" fmla="*/ 850900 h 5060950"/>
                <a:gd name="connsiteX25" fmla="*/ 1450158 w 1450158"/>
                <a:gd name="connsiteY25" fmla="*/ 0 h 5060950"/>
                <a:gd name="connsiteX0" fmla="*/ 55033 w 1450158"/>
                <a:gd name="connsiteY0" fmla="*/ 5060950 h 5060950"/>
                <a:gd name="connsiteX1" fmla="*/ 4233 w 1450158"/>
                <a:gd name="connsiteY1" fmla="*/ 4832350 h 5060950"/>
                <a:gd name="connsiteX2" fmla="*/ 29633 w 1450158"/>
                <a:gd name="connsiteY2" fmla="*/ 4591050 h 5060950"/>
                <a:gd name="connsiteX3" fmla="*/ 93133 w 1450158"/>
                <a:gd name="connsiteY3" fmla="*/ 4298950 h 5060950"/>
                <a:gd name="connsiteX4" fmla="*/ 156633 w 1450158"/>
                <a:gd name="connsiteY4" fmla="*/ 4000500 h 5060950"/>
                <a:gd name="connsiteX5" fmla="*/ 194733 w 1450158"/>
                <a:gd name="connsiteY5" fmla="*/ 3930650 h 5060950"/>
                <a:gd name="connsiteX6" fmla="*/ 283633 w 1450158"/>
                <a:gd name="connsiteY6" fmla="*/ 3835400 h 5060950"/>
                <a:gd name="connsiteX7" fmla="*/ 347133 w 1450158"/>
                <a:gd name="connsiteY7" fmla="*/ 3695700 h 5060950"/>
                <a:gd name="connsiteX8" fmla="*/ 448733 w 1450158"/>
                <a:gd name="connsiteY8" fmla="*/ 3530600 h 5060950"/>
                <a:gd name="connsiteX9" fmla="*/ 582083 w 1450158"/>
                <a:gd name="connsiteY9" fmla="*/ 3409950 h 5060950"/>
                <a:gd name="connsiteX10" fmla="*/ 728133 w 1450158"/>
                <a:gd name="connsiteY10" fmla="*/ 3238500 h 5060950"/>
                <a:gd name="connsiteX11" fmla="*/ 867833 w 1450158"/>
                <a:gd name="connsiteY11" fmla="*/ 3016250 h 5060950"/>
                <a:gd name="connsiteX12" fmla="*/ 893233 w 1450158"/>
                <a:gd name="connsiteY12" fmla="*/ 2787650 h 5060950"/>
                <a:gd name="connsiteX13" fmla="*/ 886883 w 1450158"/>
                <a:gd name="connsiteY13" fmla="*/ 2616200 h 5060950"/>
                <a:gd name="connsiteX14" fmla="*/ 817033 w 1450158"/>
                <a:gd name="connsiteY14" fmla="*/ 2476500 h 5060950"/>
                <a:gd name="connsiteX15" fmla="*/ 677333 w 1450158"/>
                <a:gd name="connsiteY15" fmla="*/ 2305050 h 5060950"/>
                <a:gd name="connsiteX16" fmla="*/ 588433 w 1450158"/>
                <a:gd name="connsiteY16" fmla="*/ 2235200 h 5060950"/>
                <a:gd name="connsiteX17" fmla="*/ 556683 w 1450158"/>
                <a:gd name="connsiteY17" fmla="*/ 2152650 h 5060950"/>
                <a:gd name="connsiteX18" fmla="*/ 518583 w 1450158"/>
                <a:gd name="connsiteY18" fmla="*/ 2038350 h 5060950"/>
                <a:gd name="connsiteX19" fmla="*/ 531283 w 1450158"/>
                <a:gd name="connsiteY19" fmla="*/ 1854200 h 5060950"/>
                <a:gd name="connsiteX20" fmla="*/ 626533 w 1450158"/>
                <a:gd name="connsiteY20" fmla="*/ 1600200 h 5060950"/>
                <a:gd name="connsiteX21" fmla="*/ 632883 w 1450158"/>
                <a:gd name="connsiteY21" fmla="*/ 1371600 h 5060950"/>
                <a:gd name="connsiteX22" fmla="*/ 709083 w 1450158"/>
                <a:gd name="connsiteY22" fmla="*/ 1250950 h 5060950"/>
                <a:gd name="connsiteX23" fmla="*/ 829733 w 1450158"/>
                <a:gd name="connsiteY23" fmla="*/ 1111250 h 5060950"/>
                <a:gd name="connsiteX24" fmla="*/ 1064683 w 1450158"/>
                <a:gd name="connsiteY24" fmla="*/ 850900 h 5060950"/>
                <a:gd name="connsiteX25" fmla="*/ 1191682 w 1450158"/>
                <a:gd name="connsiteY25" fmla="*/ 603250 h 5060950"/>
                <a:gd name="connsiteX26" fmla="*/ 1450158 w 1450158"/>
                <a:gd name="connsiteY26" fmla="*/ 0 h 5060950"/>
                <a:gd name="connsiteX0" fmla="*/ 55033 w 1450158"/>
                <a:gd name="connsiteY0" fmla="*/ 5060950 h 5060950"/>
                <a:gd name="connsiteX1" fmla="*/ 4233 w 1450158"/>
                <a:gd name="connsiteY1" fmla="*/ 4832350 h 5060950"/>
                <a:gd name="connsiteX2" fmla="*/ 29633 w 1450158"/>
                <a:gd name="connsiteY2" fmla="*/ 4591050 h 5060950"/>
                <a:gd name="connsiteX3" fmla="*/ 93133 w 1450158"/>
                <a:gd name="connsiteY3" fmla="*/ 4298950 h 5060950"/>
                <a:gd name="connsiteX4" fmla="*/ 156633 w 1450158"/>
                <a:gd name="connsiteY4" fmla="*/ 4000500 h 5060950"/>
                <a:gd name="connsiteX5" fmla="*/ 194733 w 1450158"/>
                <a:gd name="connsiteY5" fmla="*/ 3930650 h 5060950"/>
                <a:gd name="connsiteX6" fmla="*/ 283633 w 1450158"/>
                <a:gd name="connsiteY6" fmla="*/ 3835400 h 5060950"/>
                <a:gd name="connsiteX7" fmla="*/ 347133 w 1450158"/>
                <a:gd name="connsiteY7" fmla="*/ 3695700 h 5060950"/>
                <a:gd name="connsiteX8" fmla="*/ 448733 w 1450158"/>
                <a:gd name="connsiteY8" fmla="*/ 3530600 h 5060950"/>
                <a:gd name="connsiteX9" fmla="*/ 582083 w 1450158"/>
                <a:gd name="connsiteY9" fmla="*/ 3409950 h 5060950"/>
                <a:gd name="connsiteX10" fmla="*/ 728133 w 1450158"/>
                <a:gd name="connsiteY10" fmla="*/ 3238500 h 5060950"/>
                <a:gd name="connsiteX11" fmla="*/ 867833 w 1450158"/>
                <a:gd name="connsiteY11" fmla="*/ 3016250 h 5060950"/>
                <a:gd name="connsiteX12" fmla="*/ 893233 w 1450158"/>
                <a:gd name="connsiteY12" fmla="*/ 2787650 h 5060950"/>
                <a:gd name="connsiteX13" fmla="*/ 886883 w 1450158"/>
                <a:gd name="connsiteY13" fmla="*/ 2616200 h 5060950"/>
                <a:gd name="connsiteX14" fmla="*/ 817033 w 1450158"/>
                <a:gd name="connsiteY14" fmla="*/ 2476500 h 5060950"/>
                <a:gd name="connsiteX15" fmla="*/ 677333 w 1450158"/>
                <a:gd name="connsiteY15" fmla="*/ 2305050 h 5060950"/>
                <a:gd name="connsiteX16" fmla="*/ 588433 w 1450158"/>
                <a:gd name="connsiteY16" fmla="*/ 2235200 h 5060950"/>
                <a:gd name="connsiteX17" fmla="*/ 556683 w 1450158"/>
                <a:gd name="connsiteY17" fmla="*/ 2152650 h 5060950"/>
                <a:gd name="connsiteX18" fmla="*/ 518583 w 1450158"/>
                <a:gd name="connsiteY18" fmla="*/ 2038350 h 5060950"/>
                <a:gd name="connsiteX19" fmla="*/ 531283 w 1450158"/>
                <a:gd name="connsiteY19" fmla="*/ 1854200 h 5060950"/>
                <a:gd name="connsiteX20" fmla="*/ 626533 w 1450158"/>
                <a:gd name="connsiteY20" fmla="*/ 1600200 h 5060950"/>
                <a:gd name="connsiteX21" fmla="*/ 632883 w 1450158"/>
                <a:gd name="connsiteY21" fmla="*/ 1371600 h 5060950"/>
                <a:gd name="connsiteX22" fmla="*/ 709083 w 1450158"/>
                <a:gd name="connsiteY22" fmla="*/ 1250950 h 5060950"/>
                <a:gd name="connsiteX23" fmla="*/ 829733 w 1450158"/>
                <a:gd name="connsiteY23" fmla="*/ 1111250 h 5060950"/>
                <a:gd name="connsiteX24" fmla="*/ 1064683 w 1450158"/>
                <a:gd name="connsiteY24" fmla="*/ 768350 h 5060950"/>
                <a:gd name="connsiteX25" fmla="*/ 1191682 w 1450158"/>
                <a:gd name="connsiteY25" fmla="*/ 603250 h 5060950"/>
                <a:gd name="connsiteX26" fmla="*/ 1450158 w 1450158"/>
                <a:gd name="connsiteY26" fmla="*/ 0 h 5060950"/>
                <a:gd name="connsiteX0" fmla="*/ 55033 w 1450158"/>
                <a:gd name="connsiteY0" fmla="*/ 5060950 h 5060950"/>
                <a:gd name="connsiteX1" fmla="*/ 4233 w 1450158"/>
                <a:gd name="connsiteY1" fmla="*/ 4832350 h 5060950"/>
                <a:gd name="connsiteX2" fmla="*/ 29633 w 1450158"/>
                <a:gd name="connsiteY2" fmla="*/ 4591050 h 5060950"/>
                <a:gd name="connsiteX3" fmla="*/ 93133 w 1450158"/>
                <a:gd name="connsiteY3" fmla="*/ 4298950 h 5060950"/>
                <a:gd name="connsiteX4" fmla="*/ 156633 w 1450158"/>
                <a:gd name="connsiteY4" fmla="*/ 4000500 h 5060950"/>
                <a:gd name="connsiteX5" fmla="*/ 194733 w 1450158"/>
                <a:gd name="connsiteY5" fmla="*/ 3930650 h 5060950"/>
                <a:gd name="connsiteX6" fmla="*/ 283633 w 1450158"/>
                <a:gd name="connsiteY6" fmla="*/ 3835400 h 5060950"/>
                <a:gd name="connsiteX7" fmla="*/ 347133 w 1450158"/>
                <a:gd name="connsiteY7" fmla="*/ 3695700 h 5060950"/>
                <a:gd name="connsiteX8" fmla="*/ 448733 w 1450158"/>
                <a:gd name="connsiteY8" fmla="*/ 3530600 h 5060950"/>
                <a:gd name="connsiteX9" fmla="*/ 582083 w 1450158"/>
                <a:gd name="connsiteY9" fmla="*/ 3409950 h 5060950"/>
                <a:gd name="connsiteX10" fmla="*/ 728133 w 1450158"/>
                <a:gd name="connsiteY10" fmla="*/ 3238500 h 5060950"/>
                <a:gd name="connsiteX11" fmla="*/ 867833 w 1450158"/>
                <a:gd name="connsiteY11" fmla="*/ 3016250 h 5060950"/>
                <a:gd name="connsiteX12" fmla="*/ 893233 w 1450158"/>
                <a:gd name="connsiteY12" fmla="*/ 2787650 h 5060950"/>
                <a:gd name="connsiteX13" fmla="*/ 886883 w 1450158"/>
                <a:gd name="connsiteY13" fmla="*/ 2616200 h 5060950"/>
                <a:gd name="connsiteX14" fmla="*/ 817033 w 1450158"/>
                <a:gd name="connsiteY14" fmla="*/ 2476500 h 5060950"/>
                <a:gd name="connsiteX15" fmla="*/ 677333 w 1450158"/>
                <a:gd name="connsiteY15" fmla="*/ 2305050 h 5060950"/>
                <a:gd name="connsiteX16" fmla="*/ 588433 w 1450158"/>
                <a:gd name="connsiteY16" fmla="*/ 2235200 h 5060950"/>
                <a:gd name="connsiteX17" fmla="*/ 556683 w 1450158"/>
                <a:gd name="connsiteY17" fmla="*/ 2152650 h 5060950"/>
                <a:gd name="connsiteX18" fmla="*/ 518583 w 1450158"/>
                <a:gd name="connsiteY18" fmla="*/ 2038350 h 5060950"/>
                <a:gd name="connsiteX19" fmla="*/ 531283 w 1450158"/>
                <a:gd name="connsiteY19" fmla="*/ 1854200 h 5060950"/>
                <a:gd name="connsiteX20" fmla="*/ 626533 w 1450158"/>
                <a:gd name="connsiteY20" fmla="*/ 1600200 h 5060950"/>
                <a:gd name="connsiteX21" fmla="*/ 632883 w 1450158"/>
                <a:gd name="connsiteY21" fmla="*/ 1371600 h 5060950"/>
                <a:gd name="connsiteX22" fmla="*/ 709083 w 1450158"/>
                <a:gd name="connsiteY22" fmla="*/ 1250950 h 5060950"/>
                <a:gd name="connsiteX23" fmla="*/ 829733 w 1450158"/>
                <a:gd name="connsiteY23" fmla="*/ 1111250 h 5060950"/>
                <a:gd name="connsiteX24" fmla="*/ 1064683 w 1450158"/>
                <a:gd name="connsiteY24" fmla="*/ 768350 h 5060950"/>
                <a:gd name="connsiteX25" fmla="*/ 1274232 w 1450158"/>
                <a:gd name="connsiteY25" fmla="*/ 450850 h 5060950"/>
                <a:gd name="connsiteX26" fmla="*/ 1450158 w 1450158"/>
                <a:gd name="connsiteY26" fmla="*/ 0 h 5060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50158" h="5060950">
                  <a:moveTo>
                    <a:pt x="55033" y="5060950"/>
                  </a:moveTo>
                  <a:cubicBezTo>
                    <a:pt x="31749" y="4985808"/>
                    <a:pt x="8466" y="4910667"/>
                    <a:pt x="4233" y="4832350"/>
                  </a:cubicBezTo>
                  <a:cubicBezTo>
                    <a:pt x="0" y="4754033"/>
                    <a:pt x="14816" y="4679950"/>
                    <a:pt x="29633" y="4591050"/>
                  </a:cubicBezTo>
                  <a:cubicBezTo>
                    <a:pt x="44450" y="4502150"/>
                    <a:pt x="71966" y="4397375"/>
                    <a:pt x="93133" y="4298950"/>
                  </a:cubicBezTo>
                  <a:cubicBezTo>
                    <a:pt x="114300" y="4200525"/>
                    <a:pt x="139700" y="4061883"/>
                    <a:pt x="156633" y="4000500"/>
                  </a:cubicBezTo>
                  <a:cubicBezTo>
                    <a:pt x="173566" y="3939117"/>
                    <a:pt x="173566" y="3958167"/>
                    <a:pt x="194733" y="3930650"/>
                  </a:cubicBezTo>
                  <a:cubicBezTo>
                    <a:pt x="215900" y="3903133"/>
                    <a:pt x="258233" y="3874558"/>
                    <a:pt x="283633" y="3835400"/>
                  </a:cubicBezTo>
                  <a:cubicBezTo>
                    <a:pt x="309033" y="3796242"/>
                    <a:pt x="319616" y="3746500"/>
                    <a:pt x="347133" y="3695700"/>
                  </a:cubicBezTo>
                  <a:cubicBezTo>
                    <a:pt x="374650" y="3644900"/>
                    <a:pt x="409575" y="3578225"/>
                    <a:pt x="448733" y="3530600"/>
                  </a:cubicBezTo>
                  <a:cubicBezTo>
                    <a:pt x="487891" y="3482975"/>
                    <a:pt x="535516" y="3458633"/>
                    <a:pt x="582083" y="3409950"/>
                  </a:cubicBezTo>
                  <a:cubicBezTo>
                    <a:pt x="628650" y="3361267"/>
                    <a:pt x="680508" y="3304117"/>
                    <a:pt x="728133" y="3238500"/>
                  </a:cubicBezTo>
                  <a:cubicBezTo>
                    <a:pt x="775758" y="3172883"/>
                    <a:pt x="840316" y="3091392"/>
                    <a:pt x="867833" y="3016250"/>
                  </a:cubicBezTo>
                  <a:cubicBezTo>
                    <a:pt x="895350" y="2941108"/>
                    <a:pt x="890058" y="2854325"/>
                    <a:pt x="893233" y="2787650"/>
                  </a:cubicBezTo>
                  <a:cubicBezTo>
                    <a:pt x="896408" y="2720975"/>
                    <a:pt x="899583" y="2668058"/>
                    <a:pt x="886883" y="2616200"/>
                  </a:cubicBezTo>
                  <a:cubicBezTo>
                    <a:pt x="874183" y="2564342"/>
                    <a:pt x="851958" y="2528358"/>
                    <a:pt x="817033" y="2476500"/>
                  </a:cubicBezTo>
                  <a:cubicBezTo>
                    <a:pt x="782108" y="2424642"/>
                    <a:pt x="715433" y="2345267"/>
                    <a:pt x="677333" y="2305050"/>
                  </a:cubicBezTo>
                  <a:cubicBezTo>
                    <a:pt x="639233" y="2264833"/>
                    <a:pt x="608541" y="2260600"/>
                    <a:pt x="588433" y="2235200"/>
                  </a:cubicBezTo>
                  <a:cubicBezTo>
                    <a:pt x="568325" y="2209800"/>
                    <a:pt x="568325" y="2185458"/>
                    <a:pt x="556683" y="2152650"/>
                  </a:cubicBezTo>
                  <a:cubicBezTo>
                    <a:pt x="545041" y="2119842"/>
                    <a:pt x="522816" y="2088092"/>
                    <a:pt x="518583" y="2038350"/>
                  </a:cubicBezTo>
                  <a:cubicBezTo>
                    <a:pt x="514350" y="1988608"/>
                    <a:pt x="513291" y="1927225"/>
                    <a:pt x="531283" y="1854200"/>
                  </a:cubicBezTo>
                  <a:cubicBezTo>
                    <a:pt x="549275" y="1781175"/>
                    <a:pt x="609600" y="1680633"/>
                    <a:pt x="626533" y="1600200"/>
                  </a:cubicBezTo>
                  <a:cubicBezTo>
                    <a:pt x="643466" y="1519767"/>
                    <a:pt x="619125" y="1429808"/>
                    <a:pt x="632883" y="1371600"/>
                  </a:cubicBezTo>
                  <a:cubicBezTo>
                    <a:pt x="646641" y="1313392"/>
                    <a:pt x="676275" y="1294342"/>
                    <a:pt x="709083" y="1250950"/>
                  </a:cubicBezTo>
                  <a:cubicBezTo>
                    <a:pt x="741891" y="1207558"/>
                    <a:pt x="770466" y="1191683"/>
                    <a:pt x="829733" y="1111250"/>
                  </a:cubicBezTo>
                  <a:cubicBezTo>
                    <a:pt x="889000" y="1030817"/>
                    <a:pt x="990600" y="878417"/>
                    <a:pt x="1064683" y="768350"/>
                  </a:cubicBezTo>
                  <a:cubicBezTo>
                    <a:pt x="1138766" y="658283"/>
                    <a:pt x="1209986" y="578908"/>
                    <a:pt x="1274232" y="450850"/>
                  </a:cubicBezTo>
                  <a:cubicBezTo>
                    <a:pt x="1338478" y="322792"/>
                    <a:pt x="1388029" y="141817"/>
                    <a:pt x="1450158" y="0"/>
                  </a:cubicBezTo>
                </a:path>
              </a:pathLst>
            </a:custGeom>
            <a:ln w="25400">
              <a:solidFill>
                <a:srgbClr val="13FF01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86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7" name="Полилиния 6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911539" y="3828617"/>
              <a:ext cx="5419781" cy="1261867"/>
            </a:xfrm>
            <a:custGeom>
              <a:avLst/>
              <a:gdLst>
                <a:gd name="connsiteX0" fmla="*/ 4055897 w 4055897"/>
                <a:gd name="connsiteY0" fmla="*/ 757325 h 944319"/>
                <a:gd name="connsiteX1" fmla="*/ 3775406 w 4055897"/>
                <a:gd name="connsiteY1" fmla="*/ 762935 h 944319"/>
                <a:gd name="connsiteX2" fmla="*/ 3534184 w 4055897"/>
                <a:gd name="connsiteY2" fmla="*/ 757325 h 944319"/>
                <a:gd name="connsiteX3" fmla="*/ 3343450 w 4055897"/>
                <a:gd name="connsiteY3" fmla="*/ 813423 h 944319"/>
                <a:gd name="connsiteX4" fmla="*/ 2945153 w 4055897"/>
                <a:gd name="connsiteY4" fmla="*/ 903181 h 944319"/>
                <a:gd name="connsiteX5" fmla="*/ 2771249 w 4055897"/>
                <a:gd name="connsiteY5" fmla="*/ 936839 h 944319"/>
                <a:gd name="connsiteX6" fmla="*/ 2574905 w 4055897"/>
                <a:gd name="connsiteY6" fmla="*/ 858302 h 944319"/>
                <a:gd name="connsiteX7" fmla="*/ 2513197 w 4055897"/>
                <a:gd name="connsiteY7" fmla="*/ 785374 h 944319"/>
                <a:gd name="connsiteX8" fmla="*/ 2445879 w 4055897"/>
                <a:gd name="connsiteY8" fmla="*/ 729276 h 944319"/>
                <a:gd name="connsiteX9" fmla="*/ 2406611 w 4055897"/>
                <a:gd name="connsiteY9" fmla="*/ 622690 h 944319"/>
                <a:gd name="connsiteX10" fmla="*/ 2378562 w 4055897"/>
                <a:gd name="connsiteY10" fmla="*/ 549762 h 944319"/>
                <a:gd name="connsiteX11" fmla="*/ 2339293 w 4055897"/>
                <a:gd name="connsiteY11" fmla="*/ 454395 h 944319"/>
                <a:gd name="connsiteX12" fmla="*/ 2199048 w 4055897"/>
                <a:gd name="connsiteY12" fmla="*/ 398297 h 944319"/>
                <a:gd name="connsiteX13" fmla="*/ 2103681 w 4055897"/>
                <a:gd name="connsiteY13" fmla="*/ 375858 h 944319"/>
                <a:gd name="connsiteX14" fmla="*/ 2064412 w 4055897"/>
                <a:gd name="connsiteY14" fmla="*/ 302930 h 944319"/>
                <a:gd name="connsiteX15" fmla="*/ 2013924 w 4055897"/>
                <a:gd name="connsiteY15" fmla="*/ 269271 h 944319"/>
                <a:gd name="connsiteX16" fmla="*/ 1924167 w 4055897"/>
                <a:gd name="connsiteY16" fmla="*/ 263662 h 944319"/>
                <a:gd name="connsiteX17" fmla="*/ 1817580 w 4055897"/>
                <a:gd name="connsiteY17" fmla="*/ 263662 h 944319"/>
                <a:gd name="connsiteX18" fmla="*/ 1654895 w 4055897"/>
                <a:gd name="connsiteY18" fmla="*/ 224393 h 944319"/>
                <a:gd name="connsiteX19" fmla="*/ 1565138 w 4055897"/>
                <a:gd name="connsiteY19" fmla="*/ 246832 h 944319"/>
                <a:gd name="connsiteX20" fmla="*/ 1486601 w 4055897"/>
                <a:gd name="connsiteY20" fmla="*/ 280491 h 944319"/>
                <a:gd name="connsiteX21" fmla="*/ 1391234 w 4055897"/>
                <a:gd name="connsiteY21" fmla="*/ 274881 h 944319"/>
                <a:gd name="connsiteX22" fmla="*/ 1363185 w 4055897"/>
                <a:gd name="connsiteY22" fmla="*/ 213173 h 944319"/>
                <a:gd name="connsiteX23" fmla="*/ 1357575 w 4055897"/>
                <a:gd name="connsiteY23" fmla="*/ 162685 h 944319"/>
                <a:gd name="connsiteX24" fmla="*/ 1335136 w 4055897"/>
                <a:gd name="connsiteY24" fmla="*/ 117806 h 944319"/>
                <a:gd name="connsiteX25" fmla="*/ 1178061 w 4055897"/>
                <a:gd name="connsiteY25" fmla="*/ 72928 h 944319"/>
                <a:gd name="connsiteX26" fmla="*/ 1054645 w 4055897"/>
                <a:gd name="connsiteY26" fmla="*/ 84147 h 944319"/>
                <a:gd name="connsiteX27" fmla="*/ 908790 w 4055897"/>
                <a:gd name="connsiteY27" fmla="*/ 173904 h 944319"/>
                <a:gd name="connsiteX28" fmla="*/ 779764 w 4055897"/>
                <a:gd name="connsiteY28" fmla="*/ 269271 h 944319"/>
                <a:gd name="connsiteX29" fmla="*/ 639519 w 4055897"/>
                <a:gd name="connsiteY29" fmla="*/ 308540 h 944319"/>
                <a:gd name="connsiteX30" fmla="*/ 510493 w 4055897"/>
                <a:gd name="connsiteY30" fmla="*/ 263662 h 944319"/>
                <a:gd name="connsiteX31" fmla="*/ 437565 w 4055897"/>
                <a:gd name="connsiteY31" fmla="*/ 162685 h 944319"/>
                <a:gd name="connsiteX32" fmla="*/ 353418 w 4055897"/>
                <a:gd name="connsiteY32" fmla="*/ 112196 h 944319"/>
                <a:gd name="connsiteX33" fmla="*/ 213173 w 4055897"/>
                <a:gd name="connsiteY33" fmla="*/ 67318 h 944319"/>
                <a:gd name="connsiteX34" fmla="*/ 0 w 4055897"/>
                <a:gd name="connsiteY34" fmla="*/ 0 h 94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55897" h="944319">
                  <a:moveTo>
                    <a:pt x="4055897" y="757325"/>
                  </a:moveTo>
                  <a:lnTo>
                    <a:pt x="3775406" y="762935"/>
                  </a:lnTo>
                  <a:cubicBezTo>
                    <a:pt x="3688454" y="762935"/>
                    <a:pt x="3606177" y="748910"/>
                    <a:pt x="3534184" y="757325"/>
                  </a:cubicBezTo>
                  <a:cubicBezTo>
                    <a:pt x="3462191" y="765740"/>
                    <a:pt x="3441622" y="789114"/>
                    <a:pt x="3343450" y="813423"/>
                  </a:cubicBezTo>
                  <a:cubicBezTo>
                    <a:pt x="3245278" y="837732"/>
                    <a:pt x="3040520" y="882612"/>
                    <a:pt x="2945153" y="903181"/>
                  </a:cubicBezTo>
                  <a:cubicBezTo>
                    <a:pt x="2849786" y="923750"/>
                    <a:pt x="2832957" y="944319"/>
                    <a:pt x="2771249" y="936839"/>
                  </a:cubicBezTo>
                  <a:cubicBezTo>
                    <a:pt x="2709541" y="929359"/>
                    <a:pt x="2617914" y="883546"/>
                    <a:pt x="2574905" y="858302"/>
                  </a:cubicBezTo>
                  <a:cubicBezTo>
                    <a:pt x="2531896" y="833058"/>
                    <a:pt x="2534701" y="806878"/>
                    <a:pt x="2513197" y="785374"/>
                  </a:cubicBezTo>
                  <a:cubicBezTo>
                    <a:pt x="2491693" y="763870"/>
                    <a:pt x="2463643" y="756390"/>
                    <a:pt x="2445879" y="729276"/>
                  </a:cubicBezTo>
                  <a:cubicBezTo>
                    <a:pt x="2428115" y="702162"/>
                    <a:pt x="2417830" y="652609"/>
                    <a:pt x="2406611" y="622690"/>
                  </a:cubicBezTo>
                  <a:cubicBezTo>
                    <a:pt x="2395392" y="592771"/>
                    <a:pt x="2389782" y="577811"/>
                    <a:pt x="2378562" y="549762"/>
                  </a:cubicBezTo>
                  <a:cubicBezTo>
                    <a:pt x="2367342" y="521713"/>
                    <a:pt x="2369212" y="479639"/>
                    <a:pt x="2339293" y="454395"/>
                  </a:cubicBezTo>
                  <a:cubicBezTo>
                    <a:pt x="2309374" y="429151"/>
                    <a:pt x="2238317" y="411386"/>
                    <a:pt x="2199048" y="398297"/>
                  </a:cubicBezTo>
                  <a:cubicBezTo>
                    <a:pt x="2159779" y="385208"/>
                    <a:pt x="2126120" y="391753"/>
                    <a:pt x="2103681" y="375858"/>
                  </a:cubicBezTo>
                  <a:cubicBezTo>
                    <a:pt x="2081242" y="359963"/>
                    <a:pt x="2079372" y="320695"/>
                    <a:pt x="2064412" y="302930"/>
                  </a:cubicBezTo>
                  <a:cubicBezTo>
                    <a:pt x="2049453" y="285166"/>
                    <a:pt x="2037298" y="275816"/>
                    <a:pt x="2013924" y="269271"/>
                  </a:cubicBezTo>
                  <a:cubicBezTo>
                    <a:pt x="1990550" y="262726"/>
                    <a:pt x="1956891" y="264597"/>
                    <a:pt x="1924167" y="263662"/>
                  </a:cubicBezTo>
                  <a:cubicBezTo>
                    <a:pt x="1891443" y="262727"/>
                    <a:pt x="1862459" y="270207"/>
                    <a:pt x="1817580" y="263662"/>
                  </a:cubicBezTo>
                  <a:cubicBezTo>
                    <a:pt x="1772701" y="257117"/>
                    <a:pt x="1696969" y="227198"/>
                    <a:pt x="1654895" y="224393"/>
                  </a:cubicBezTo>
                  <a:cubicBezTo>
                    <a:pt x="1612821" y="221588"/>
                    <a:pt x="1593187" y="237482"/>
                    <a:pt x="1565138" y="246832"/>
                  </a:cubicBezTo>
                  <a:cubicBezTo>
                    <a:pt x="1537089" y="256182"/>
                    <a:pt x="1515585" y="275816"/>
                    <a:pt x="1486601" y="280491"/>
                  </a:cubicBezTo>
                  <a:cubicBezTo>
                    <a:pt x="1457617" y="285166"/>
                    <a:pt x="1411803" y="286101"/>
                    <a:pt x="1391234" y="274881"/>
                  </a:cubicBezTo>
                  <a:cubicBezTo>
                    <a:pt x="1370665" y="263661"/>
                    <a:pt x="1368795" y="231872"/>
                    <a:pt x="1363185" y="213173"/>
                  </a:cubicBezTo>
                  <a:cubicBezTo>
                    <a:pt x="1357575" y="194474"/>
                    <a:pt x="1362250" y="178580"/>
                    <a:pt x="1357575" y="162685"/>
                  </a:cubicBezTo>
                  <a:cubicBezTo>
                    <a:pt x="1352900" y="146790"/>
                    <a:pt x="1365055" y="132765"/>
                    <a:pt x="1335136" y="117806"/>
                  </a:cubicBezTo>
                  <a:cubicBezTo>
                    <a:pt x="1305217" y="102847"/>
                    <a:pt x="1224809" y="78538"/>
                    <a:pt x="1178061" y="72928"/>
                  </a:cubicBezTo>
                  <a:cubicBezTo>
                    <a:pt x="1131313" y="67318"/>
                    <a:pt x="1099523" y="67318"/>
                    <a:pt x="1054645" y="84147"/>
                  </a:cubicBezTo>
                  <a:cubicBezTo>
                    <a:pt x="1009767" y="100976"/>
                    <a:pt x="954603" y="143050"/>
                    <a:pt x="908790" y="173904"/>
                  </a:cubicBezTo>
                  <a:cubicBezTo>
                    <a:pt x="862977" y="204758"/>
                    <a:pt x="824642" y="246832"/>
                    <a:pt x="779764" y="269271"/>
                  </a:cubicBezTo>
                  <a:cubicBezTo>
                    <a:pt x="734886" y="291710"/>
                    <a:pt x="684397" y="309475"/>
                    <a:pt x="639519" y="308540"/>
                  </a:cubicBezTo>
                  <a:cubicBezTo>
                    <a:pt x="594641" y="307605"/>
                    <a:pt x="544152" y="287971"/>
                    <a:pt x="510493" y="263662"/>
                  </a:cubicBezTo>
                  <a:cubicBezTo>
                    <a:pt x="476834" y="239353"/>
                    <a:pt x="463744" y="187929"/>
                    <a:pt x="437565" y="162685"/>
                  </a:cubicBezTo>
                  <a:cubicBezTo>
                    <a:pt x="411386" y="137441"/>
                    <a:pt x="390817" y="128091"/>
                    <a:pt x="353418" y="112196"/>
                  </a:cubicBezTo>
                  <a:cubicBezTo>
                    <a:pt x="316019" y="96302"/>
                    <a:pt x="213173" y="67318"/>
                    <a:pt x="213173" y="67318"/>
                  </a:cubicBezTo>
                  <a:lnTo>
                    <a:pt x="0" y="0"/>
                  </a:lnTo>
                </a:path>
              </a:pathLst>
            </a:custGeom>
            <a:ln w="25400">
              <a:solidFill>
                <a:srgbClr val="F79635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86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" name="Прямоугольник 7"/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2380721" y="1570360"/>
              <a:ext cx="449722" cy="415781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86" b="1" dirty="0">
                  <a:solidFill>
                    <a:prstClr val="white"/>
                  </a:solidFill>
                  <a:latin typeface="+mj-lt"/>
                </a:rPr>
                <a:t>1</a:t>
              </a:r>
            </a:p>
          </p:txBody>
        </p:sp>
        <p:sp>
          <p:nvSpPr>
            <p:cNvPr id="9" name="Прямоугольник 8"/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320306" y="3620726"/>
              <a:ext cx="449722" cy="415781"/>
            </a:xfrm>
            <a:prstGeom prst="rect">
              <a:avLst/>
            </a:prstGeom>
            <a:solidFill>
              <a:srgbClr val="F7963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86" b="1" dirty="0">
                  <a:solidFill>
                    <a:prstClr val="white"/>
                  </a:solidFill>
                  <a:latin typeface="+mj-lt"/>
                </a:rPr>
                <a:t>2</a:t>
              </a:r>
            </a:p>
          </p:txBody>
        </p:sp>
        <p:sp>
          <p:nvSpPr>
            <p:cNvPr id="10" name="Прямоугольник 9"/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1225510" y="1523863"/>
              <a:ext cx="449722" cy="415781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86" b="1" dirty="0">
                  <a:solidFill>
                    <a:prstClr val="black"/>
                  </a:solidFill>
                  <a:latin typeface="+mj-lt"/>
                </a:rPr>
                <a:t>3</a:t>
              </a:r>
            </a:p>
          </p:txBody>
        </p:sp>
        <p:sp>
          <p:nvSpPr>
            <p:cNvPr id="11" name="Прямоугольник 10"/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625225" y="1535663"/>
              <a:ext cx="449722" cy="415781"/>
            </a:xfrm>
            <a:prstGeom prst="rect">
              <a:avLst/>
            </a:prstGeom>
            <a:solidFill>
              <a:srgbClr val="13FF0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86" b="1" dirty="0">
                  <a:solidFill>
                    <a:prstClr val="black"/>
                  </a:solidFill>
                  <a:latin typeface="+mj-lt"/>
                </a:rPr>
                <a:t>4</a:t>
              </a:r>
            </a:p>
          </p:txBody>
        </p:sp>
        <p:sp>
          <p:nvSpPr>
            <p:cNvPr id="14" name="Полилиния 13"/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307709" y="2955990"/>
              <a:ext cx="5159078" cy="4177609"/>
            </a:xfrm>
            <a:custGeom>
              <a:avLst/>
              <a:gdLst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28950 w 3860800"/>
                <a:gd name="connsiteY4" fmla="*/ 325967 h 3126317"/>
                <a:gd name="connsiteX5" fmla="*/ 2914650 w 3860800"/>
                <a:gd name="connsiteY5" fmla="*/ 452967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3050 w 3860800"/>
                <a:gd name="connsiteY8" fmla="*/ 941917 h 3126317"/>
                <a:gd name="connsiteX9" fmla="*/ 2762250 w 3860800"/>
                <a:gd name="connsiteY9" fmla="*/ 1005417 h 3126317"/>
                <a:gd name="connsiteX10" fmla="*/ 2590800 w 3860800"/>
                <a:gd name="connsiteY10" fmla="*/ 1087967 h 3126317"/>
                <a:gd name="connsiteX11" fmla="*/ 2508250 w 3860800"/>
                <a:gd name="connsiteY11" fmla="*/ 1164167 h 3126317"/>
                <a:gd name="connsiteX12" fmla="*/ 2476500 w 3860800"/>
                <a:gd name="connsiteY12" fmla="*/ 1221317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28950 w 3860800"/>
                <a:gd name="connsiteY4" fmla="*/ 325967 h 3126317"/>
                <a:gd name="connsiteX5" fmla="*/ 2914650 w 3860800"/>
                <a:gd name="connsiteY5" fmla="*/ 452967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3050 w 3860800"/>
                <a:gd name="connsiteY8" fmla="*/ 941917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08250 w 3860800"/>
                <a:gd name="connsiteY11" fmla="*/ 1164167 h 3126317"/>
                <a:gd name="connsiteX12" fmla="*/ 2476500 w 3860800"/>
                <a:gd name="connsiteY12" fmla="*/ 1221317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28950 w 3860800"/>
                <a:gd name="connsiteY4" fmla="*/ 325967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3050 w 3860800"/>
                <a:gd name="connsiteY8" fmla="*/ 941917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08250 w 3860800"/>
                <a:gd name="connsiteY11" fmla="*/ 1164167 h 3126317"/>
                <a:gd name="connsiteX12" fmla="*/ 2476500 w 3860800"/>
                <a:gd name="connsiteY12" fmla="*/ 1221317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28950 w 3860800"/>
                <a:gd name="connsiteY4" fmla="*/ 325967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0669 w 3860800"/>
                <a:gd name="connsiteY8" fmla="*/ 972873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08250 w 3860800"/>
                <a:gd name="connsiteY11" fmla="*/ 1164167 h 3126317"/>
                <a:gd name="connsiteX12" fmla="*/ 2476500 w 3860800"/>
                <a:gd name="connsiteY12" fmla="*/ 1221317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28950 w 3860800"/>
                <a:gd name="connsiteY4" fmla="*/ 325967 h 3126317"/>
                <a:gd name="connsiteX5" fmla="*/ 3028950 w 3860800"/>
                <a:gd name="connsiteY5" fmla="*/ 329936 h 3126317"/>
                <a:gd name="connsiteX6" fmla="*/ 2914650 w 3860800"/>
                <a:gd name="connsiteY6" fmla="*/ 496536 h 3126317"/>
                <a:gd name="connsiteX7" fmla="*/ 2901950 w 3860800"/>
                <a:gd name="connsiteY7" fmla="*/ 618067 h 3126317"/>
                <a:gd name="connsiteX8" fmla="*/ 2901950 w 3860800"/>
                <a:gd name="connsiteY8" fmla="*/ 732367 h 3126317"/>
                <a:gd name="connsiteX9" fmla="*/ 2810669 w 3860800"/>
                <a:gd name="connsiteY9" fmla="*/ 972873 h 3126317"/>
                <a:gd name="connsiteX10" fmla="*/ 2762250 w 3860800"/>
                <a:gd name="connsiteY10" fmla="*/ 1062567 h 3126317"/>
                <a:gd name="connsiteX11" fmla="*/ 2590800 w 3860800"/>
                <a:gd name="connsiteY11" fmla="*/ 1087967 h 3126317"/>
                <a:gd name="connsiteX12" fmla="*/ 2508250 w 3860800"/>
                <a:gd name="connsiteY12" fmla="*/ 1164167 h 3126317"/>
                <a:gd name="connsiteX13" fmla="*/ 2476500 w 3860800"/>
                <a:gd name="connsiteY13" fmla="*/ 1221317 h 3126317"/>
                <a:gd name="connsiteX14" fmla="*/ 2362200 w 3860800"/>
                <a:gd name="connsiteY14" fmla="*/ 1246717 h 3126317"/>
                <a:gd name="connsiteX15" fmla="*/ 2292350 w 3860800"/>
                <a:gd name="connsiteY15" fmla="*/ 1272117 h 3126317"/>
                <a:gd name="connsiteX16" fmla="*/ 2247900 w 3860800"/>
                <a:gd name="connsiteY16" fmla="*/ 1354667 h 3126317"/>
                <a:gd name="connsiteX17" fmla="*/ 2241550 w 3860800"/>
                <a:gd name="connsiteY17" fmla="*/ 1513417 h 3126317"/>
                <a:gd name="connsiteX18" fmla="*/ 2197100 w 3860800"/>
                <a:gd name="connsiteY18" fmla="*/ 1608667 h 3126317"/>
                <a:gd name="connsiteX19" fmla="*/ 2082800 w 3860800"/>
                <a:gd name="connsiteY19" fmla="*/ 1710267 h 3126317"/>
                <a:gd name="connsiteX20" fmla="*/ 1708150 w 3860800"/>
                <a:gd name="connsiteY20" fmla="*/ 2034117 h 3126317"/>
                <a:gd name="connsiteX21" fmla="*/ 1536700 w 3860800"/>
                <a:gd name="connsiteY21" fmla="*/ 2180167 h 3126317"/>
                <a:gd name="connsiteX22" fmla="*/ 1250950 w 3860800"/>
                <a:gd name="connsiteY22" fmla="*/ 2351617 h 3126317"/>
                <a:gd name="connsiteX23" fmla="*/ 774700 w 3860800"/>
                <a:gd name="connsiteY23" fmla="*/ 2586567 h 3126317"/>
                <a:gd name="connsiteX24" fmla="*/ 495300 w 3860800"/>
                <a:gd name="connsiteY24" fmla="*/ 2681817 h 3126317"/>
                <a:gd name="connsiteX25" fmla="*/ 406400 w 3860800"/>
                <a:gd name="connsiteY25" fmla="*/ 2789767 h 3126317"/>
                <a:gd name="connsiteX26" fmla="*/ 381000 w 3860800"/>
                <a:gd name="connsiteY26" fmla="*/ 2916767 h 3126317"/>
                <a:gd name="connsiteX27" fmla="*/ 317500 w 3860800"/>
                <a:gd name="connsiteY27" fmla="*/ 2973917 h 3126317"/>
                <a:gd name="connsiteX28" fmla="*/ 177800 w 3860800"/>
                <a:gd name="connsiteY28" fmla="*/ 3024717 h 3126317"/>
                <a:gd name="connsiteX29" fmla="*/ 0 w 3860800"/>
                <a:gd name="connsiteY29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28950 w 3860800"/>
                <a:gd name="connsiteY4" fmla="*/ 325967 h 3126317"/>
                <a:gd name="connsiteX5" fmla="*/ 3028950 w 3860800"/>
                <a:gd name="connsiteY5" fmla="*/ 329936 h 3126317"/>
                <a:gd name="connsiteX6" fmla="*/ 2931319 w 3860800"/>
                <a:gd name="connsiteY6" fmla="*/ 301361 h 3126317"/>
                <a:gd name="connsiteX7" fmla="*/ 2914650 w 3860800"/>
                <a:gd name="connsiteY7" fmla="*/ 496536 h 3126317"/>
                <a:gd name="connsiteX8" fmla="*/ 2901950 w 3860800"/>
                <a:gd name="connsiteY8" fmla="*/ 618067 h 3126317"/>
                <a:gd name="connsiteX9" fmla="*/ 2901950 w 3860800"/>
                <a:gd name="connsiteY9" fmla="*/ 732367 h 3126317"/>
                <a:gd name="connsiteX10" fmla="*/ 2810669 w 3860800"/>
                <a:gd name="connsiteY10" fmla="*/ 972873 h 3126317"/>
                <a:gd name="connsiteX11" fmla="*/ 2762250 w 3860800"/>
                <a:gd name="connsiteY11" fmla="*/ 1062567 h 3126317"/>
                <a:gd name="connsiteX12" fmla="*/ 2590800 w 3860800"/>
                <a:gd name="connsiteY12" fmla="*/ 1087967 h 3126317"/>
                <a:gd name="connsiteX13" fmla="*/ 2508250 w 3860800"/>
                <a:gd name="connsiteY13" fmla="*/ 1164167 h 3126317"/>
                <a:gd name="connsiteX14" fmla="*/ 2476500 w 3860800"/>
                <a:gd name="connsiteY14" fmla="*/ 1221317 h 3126317"/>
                <a:gd name="connsiteX15" fmla="*/ 2362200 w 3860800"/>
                <a:gd name="connsiteY15" fmla="*/ 1246717 h 3126317"/>
                <a:gd name="connsiteX16" fmla="*/ 2292350 w 3860800"/>
                <a:gd name="connsiteY16" fmla="*/ 1272117 h 3126317"/>
                <a:gd name="connsiteX17" fmla="*/ 2247900 w 3860800"/>
                <a:gd name="connsiteY17" fmla="*/ 1354667 h 3126317"/>
                <a:gd name="connsiteX18" fmla="*/ 2241550 w 3860800"/>
                <a:gd name="connsiteY18" fmla="*/ 1513417 h 3126317"/>
                <a:gd name="connsiteX19" fmla="*/ 2197100 w 3860800"/>
                <a:gd name="connsiteY19" fmla="*/ 1608667 h 3126317"/>
                <a:gd name="connsiteX20" fmla="*/ 2082800 w 3860800"/>
                <a:gd name="connsiteY20" fmla="*/ 1710267 h 3126317"/>
                <a:gd name="connsiteX21" fmla="*/ 1708150 w 3860800"/>
                <a:gd name="connsiteY21" fmla="*/ 2034117 h 3126317"/>
                <a:gd name="connsiteX22" fmla="*/ 1536700 w 3860800"/>
                <a:gd name="connsiteY22" fmla="*/ 2180167 h 3126317"/>
                <a:gd name="connsiteX23" fmla="*/ 1250950 w 3860800"/>
                <a:gd name="connsiteY23" fmla="*/ 2351617 h 3126317"/>
                <a:gd name="connsiteX24" fmla="*/ 774700 w 3860800"/>
                <a:gd name="connsiteY24" fmla="*/ 2586567 h 3126317"/>
                <a:gd name="connsiteX25" fmla="*/ 495300 w 3860800"/>
                <a:gd name="connsiteY25" fmla="*/ 2681817 h 3126317"/>
                <a:gd name="connsiteX26" fmla="*/ 406400 w 3860800"/>
                <a:gd name="connsiteY26" fmla="*/ 2789767 h 3126317"/>
                <a:gd name="connsiteX27" fmla="*/ 381000 w 3860800"/>
                <a:gd name="connsiteY27" fmla="*/ 2916767 h 3126317"/>
                <a:gd name="connsiteX28" fmla="*/ 317500 w 3860800"/>
                <a:gd name="connsiteY28" fmla="*/ 2973917 h 3126317"/>
                <a:gd name="connsiteX29" fmla="*/ 177800 w 3860800"/>
                <a:gd name="connsiteY29" fmla="*/ 3024717 h 3126317"/>
                <a:gd name="connsiteX30" fmla="*/ 0 w 3860800"/>
                <a:gd name="connsiteY30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28950 w 3860800"/>
                <a:gd name="connsiteY4" fmla="*/ 325967 h 3126317"/>
                <a:gd name="connsiteX5" fmla="*/ 2931319 w 3860800"/>
                <a:gd name="connsiteY5" fmla="*/ 301361 h 3126317"/>
                <a:gd name="connsiteX6" fmla="*/ 2914650 w 3860800"/>
                <a:gd name="connsiteY6" fmla="*/ 496536 h 3126317"/>
                <a:gd name="connsiteX7" fmla="*/ 2901950 w 3860800"/>
                <a:gd name="connsiteY7" fmla="*/ 618067 h 3126317"/>
                <a:gd name="connsiteX8" fmla="*/ 2901950 w 3860800"/>
                <a:gd name="connsiteY8" fmla="*/ 732367 h 3126317"/>
                <a:gd name="connsiteX9" fmla="*/ 2810669 w 3860800"/>
                <a:gd name="connsiteY9" fmla="*/ 972873 h 3126317"/>
                <a:gd name="connsiteX10" fmla="*/ 2762250 w 3860800"/>
                <a:gd name="connsiteY10" fmla="*/ 1062567 h 3126317"/>
                <a:gd name="connsiteX11" fmla="*/ 2590800 w 3860800"/>
                <a:gd name="connsiteY11" fmla="*/ 1087967 h 3126317"/>
                <a:gd name="connsiteX12" fmla="*/ 2508250 w 3860800"/>
                <a:gd name="connsiteY12" fmla="*/ 1164167 h 3126317"/>
                <a:gd name="connsiteX13" fmla="*/ 2476500 w 3860800"/>
                <a:gd name="connsiteY13" fmla="*/ 1221317 h 3126317"/>
                <a:gd name="connsiteX14" fmla="*/ 2362200 w 3860800"/>
                <a:gd name="connsiteY14" fmla="*/ 1246717 h 3126317"/>
                <a:gd name="connsiteX15" fmla="*/ 2292350 w 3860800"/>
                <a:gd name="connsiteY15" fmla="*/ 1272117 h 3126317"/>
                <a:gd name="connsiteX16" fmla="*/ 2247900 w 3860800"/>
                <a:gd name="connsiteY16" fmla="*/ 1354667 h 3126317"/>
                <a:gd name="connsiteX17" fmla="*/ 2241550 w 3860800"/>
                <a:gd name="connsiteY17" fmla="*/ 1513417 h 3126317"/>
                <a:gd name="connsiteX18" fmla="*/ 2197100 w 3860800"/>
                <a:gd name="connsiteY18" fmla="*/ 1608667 h 3126317"/>
                <a:gd name="connsiteX19" fmla="*/ 2082800 w 3860800"/>
                <a:gd name="connsiteY19" fmla="*/ 1710267 h 3126317"/>
                <a:gd name="connsiteX20" fmla="*/ 1708150 w 3860800"/>
                <a:gd name="connsiteY20" fmla="*/ 2034117 h 3126317"/>
                <a:gd name="connsiteX21" fmla="*/ 1536700 w 3860800"/>
                <a:gd name="connsiteY21" fmla="*/ 2180167 h 3126317"/>
                <a:gd name="connsiteX22" fmla="*/ 1250950 w 3860800"/>
                <a:gd name="connsiteY22" fmla="*/ 2351617 h 3126317"/>
                <a:gd name="connsiteX23" fmla="*/ 774700 w 3860800"/>
                <a:gd name="connsiteY23" fmla="*/ 2586567 h 3126317"/>
                <a:gd name="connsiteX24" fmla="*/ 495300 w 3860800"/>
                <a:gd name="connsiteY24" fmla="*/ 2681817 h 3126317"/>
                <a:gd name="connsiteX25" fmla="*/ 406400 w 3860800"/>
                <a:gd name="connsiteY25" fmla="*/ 2789767 h 3126317"/>
                <a:gd name="connsiteX26" fmla="*/ 381000 w 3860800"/>
                <a:gd name="connsiteY26" fmla="*/ 2916767 h 3126317"/>
                <a:gd name="connsiteX27" fmla="*/ 317500 w 3860800"/>
                <a:gd name="connsiteY27" fmla="*/ 2973917 h 3126317"/>
                <a:gd name="connsiteX28" fmla="*/ 177800 w 3860800"/>
                <a:gd name="connsiteY28" fmla="*/ 3024717 h 3126317"/>
                <a:gd name="connsiteX29" fmla="*/ 0 w 3860800"/>
                <a:gd name="connsiteY29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2931319 w 3860800"/>
                <a:gd name="connsiteY4" fmla="*/ 301361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0669 w 3860800"/>
                <a:gd name="connsiteY8" fmla="*/ 972873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08250 w 3860800"/>
                <a:gd name="connsiteY11" fmla="*/ 1164167 h 3126317"/>
                <a:gd name="connsiteX12" fmla="*/ 2476500 w 3860800"/>
                <a:gd name="connsiteY12" fmla="*/ 1221317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98006 w 3860800"/>
                <a:gd name="connsiteY4" fmla="*/ 253736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0669 w 3860800"/>
                <a:gd name="connsiteY8" fmla="*/ 972873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08250 w 3860800"/>
                <a:gd name="connsiteY11" fmla="*/ 1164167 h 3126317"/>
                <a:gd name="connsiteX12" fmla="*/ 2476500 w 3860800"/>
                <a:gd name="connsiteY12" fmla="*/ 1221317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98006 w 3860800"/>
                <a:gd name="connsiteY4" fmla="*/ 253736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0669 w 3860800"/>
                <a:gd name="connsiteY8" fmla="*/ 972873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08250 w 3860800"/>
                <a:gd name="connsiteY11" fmla="*/ 1164167 h 3126317"/>
                <a:gd name="connsiteX12" fmla="*/ 2476500 w 3860800"/>
                <a:gd name="connsiteY12" fmla="*/ 1221317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98006 w 3860800"/>
                <a:gd name="connsiteY4" fmla="*/ 253736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0669 w 3860800"/>
                <a:gd name="connsiteY8" fmla="*/ 972873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08250 w 3860800"/>
                <a:gd name="connsiteY11" fmla="*/ 1164167 h 3126317"/>
                <a:gd name="connsiteX12" fmla="*/ 2476500 w 3860800"/>
                <a:gd name="connsiteY12" fmla="*/ 1221317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98006 w 3860800"/>
                <a:gd name="connsiteY4" fmla="*/ 253736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0669 w 3860800"/>
                <a:gd name="connsiteY8" fmla="*/ 972873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08250 w 3860800"/>
                <a:gd name="connsiteY11" fmla="*/ 1164167 h 3126317"/>
                <a:gd name="connsiteX12" fmla="*/ 2476500 w 3860800"/>
                <a:gd name="connsiteY12" fmla="*/ 1221317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98006 w 3860800"/>
                <a:gd name="connsiteY4" fmla="*/ 253736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0669 w 3860800"/>
                <a:gd name="connsiteY8" fmla="*/ 972873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08250 w 3860800"/>
                <a:gd name="connsiteY11" fmla="*/ 1164167 h 3126317"/>
                <a:gd name="connsiteX12" fmla="*/ 2476500 w 3860800"/>
                <a:gd name="connsiteY12" fmla="*/ 1221317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98006 w 3860800"/>
                <a:gd name="connsiteY4" fmla="*/ 253736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0669 w 3860800"/>
                <a:gd name="connsiteY8" fmla="*/ 972873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08250 w 3860800"/>
                <a:gd name="connsiteY11" fmla="*/ 1164167 h 3126317"/>
                <a:gd name="connsiteX12" fmla="*/ 2476500 w 3860800"/>
                <a:gd name="connsiteY12" fmla="*/ 1221317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98006 w 3860800"/>
                <a:gd name="connsiteY4" fmla="*/ 253736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0669 w 3860800"/>
                <a:gd name="connsiteY8" fmla="*/ 972873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40644 w 3860800"/>
                <a:gd name="connsiteY11" fmla="*/ 1200227 h 3126317"/>
                <a:gd name="connsiteX12" fmla="*/ 2476500 w 3860800"/>
                <a:gd name="connsiteY12" fmla="*/ 1221317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98006 w 3860800"/>
                <a:gd name="connsiteY4" fmla="*/ 253736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0669 w 3860800"/>
                <a:gd name="connsiteY8" fmla="*/ 972873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40644 w 3860800"/>
                <a:gd name="connsiteY11" fmla="*/ 1200227 h 3126317"/>
                <a:gd name="connsiteX12" fmla="*/ 2476500 w 3860800"/>
                <a:gd name="connsiteY12" fmla="*/ 1283136 h 3126317"/>
                <a:gd name="connsiteX13" fmla="*/ 2362200 w 3860800"/>
                <a:gd name="connsiteY13" fmla="*/ 1246717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98006 w 3860800"/>
                <a:gd name="connsiteY4" fmla="*/ 253736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0669 w 3860800"/>
                <a:gd name="connsiteY8" fmla="*/ 972873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40644 w 3860800"/>
                <a:gd name="connsiteY11" fmla="*/ 1200227 h 3126317"/>
                <a:gd name="connsiteX12" fmla="*/ 2476500 w 3860800"/>
                <a:gd name="connsiteY12" fmla="*/ 1283136 h 3126317"/>
                <a:gd name="connsiteX13" fmla="*/ 2362200 w 3860800"/>
                <a:gd name="connsiteY13" fmla="*/ 1300808 h 3126317"/>
                <a:gd name="connsiteX14" fmla="*/ 2292350 w 3860800"/>
                <a:gd name="connsiteY14" fmla="*/ 1272117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  <a:gd name="connsiteX0" fmla="*/ 3860800 w 3860800"/>
                <a:gd name="connsiteY0" fmla="*/ 14817 h 3126317"/>
                <a:gd name="connsiteX1" fmla="*/ 3492500 w 3860800"/>
                <a:gd name="connsiteY1" fmla="*/ 8467 h 3126317"/>
                <a:gd name="connsiteX2" fmla="*/ 3308350 w 3860800"/>
                <a:gd name="connsiteY2" fmla="*/ 21167 h 3126317"/>
                <a:gd name="connsiteX3" fmla="*/ 3181350 w 3860800"/>
                <a:gd name="connsiteY3" fmla="*/ 135467 h 3126317"/>
                <a:gd name="connsiteX4" fmla="*/ 3098006 w 3860800"/>
                <a:gd name="connsiteY4" fmla="*/ 253736 h 3126317"/>
                <a:gd name="connsiteX5" fmla="*/ 2914650 w 3860800"/>
                <a:gd name="connsiteY5" fmla="*/ 496536 h 3126317"/>
                <a:gd name="connsiteX6" fmla="*/ 2901950 w 3860800"/>
                <a:gd name="connsiteY6" fmla="*/ 618067 h 3126317"/>
                <a:gd name="connsiteX7" fmla="*/ 2901950 w 3860800"/>
                <a:gd name="connsiteY7" fmla="*/ 732367 h 3126317"/>
                <a:gd name="connsiteX8" fmla="*/ 2810669 w 3860800"/>
                <a:gd name="connsiteY8" fmla="*/ 972873 h 3126317"/>
                <a:gd name="connsiteX9" fmla="*/ 2762250 w 3860800"/>
                <a:gd name="connsiteY9" fmla="*/ 1062567 h 3126317"/>
                <a:gd name="connsiteX10" fmla="*/ 2590800 w 3860800"/>
                <a:gd name="connsiteY10" fmla="*/ 1087967 h 3126317"/>
                <a:gd name="connsiteX11" fmla="*/ 2540644 w 3860800"/>
                <a:gd name="connsiteY11" fmla="*/ 1200227 h 3126317"/>
                <a:gd name="connsiteX12" fmla="*/ 2476500 w 3860800"/>
                <a:gd name="connsiteY12" fmla="*/ 1283136 h 3126317"/>
                <a:gd name="connsiteX13" fmla="*/ 2362200 w 3860800"/>
                <a:gd name="connsiteY13" fmla="*/ 1300808 h 3126317"/>
                <a:gd name="connsiteX14" fmla="*/ 2292350 w 3860800"/>
                <a:gd name="connsiteY14" fmla="*/ 1313329 h 3126317"/>
                <a:gd name="connsiteX15" fmla="*/ 2247900 w 3860800"/>
                <a:gd name="connsiteY15" fmla="*/ 1354667 h 3126317"/>
                <a:gd name="connsiteX16" fmla="*/ 2241550 w 3860800"/>
                <a:gd name="connsiteY16" fmla="*/ 1513417 h 3126317"/>
                <a:gd name="connsiteX17" fmla="*/ 2197100 w 3860800"/>
                <a:gd name="connsiteY17" fmla="*/ 1608667 h 3126317"/>
                <a:gd name="connsiteX18" fmla="*/ 2082800 w 3860800"/>
                <a:gd name="connsiteY18" fmla="*/ 1710267 h 3126317"/>
                <a:gd name="connsiteX19" fmla="*/ 1708150 w 3860800"/>
                <a:gd name="connsiteY19" fmla="*/ 2034117 h 3126317"/>
                <a:gd name="connsiteX20" fmla="*/ 1536700 w 3860800"/>
                <a:gd name="connsiteY20" fmla="*/ 2180167 h 3126317"/>
                <a:gd name="connsiteX21" fmla="*/ 1250950 w 3860800"/>
                <a:gd name="connsiteY21" fmla="*/ 2351617 h 3126317"/>
                <a:gd name="connsiteX22" fmla="*/ 774700 w 3860800"/>
                <a:gd name="connsiteY22" fmla="*/ 2586567 h 3126317"/>
                <a:gd name="connsiteX23" fmla="*/ 495300 w 3860800"/>
                <a:gd name="connsiteY23" fmla="*/ 2681817 h 3126317"/>
                <a:gd name="connsiteX24" fmla="*/ 406400 w 3860800"/>
                <a:gd name="connsiteY24" fmla="*/ 2789767 h 3126317"/>
                <a:gd name="connsiteX25" fmla="*/ 381000 w 3860800"/>
                <a:gd name="connsiteY25" fmla="*/ 2916767 h 3126317"/>
                <a:gd name="connsiteX26" fmla="*/ 317500 w 3860800"/>
                <a:gd name="connsiteY26" fmla="*/ 2973917 h 3126317"/>
                <a:gd name="connsiteX27" fmla="*/ 177800 w 3860800"/>
                <a:gd name="connsiteY27" fmla="*/ 3024717 h 3126317"/>
                <a:gd name="connsiteX28" fmla="*/ 0 w 3860800"/>
                <a:gd name="connsiteY28" fmla="*/ 3126317 h 3126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860800" h="3126317">
                  <a:moveTo>
                    <a:pt x="3860800" y="14817"/>
                  </a:moveTo>
                  <a:lnTo>
                    <a:pt x="3492500" y="8467"/>
                  </a:lnTo>
                  <a:cubicBezTo>
                    <a:pt x="3400425" y="9525"/>
                    <a:pt x="3360208" y="0"/>
                    <a:pt x="3308350" y="21167"/>
                  </a:cubicBezTo>
                  <a:cubicBezTo>
                    <a:pt x="3256492" y="42334"/>
                    <a:pt x="3216407" y="96706"/>
                    <a:pt x="3181350" y="135467"/>
                  </a:cubicBezTo>
                  <a:cubicBezTo>
                    <a:pt x="3146293" y="174229"/>
                    <a:pt x="3142456" y="193558"/>
                    <a:pt x="3098006" y="253736"/>
                  </a:cubicBezTo>
                  <a:cubicBezTo>
                    <a:pt x="3053556" y="313914"/>
                    <a:pt x="2947326" y="435814"/>
                    <a:pt x="2914650" y="496536"/>
                  </a:cubicBezTo>
                  <a:cubicBezTo>
                    <a:pt x="2881974" y="557258"/>
                    <a:pt x="2904067" y="578762"/>
                    <a:pt x="2901950" y="618067"/>
                  </a:cubicBezTo>
                  <a:cubicBezTo>
                    <a:pt x="2899833" y="657372"/>
                    <a:pt x="2917164" y="673233"/>
                    <a:pt x="2901950" y="732367"/>
                  </a:cubicBezTo>
                  <a:cubicBezTo>
                    <a:pt x="2886736" y="791501"/>
                    <a:pt x="2833952" y="917840"/>
                    <a:pt x="2810669" y="972873"/>
                  </a:cubicBezTo>
                  <a:cubicBezTo>
                    <a:pt x="2787386" y="1027906"/>
                    <a:pt x="2798895" y="1043385"/>
                    <a:pt x="2762250" y="1062567"/>
                  </a:cubicBezTo>
                  <a:cubicBezTo>
                    <a:pt x="2725605" y="1081749"/>
                    <a:pt x="2627734" y="1065024"/>
                    <a:pt x="2590800" y="1087967"/>
                  </a:cubicBezTo>
                  <a:cubicBezTo>
                    <a:pt x="2553866" y="1110910"/>
                    <a:pt x="2555725" y="1139902"/>
                    <a:pt x="2540644" y="1200227"/>
                  </a:cubicBezTo>
                  <a:cubicBezTo>
                    <a:pt x="2533764" y="1231977"/>
                    <a:pt x="2506241" y="1266372"/>
                    <a:pt x="2476500" y="1283136"/>
                  </a:cubicBezTo>
                  <a:cubicBezTo>
                    <a:pt x="2446759" y="1299900"/>
                    <a:pt x="2392892" y="1295776"/>
                    <a:pt x="2362200" y="1300808"/>
                  </a:cubicBezTo>
                  <a:cubicBezTo>
                    <a:pt x="2331508" y="1305840"/>
                    <a:pt x="2311400" y="1304353"/>
                    <a:pt x="2292350" y="1313329"/>
                  </a:cubicBezTo>
                  <a:cubicBezTo>
                    <a:pt x="2273300" y="1322305"/>
                    <a:pt x="2256367" y="1321319"/>
                    <a:pt x="2247900" y="1354667"/>
                  </a:cubicBezTo>
                  <a:cubicBezTo>
                    <a:pt x="2239433" y="1388015"/>
                    <a:pt x="2250017" y="1471084"/>
                    <a:pt x="2241550" y="1513417"/>
                  </a:cubicBezTo>
                  <a:cubicBezTo>
                    <a:pt x="2233083" y="1555750"/>
                    <a:pt x="2223558" y="1575859"/>
                    <a:pt x="2197100" y="1608667"/>
                  </a:cubicBezTo>
                  <a:cubicBezTo>
                    <a:pt x="2170642" y="1641475"/>
                    <a:pt x="2082800" y="1710267"/>
                    <a:pt x="2082800" y="1710267"/>
                  </a:cubicBezTo>
                  <a:lnTo>
                    <a:pt x="1708150" y="2034117"/>
                  </a:lnTo>
                  <a:cubicBezTo>
                    <a:pt x="1617133" y="2112434"/>
                    <a:pt x="1612900" y="2127250"/>
                    <a:pt x="1536700" y="2180167"/>
                  </a:cubicBezTo>
                  <a:cubicBezTo>
                    <a:pt x="1460500" y="2233084"/>
                    <a:pt x="1377950" y="2283884"/>
                    <a:pt x="1250950" y="2351617"/>
                  </a:cubicBezTo>
                  <a:cubicBezTo>
                    <a:pt x="1123950" y="2419350"/>
                    <a:pt x="900642" y="2531534"/>
                    <a:pt x="774700" y="2586567"/>
                  </a:cubicBezTo>
                  <a:cubicBezTo>
                    <a:pt x="648758" y="2641600"/>
                    <a:pt x="556683" y="2647950"/>
                    <a:pt x="495300" y="2681817"/>
                  </a:cubicBezTo>
                  <a:cubicBezTo>
                    <a:pt x="433917" y="2715684"/>
                    <a:pt x="425450" y="2750609"/>
                    <a:pt x="406400" y="2789767"/>
                  </a:cubicBezTo>
                  <a:cubicBezTo>
                    <a:pt x="387350" y="2828925"/>
                    <a:pt x="395817" y="2886075"/>
                    <a:pt x="381000" y="2916767"/>
                  </a:cubicBezTo>
                  <a:cubicBezTo>
                    <a:pt x="366183" y="2947459"/>
                    <a:pt x="351367" y="2955925"/>
                    <a:pt x="317500" y="2973917"/>
                  </a:cubicBezTo>
                  <a:cubicBezTo>
                    <a:pt x="283633" y="2991909"/>
                    <a:pt x="230717" y="2999317"/>
                    <a:pt x="177800" y="3024717"/>
                  </a:cubicBezTo>
                  <a:cubicBezTo>
                    <a:pt x="124883" y="3050117"/>
                    <a:pt x="62441" y="3088217"/>
                    <a:pt x="0" y="3126317"/>
                  </a:cubicBezTo>
                </a:path>
              </a:pathLst>
            </a:custGeom>
            <a:ln w="25400">
              <a:solidFill>
                <a:srgbClr val="00B0F0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86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5" name="Полилиния 14"/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2981931" y="1805088"/>
              <a:ext cx="695797" cy="2568503"/>
            </a:xfrm>
            <a:custGeom>
              <a:avLst/>
              <a:gdLst>
                <a:gd name="connsiteX0" fmla="*/ 1987550 w 2508250"/>
                <a:gd name="connsiteY0" fmla="*/ 0 h 3975100"/>
                <a:gd name="connsiteX1" fmla="*/ 2171700 w 2508250"/>
                <a:gd name="connsiteY1" fmla="*/ 660400 h 3975100"/>
                <a:gd name="connsiteX2" fmla="*/ 2247900 w 2508250"/>
                <a:gd name="connsiteY2" fmla="*/ 927100 h 3975100"/>
                <a:gd name="connsiteX3" fmla="*/ 2317750 w 2508250"/>
                <a:gd name="connsiteY3" fmla="*/ 1028700 h 3975100"/>
                <a:gd name="connsiteX4" fmla="*/ 2368550 w 2508250"/>
                <a:gd name="connsiteY4" fmla="*/ 1066800 h 3975100"/>
                <a:gd name="connsiteX5" fmla="*/ 2393950 w 2508250"/>
                <a:gd name="connsiteY5" fmla="*/ 1104900 h 3975100"/>
                <a:gd name="connsiteX6" fmla="*/ 2425700 w 2508250"/>
                <a:gd name="connsiteY6" fmla="*/ 1219200 h 3975100"/>
                <a:gd name="connsiteX7" fmla="*/ 2438400 w 2508250"/>
                <a:gd name="connsiteY7" fmla="*/ 1390650 h 3975100"/>
                <a:gd name="connsiteX8" fmla="*/ 2444750 w 2508250"/>
                <a:gd name="connsiteY8" fmla="*/ 1568450 h 3975100"/>
                <a:gd name="connsiteX9" fmla="*/ 2482850 w 2508250"/>
                <a:gd name="connsiteY9" fmla="*/ 1809750 h 3975100"/>
                <a:gd name="connsiteX10" fmla="*/ 2508250 w 2508250"/>
                <a:gd name="connsiteY10" fmla="*/ 1924050 h 3975100"/>
                <a:gd name="connsiteX11" fmla="*/ 2482850 w 2508250"/>
                <a:gd name="connsiteY11" fmla="*/ 2032000 h 3975100"/>
                <a:gd name="connsiteX12" fmla="*/ 2393950 w 2508250"/>
                <a:gd name="connsiteY12" fmla="*/ 2082800 h 3975100"/>
                <a:gd name="connsiteX13" fmla="*/ 2292350 w 2508250"/>
                <a:gd name="connsiteY13" fmla="*/ 2095500 h 3975100"/>
                <a:gd name="connsiteX14" fmla="*/ 2235200 w 2508250"/>
                <a:gd name="connsiteY14" fmla="*/ 2159000 h 3975100"/>
                <a:gd name="connsiteX15" fmla="*/ 2222500 w 2508250"/>
                <a:gd name="connsiteY15" fmla="*/ 2298700 h 3975100"/>
                <a:gd name="connsiteX16" fmla="*/ 2228850 w 2508250"/>
                <a:gd name="connsiteY16" fmla="*/ 2413000 h 3975100"/>
                <a:gd name="connsiteX17" fmla="*/ 2178050 w 2508250"/>
                <a:gd name="connsiteY17" fmla="*/ 2470150 h 3975100"/>
                <a:gd name="connsiteX18" fmla="*/ 2012950 w 2508250"/>
                <a:gd name="connsiteY18" fmla="*/ 2609850 h 3975100"/>
                <a:gd name="connsiteX19" fmla="*/ 1727200 w 2508250"/>
                <a:gd name="connsiteY19" fmla="*/ 2857500 h 3975100"/>
                <a:gd name="connsiteX20" fmla="*/ 1555750 w 2508250"/>
                <a:gd name="connsiteY20" fmla="*/ 3009900 h 3975100"/>
                <a:gd name="connsiteX21" fmla="*/ 1270000 w 2508250"/>
                <a:gd name="connsiteY21" fmla="*/ 3187700 h 3975100"/>
                <a:gd name="connsiteX22" fmla="*/ 927100 w 2508250"/>
                <a:gd name="connsiteY22" fmla="*/ 3359150 h 3975100"/>
                <a:gd name="connsiteX23" fmla="*/ 692150 w 2508250"/>
                <a:gd name="connsiteY23" fmla="*/ 3473450 h 3975100"/>
                <a:gd name="connsiteX24" fmla="*/ 476250 w 2508250"/>
                <a:gd name="connsiteY24" fmla="*/ 3549650 h 3975100"/>
                <a:gd name="connsiteX25" fmla="*/ 393700 w 2508250"/>
                <a:gd name="connsiteY25" fmla="*/ 3638550 h 3975100"/>
                <a:gd name="connsiteX26" fmla="*/ 342900 w 2508250"/>
                <a:gd name="connsiteY26" fmla="*/ 3784600 h 3975100"/>
                <a:gd name="connsiteX27" fmla="*/ 209550 w 2508250"/>
                <a:gd name="connsiteY27" fmla="*/ 3854450 h 3975100"/>
                <a:gd name="connsiteX28" fmla="*/ 101600 w 2508250"/>
                <a:gd name="connsiteY28" fmla="*/ 3892550 h 3975100"/>
                <a:gd name="connsiteX29" fmla="*/ 0 w 2508250"/>
                <a:gd name="connsiteY29" fmla="*/ 3975100 h 3975100"/>
                <a:gd name="connsiteX0" fmla="*/ 1885950 w 2406650"/>
                <a:gd name="connsiteY0" fmla="*/ 0 h 3892550"/>
                <a:gd name="connsiteX1" fmla="*/ 2070100 w 2406650"/>
                <a:gd name="connsiteY1" fmla="*/ 660400 h 3892550"/>
                <a:gd name="connsiteX2" fmla="*/ 2146300 w 2406650"/>
                <a:gd name="connsiteY2" fmla="*/ 927100 h 3892550"/>
                <a:gd name="connsiteX3" fmla="*/ 2216150 w 2406650"/>
                <a:gd name="connsiteY3" fmla="*/ 1028700 h 3892550"/>
                <a:gd name="connsiteX4" fmla="*/ 2266950 w 2406650"/>
                <a:gd name="connsiteY4" fmla="*/ 1066800 h 3892550"/>
                <a:gd name="connsiteX5" fmla="*/ 2292350 w 2406650"/>
                <a:gd name="connsiteY5" fmla="*/ 1104900 h 3892550"/>
                <a:gd name="connsiteX6" fmla="*/ 2324100 w 2406650"/>
                <a:gd name="connsiteY6" fmla="*/ 1219200 h 3892550"/>
                <a:gd name="connsiteX7" fmla="*/ 2336800 w 2406650"/>
                <a:gd name="connsiteY7" fmla="*/ 1390650 h 3892550"/>
                <a:gd name="connsiteX8" fmla="*/ 2343150 w 2406650"/>
                <a:gd name="connsiteY8" fmla="*/ 1568450 h 3892550"/>
                <a:gd name="connsiteX9" fmla="*/ 2381250 w 2406650"/>
                <a:gd name="connsiteY9" fmla="*/ 1809750 h 3892550"/>
                <a:gd name="connsiteX10" fmla="*/ 2406650 w 2406650"/>
                <a:gd name="connsiteY10" fmla="*/ 1924050 h 3892550"/>
                <a:gd name="connsiteX11" fmla="*/ 2381250 w 2406650"/>
                <a:gd name="connsiteY11" fmla="*/ 2032000 h 3892550"/>
                <a:gd name="connsiteX12" fmla="*/ 2292350 w 2406650"/>
                <a:gd name="connsiteY12" fmla="*/ 2082800 h 3892550"/>
                <a:gd name="connsiteX13" fmla="*/ 2190750 w 2406650"/>
                <a:gd name="connsiteY13" fmla="*/ 2095500 h 3892550"/>
                <a:gd name="connsiteX14" fmla="*/ 2133600 w 2406650"/>
                <a:gd name="connsiteY14" fmla="*/ 2159000 h 3892550"/>
                <a:gd name="connsiteX15" fmla="*/ 2120900 w 2406650"/>
                <a:gd name="connsiteY15" fmla="*/ 2298700 h 3892550"/>
                <a:gd name="connsiteX16" fmla="*/ 2127250 w 2406650"/>
                <a:gd name="connsiteY16" fmla="*/ 2413000 h 3892550"/>
                <a:gd name="connsiteX17" fmla="*/ 2076450 w 2406650"/>
                <a:gd name="connsiteY17" fmla="*/ 2470150 h 3892550"/>
                <a:gd name="connsiteX18" fmla="*/ 1911350 w 2406650"/>
                <a:gd name="connsiteY18" fmla="*/ 2609850 h 3892550"/>
                <a:gd name="connsiteX19" fmla="*/ 1625600 w 2406650"/>
                <a:gd name="connsiteY19" fmla="*/ 2857500 h 3892550"/>
                <a:gd name="connsiteX20" fmla="*/ 1454150 w 2406650"/>
                <a:gd name="connsiteY20" fmla="*/ 3009900 h 3892550"/>
                <a:gd name="connsiteX21" fmla="*/ 1168400 w 2406650"/>
                <a:gd name="connsiteY21" fmla="*/ 3187700 h 3892550"/>
                <a:gd name="connsiteX22" fmla="*/ 825500 w 2406650"/>
                <a:gd name="connsiteY22" fmla="*/ 3359150 h 3892550"/>
                <a:gd name="connsiteX23" fmla="*/ 590550 w 2406650"/>
                <a:gd name="connsiteY23" fmla="*/ 3473450 h 3892550"/>
                <a:gd name="connsiteX24" fmla="*/ 374650 w 2406650"/>
                <a:gd name="connsiteY24" fmla="*/ 3549650 h 3892550"/>
                <a:gd name="connsiteX25" fmla="*/ 292100 w 2406650"/>
                <a:gd name="connsiteY25" fmla="*/ 3638550 h 3892550"/>
                <a:gd name="connsiteX26" fmla="*/ 241300 w 2406650"/>
                <a:gd name="connsiteY26" fmla="*/ 3784600 h 3892550"/>
                <a:gd name="connsiteX27" fmla="*/ 107950 w 2406650"/>
                <a:gd name="connsiteY27" fmla="*/ 3854450 h 3892550"/>
                <a:gd name="connsiteX28" fmla="*/ 0 w 2406650"/>
                <a:gd name="connsiteY28" fmla="*/ 3892550 h 3892550"/>
                <a:gd name="connsiteX0" fmla="*/ 1885950 w 2406650"/>
                <a:gd name="connsiteY0" fmla="*/ 0 h 3892550"/>
                <a:gd name="connsiteX1" fmla="*/ 2070100 w 2406650"/>
                <a:gd name="connsiteY1" fmla="*/ 660400 h 3892550"/>
                <a:gd name="connsiteX2" fmla="*/ 2146300 w 2406650"/>
                <a:gd name="connsiteY2" fmla="*/ 927100 h 3892550"/>
                <a:gd name="connsiteX3" fmla="*/ 2216150 w 2406650"/>
                <a:gd name="connsiteY3" fmla="*/ 1028700 h 3892550"/>
                <a:gd name="connsiteX4" fmla="*/ 2266950 w 2406650"/>
                <a:gd name="connsiteY4" fmla="*/ 1066800 h 3892550"/>
                <a:gd name="connsiteX5" fmla="*/ 2292350 w 2406650"/>
                <a:gd name="connsiteY5" fmla="*/ 1104900 h 3892550"/>
                <a:gd name="connsiteX6" fmla="*/ 2324100 w 2406650"/>
                <a:gd name="connsiteY6" fmla="*/ 1219200 h 3892550"/>
                <a:gd name="connsiteX7" fmla="*/ 2336800 w 2406650"/>
                <a:gd name="connsiteY7" fmla="*/ 1390650 h 3892550"/>
                <a:gd name="connsiteX8" fmla="*/ 2343150 w 2406650"/>
                <a:gd name="connsiteY8" fmla="*/ 1568450 h 3892550"/>
                <a:gd name="connsiteX9" fmla="*/ 2381250 w 2406650"/>
                <a:gd name="connsiteY9" fmla="*/ 1809750 h 3892550"/>
                <a:gd name="connsiteX10" fmla="*/ 2406650 w 2406650"/>
                <a:gd name="connsiteY10" fmla="*/ 1924050 h 3892550"/>
                <a:gd name="connsiteX11" fmla="*/ 2381250 w 2406650"/>
                <a:gd name="connsiteY11" fmla="*/ 2032000 h 3892550"/>
                <a:gd name="connsiteX12" fmla="*/ 2292350 w 2406650"/>
                <a:gd name="connsiteY12" fmla="*/ 2082800 h 3892550"/>
                <a:gd name="connsiteX13" fmla="*/ 2190750 w 2406650"/>
                <a:gd name="connsiteY13" fmla="*/ 2095500 h 3892550"/>
                <a:gd name="connsiteX14" fmla="*/ 2133600 w 2406650"/>
                <a:gd name="connsiteY14" fmla="*/ 2159000 h 3892550"/>
                <a:gd name="connsiteX15" fmla="*/ 2120900 w 2406650"/>
                <a:gd name="connsiteY15" fmla="*/ 2298700 h 3892550"/>
                <a:gd name="connsiteX16" fmla="*/ 2127250 w 2406650"/>
                <a:gd name="connsiteY16" fmla="*/ 2413000 h 3892550"/>
                <a:gd name="connsiteX17" fmla="*/ 2076450 w 2406650"/>
                <a:gd name="connsiteY17" fmla="*/ 2470150 h 3892550"/>
                <a:gd name="connsiteX18" fmla="*/ 1911350 w 2406650"/>
                <a:gd name="connsiteY18" fmla="*/ 2609850 h 3892550"/>
                <a:gd name="connsiteX19" fmla="*/ 1625600 w 2406650"/>
                <a:gd name="connsiteY19" fmla="*/ 2857500 h 3892550"/>
                <a:gd name="connsiteX20" fmla="*/ 1168400 w 2406650"/>
                <a:gd name="connsiteY20" fmla="*/ 3187700 h 3892550"/>
                <a:gd name="connsiteX21" fmla="*/ 825500 w 2406650"/>
                <a:gd name="connsiteY21" fmla="*/ 3359150 h 3892550"/>
                <a:gd name="connsiteX22" fmla="*/ 590550 w 2406650"/>
                <a:gd name="connsiteY22" fmla="*/ 3473450 h 3892550"/>
                <a:gd name="connsiteX23" fmla="*/ 374650 w 2406650"/>
                <a:gd name="connsiteY23" fmla="*/ 3549650 h 3892550"/>
                <a:gd name="connsiteX24" fmla="*/ 292100 w 2406650"/>
                <a:gd name="connsiteY24" fmla="*/ 3638550 h 3892550"/>
                <a:gd name="connsiteX25" fmla="*/ 241300 w 2406650"/>
                <a:gd name="connsiteY25" fmla="*/ 3784600 h 3892550"/>
                <a:gd name="connsiteX26" fmla="*/ 107950 w 2406650"/>
                <a:gd name="connsiteY26" fmla="*/ 3854450 h 3892550"/>
                <a:gd name="connsiteX27" fmla="*/ 0 w 2406650"/>
                <a:gd name="connsiteY27" fmla="*/ 3892550 h 3892550"/>
                <a:gd name="connsiteX0" fmla="*/ 1885950 w 2406650"/>
                <a:gd name="connsiteY0" fmla="*/ 0 h 3892550"/>
                <a:gd name="connsiteX1" fmla="*/ 2070100 w 2406650"/>
                <a:gd name="connsiteY1" fmla="*/ 660400 h 3892550"/>
                <a:gd name="connsiteX2" fmla="*/ 2146300 w 2406650"/>
                <a:gd name="connsiteY2" fmla="*/ 927100 h 3892550"/>
                <a:gd name="connsiteX3" fmla="*/ 2216150 w 2406650"/>
                <a:gd name="connsiteY3" fmla="*/ 1028700 h 3892550"/>
                <a:gd name="connsiteX4" fmla="*/ 2266950 w 2406650"/>
                <a:gd name="connsiteY4" fmla="*/ 1066800 h 3892550"/>
                <a:gd name="connsiteX5" fmla="*/ 2292350 w 2406650"/>
                <a:gd name="connsiteY5" fmla="*/ 1104900 h 3892550"/>
                <a:gd name="connsiteX6" fmla="*/ 2324100 w 2406650"/>
                <a:gd name="connsiteY6" fmla="*/ 1219200 h 3892550"/>
                <a:gd name="connsiteX7" fmla="*/ 2336800 w 2406650"/>
                <a:gd name="connsiteY7" fmla="*/ 1390650 h 3892550"/>
                <a:gd name="connsiteX8" fmla="*/ 2343150 w 2406650"/>
                <a:gd name="connsiteY8" fmla="*/ 1568450 h 3892550"/>
                <a:gd name="connsiteX9" fmla="*/ 2381250 w 2406650"/>
                <a:gd name="connsiteY9" fmla="*/ 1809750 h 3892550"/>
                <a:gd name="connsiteX10" fmla="*/ 2406650 w 2406650"/>
                <a:gd name="connsiteY10" fmla="*/ 1924050 h 3892550"/>
                <a:gd name="connsiteX11" fmla="*/ 2381250 w 2406650"/>
                <a:gd name="connsiteY11" fmla="*/ 2032000 h 3892550"/>
                <a:gd name="connsiteX12" fmla="*/ 2292350 w 2406650"/>
                <a:gd name="connsiteY12" fmla="*/ 2082800 h 3892550"/>
                <a:gd name="connsiteX13" fmla="*/ 2190750 w 2406650"/>
                <a:gd name="connsiteY13" fmla="*/ 2095500 h 3892550"/>
                <a:gd name="connsiteX14" fmla="*/ 2133600 w 2406650"/>
                <a:gd name="connsiteY14" fmla="*/ 2159000 h 3892550"/>
                <a:gd name="connsiteX15" fmla="*/ 2120900 w 2406650"/>
                <a:gd name="connsiteY15" fmla="*/ 2298700 h 3892550"/>
                <a:gd name="connsiteX16" fmla="*/ 2127250 w 2406650"/>
                <a:gd name="connsiteY16" fmla="*/ 2413000 h 3892550"/>
                <a:gd name="connsiteX17" fmla="*/ 1911350 w 2406650"/>
                <a:gd name="connsiteY17" fmla="*/ 2609850 h 3892550"/>
                <a:gd name="connsiteX18" fmla="*/ 1625600 w 2406650"/>
                <a:gd name="connsiteY18" fmla="*/ 2857500 h 3892550"/>
                <a:gd name="connsiteX19" fmla="*/ 1168400 w 2406650"/>
                <a:gd name="connsiteY19" fmla="*/ 3187700 h 3892550"/>
                <a:gd name="connsiteX20" fmla="*/ 825500 w 2406650"/>
                <a:gd name="connsiteY20" fmla="*/ 3359150 h 3892550"/>
                <a:gd name="connsiteX21" fmla="*/ 590550 w 2406650"/>
                <a:gd name="connsiteY21" fmla="*/ 3473450 h 3892550"/>
                <a:gd name="connsiteX22" fmla="*/ 374650 w 2406650"/>
                <a:gd name="connsiteY22" fmla="*/ 3549650 h 3892550"/>
                <a:gd name="connsiteX23" fmla="*/ 292100 w 2406650"/>
                <a:gd name="connsiteY23" fmla="*/ 3638550 h 3892550"/>
                <a:gd name="connsiteX24" fmla="*/ 241300 w 2406650"/>
                <a:gd name="connsiteY24" fmla="*/ 3784600 h 3892550"/>
                <a:gd name="connsiteX25" fmla="*/ 107950 w 2406650"/>
                <a:gd name="connsiteY25" fmla="*/ 3854450 h 3892550"/>
                <a:gd name="connsiteX26" fmla="*/ 0 w 2406650"/>
                <a:gd name="connsiteY26" fmla="*/ 3892550 h 3892550"/>
                <a:gd name="connsiteX0" fmla="*/ 1885950 w 2406650"/>
                <a:gd name="connsiteY0" fmla="*/ 0 h 3892550"/>
                <a:gd name="connsiteX1" fmla="*/ 2070100 w 2406650"/>
                <a:gd name="connsiteY1" fmla="*/ 660400 h 3892550"/>
                <a:gd name="connsiteX2" fmla="*/ 2146300 w 2406650"/>
                <a:gd name="connsiteY2" fmla="*/ 927100 h 3892550"/>
                <a:gd name="connsiteX3" fmla="*/ 2216150 w 2406650"/>
                <a:gd name="connsiteY3" fmla="*/ 1028700 h 3892550"/>
                <a:gd name="connsiteX4" fmla="*/ 2266950 w 2406650"/>
                <a:gd name="connsiteY4" fmla="*/ 1066800 h 3892550"/>
                <a:gd name="connsiteX5" fmla="*/ 2292350 w 2406650"/>
                <a:gd name="connsiteY5" fmla="*/ 1104900 h 3892550"/>
                <a:gd name="connsiteX6" fmla="*/ 2324100 w 2406650"/>
                <a:gd name="connsiteY6" fmla="*/ 1219200 h 3892550"/>
                <a:gd name="connsiteX7" fmla="*/ 2336800 w 2406650"/>
                <a:gd name="connsiteY7" fmla="*/ 1390650 h 3892550"/>
                <a:gd name="connsiteX8" fmla="*/ 2343150 w 2406650"/>
                <a:gd name="connsiteY8" fmla="*/ 1568450 h 3892550"/>
                <a:gd name="connsiteX9" fmla="*/ 2381250 w 2406650"/>
                <a:gd name="connsiteY9" fmla="*/ 1809750 h 3892550"/>
                <a:gd name="connsiteX10" fmla="*/ 2406650 w 2406650"/>
                <a:gd name="connsiteY10" fmla="*/ 1924050 h 3892550"/>
                <a:gd name="connsiteX11" fmla="*/ 2381250 w 2406650"/>
                <a:gd name="connsiteY11" fmla="*/ 2032000 h 3892550"/>
                <a:gd name="connsiteX12" fmla="*/ 2292350 w 2406650"/>
                <a:gd name="connsiteY12" fmla="*/ 2082800 h 3892550"/>
                <a:gd name="connsiteX13" fmla="*/ 2190750 w 2406650"/>
                <a:gd name="connsiteY13" fmla="*/ 2095500 h 3892550"/>
                <a:gd name="connsiteX14" fmla="*/ 2133600 w 2406650"/>
                <a:gd name="connsiteY14" fmla="*/ 2159000 h 3892550"/>
                <a:gd name="connsiteX15" fmla="*/ 2120900 w 2406650"/>
                <a:gd name="connsiteY15" fmla="*/ 2298700 h 3892550"/>
                <a:gd name="connsiteX16" fmla="*/ 1911350 w 2406650"/>
                <a:gd name="connsiteY16" fmla="*/ 2609850 h 3892550"/>
                <a:gd name="connsiteX17" fmla="*/ 1625600 w 2406650"/>
                <a:gd name="connsiteY17" fmla="*/ 2857500 h 3892550"/>
                <a:gd name="connsiteX18" fmla="*/ 1168400 w 2406650"/>
                <a:gd name="connsiteY18" fmla="*/ 3187700 h 3892550"/>
                <a:gd name="connsiteX19" fmla="*/ 825500 w 2406650"/>
                <a:gd name="connsiteY19" fmla="*/ 3359150 h 3892550"/>
                <a:gd name="connsiteX20" fmla="*/ 590550 w 2406650"/>
                <a:gd name="connsiteY20" fmla="*/ 3473450 h 3892550"/>
                <a:gd name="connsiteX21" fmla="*/ 374650 w 2406650"/>
                <a:gd name="connsiteY21" fmla="*/ 3549650 h 3892550"/>
                <a:gd name="connsiteX22" fmla="*/ 292100 w 2406650"/>
                <a:gd name="connsiteY22" fmla="*/ 3638550 h 3892550"/>
                <a:gd name="connsiteX23" fmla="*/ 241300 w 2406650"/>
                <a:gd name="connsiteY23" fmla="*/ 3784600 h 3892550"/>
                <a:gd name="connsiteX24" fmla="*/ 107950 w 2406650"/>
                <a:gd name="connsiteY24" fmla="*/ 3854450 h 3892550"/>
                <a:gd name="connsiteX25" fmla="*/ 0 w 2406650"/>
                <a:gd name="connsiteY25" fmla="*/ 3892550 h 3892550"/>
                <a:gd name="connsiteX0" fmla="*/ 1885950 w 2406650"/>
                <a:gd name="connsiteY0" fmla="*/ 0 h 3892550"/>
                <a:gd name="connsiteX1" fmla="*/ 2070100 w 2406650"/>
                <a:gd name="connsiteY1" fmla="*/ 660400 h 3892550"/>
                <a:gd name="connsiteX2" fmla="*/ 2146300 w 2406650"/>
                <a:gd name="connsiteY2" fmla="*/ 927100 h 3892550"/>
                <a:gd name="connsiteX3" fmla="*/ 2216150 w 2406650"/>
                <a:gd name="connsiteY3" fmla="*/ 1028700 h 3892550"/>
                <a:gd name="connsiteX4" fmla="*/ 2266950 w 2406650"/>
                <a:gd name="connsiteY4" fmla="*/ 1066800 h 3892550"/>
                <a:gd name="connsiteX5" fmla="*/ 2292350 w 2406650"/>
                <a:gd name="connsiteY5" fmla="*/ 1104900 h 3892550"/>
                <a:gd name="connsiteX6" fmla="*/ 2324100 w 2406650"/>
                <a:gd name="connsiteY6" fmla="*/ 1219200 h 3892550"/>
                <a:gd name="connsiteX7" fmla="*/ 2336800 w 2406650"/>
                <a:gd name="connsiteY7" fmla="*/ 1390650 h 3892550"/>
                <a:gd name="connsiteX8" fmla="*/ 2343150 w 2406650"/>
                <a:gd name="connsiteY8" fmla="*/ 1568450 h 3892550"/>
                <a:gd name="connsiteX9" fmla="*/ 2381250 w 2406650"/>
                <a:gd name="connsiteY9" fmla="*/ 1809750 h 3892550"/>
                <a:gd name="connsiteX10" fmla="*/ 2406650 w 2406650"/>
                <a:gd name="connsiteY10" fmla="*/ 1924050 h 3892550"/>
                <a:gd name="connsiteX11" fmla="*/ 2381250 w 2406650"/>
                <a:gd name="connsiteY11" fmla="*/ 2032000 h 3892550"/>
                <a:gd name="connsiteX12" fmla="*/ 2292350 w 2406650"/>
                <a:gd name="connsiteY12" fmla="*/ 2082800 h 3892550"/>
                <a:gd name="connsiteX13" fmla="*/ 2190750 w 2406650"/>
                <a:gd name="connsiteY13" fmla="*/ 2095500 h 3892550"/>
                <a:gd name="connsiteX14" fmla="*/ 2133600 w 2406650"/>
                <a:gd name="connsiteY14" fmla="*/ 2159000 h 3892550"/>
                <a:gd name="connsiteX15" fmla="*/ 1911350 w 2406650"/>
                <a:gd name="connsiteY15" fmla="*/ 2609850 h 3892550"/>
                <a:gd name="connsiteX16" fmla="*/ 1625600 w 2406650"/>
                <a:gd name="connsiteY16" fmla="*/ 2857500 h 3892550"/>
                <a:gd name="connsiteX17" fmla="*/ 1168400 w 2406650"/>
                <a:gd name="connsiteY17" fmla="*/ 3187700 h 3892550"/>
                <a:gd name="connsiteX18" fmla="*/ 825500 w 2406650"/>
                <a:gd name="connsiteY18" fmla="*/ 3359150 h 3892550"/>
                <a:gd name="connsiteX19" fmla="*/ 590550 w 2406650"/>
                <a:gd name="connsiteY19" fmla="*/ 3473450 h 3892550"/>
                <a:gd name="connsiteX20" fmla="*/ 374650 w 2406650"/>
                <a:gd name="connsiteY20" fmla="*/ 3549650 h 3892550"/>
                <a:gd name="connsiteX21" fmla="*/ 292100 w 2406650"/>
                <a:gd name="connsiteY21" fmla="*/ 3638550 h 3892550"/>
                <a:gd name="connsiteX22" fmla="*/ 241300 w 2406650"/>
                <a:gd name="connsiteY22" fmla="*/ 3784600 h 3892550"/>
                <a:gd name="connsiteX23" fmla="*/ 107950 w 2406650"/>
                <a:gd name="connsiteY23" fmla="*/ 3854450 h 3892550"/>
                <a:gd name="connsiteX24" fmla="*/ 0 w 2406650"/>
                <a:gd name="connsiteY24" fmla="*/ 3892550 h 3892550"/>
                <a:gd name="connsiteX0" fmla="*/ 1778000 w 2298700"/>
                <a:gd name="connsiteY0" fmla="*/ 0 h 3854450"/>
                <a:gd name="connsiteX1" fmla="*/ 1962150 w 2298700"/>
                <a:gd name="connsiteY1" fmla="*/ 660400 h 3854450"/>
                <a:gd name="connsiteX2" fmla="*/ 2038350 w 2298700"/>
                <a:gd name="connsiteY2" fmla="*/ 927100 h 3854450"/>
                <a:gd name="connsiteX3" fmla="*/ 2108200 w 2298700"/>
                <a:gd name="connsiteY3" fmla="*/ 1028700 h 3854450"/>
                <a:gd name="connsiteX4" fmla="*/ 2159000 w 2298700"/>
                <a:gd name="connsiteY4" fmla="*/ 1066800 h 3854450"/>
                <a:gd name="connsiteX5" fmla="*/ 2184400 w 2298700"/>
                <a:gd name="connsiteY5" fmla="*/ 1104900 h 3854450"/>
                <a:gd name="connsiteX6" fmla="*/ 2216150 w 2298700"/>
                <a:gd name="connsiteY6" fmla="*/ 1219200 h 3854450"/>
                <a:gd name="connsiteX7" fmla="*/ 2228850 w 2298700"/>
                <a:gd name="connsiteY7" fmla="*/ 1390650 h 3854450"/>
                <a:gd name="connsiteX8" fmla="*/ 2235200 w 2298700"/>
                <a:gd name="connsiteY8" fmla="*/ 1568450 h 3854450"/>
                <a:gd name="connsiteX9" fmla="*/ 2273300 w 2298700"/>
                <a:gd name="connsiteY9" fmla="*/ 1809750 h 3854450"/>
                <a:gd name="connsiteX10" fmla="*/ 2298700 w 2298700"/>
                <a:gd name="connsiteY10" fmla="*/ 1924050 h 3854450"/>
                <a:gd name="connsiteX11" fmla="*/ 2273300 w 2298700"/>
                <a:gd name="connsiteY11" fmla="*/ 2032000 h 3854450"/>
                <a:gd name="connsiteX12" fmla="*/ 2184400 w 2298700"/>
                <a:gd name="connsiteY12" fmla="*/ 2082800 h 3854450"/>
                <a:gd name="connsiteX13" fmla="*/ 2082800 w 2298700"/>
                <a:gd name="connsiteY13" fmla="*/ 2095500 h 3854450"/>
                <a:gd name="connsiteX14" fmla="*/ 2025650 w 2298700"/>
                <a:gd name="connsiteY14" fmla="*/ 2159000 h 3854450"/>
                <a:gd name="connsiteX15" fmla="*/ 1803400 w 2298700"/>
                <a:gd name="connsiteY15" fmla="*/ 2609850 h 3854450"/>
                <a:gd name="connsiteX16" fmla="*/ 1517650 w 2298700"/>
                <a:gd name="connsiteY16" fmla="*/ 2857500 h 3854450"/>
                <a:gd name="connsiteX17" fmla="*/ 1060450 w 2298700"/>
                <a:gd name="connsiteY17" fmla="*/ 3187700 h 3854450"/>
                <a:gd name="connsiteX18" fmla="*/ 717550 w 2298700"/>
                <a:gd name="connsiteY18" fmla="*/ 3359150 h 3854450"/>
                <a:gd name="connsiteX19" fmla="*/ 482600 w 2298700"/>
                <a:gd name="connsiteY19" fmla="*/ 3473450 h 3854450"/>
                <a:gd name="connsiteX20" fmla="*/ 266700 w 2298700"/>
                <a:gd name="connsiteY20" fmla="*/ 3549650 h 3854450"/>
                <a:gd name="connsiteX21" fmla="*/ 184150 w 2298700"/>
                <a:gd name="connsiteY21" fmla="*/ 3638550 h 3854450"/>
                <a:gd name="connsiteX22" fmla="*/ 133350 w 2298700"/>
                <a:gd name="connsiteY22" fmla="*/ 3784600 h 3854450"/>
                <a:gd name="connsiteX23" fmla="*/ 0 w 2298700"/>
                <a:gd name="connsiteY23" fmla="*/ 3854450 h 3854450"/>
                <a:gd name="connsiteX0" fmla="*/ 1778000 w 2298700"/>
                <a:gd name="connsiteY0" fmla="*/ 0 h 3854450"/>
                <a:gd name="connsiteX1" fmla="*/ 1962150 w 2298700"/>
                <a:gd name="connsiteY1" fmla="*/ 660400 h 3854450"/>
                <a:gd name="connsiteX2" fmla="*/ 2038350 w 2298700"/>
                <a:gd name="connsiteY2" fmla="*/ 927100 h 3854450"/>
                <a:gd name="connsiteX3" fmla="*/ 2108200 w 2298700"/>
                <a:gd name="connsiteY3" fmla="*/ 1028700 h 3854450"/>
                <a:gd name="connsiteX4" fmla="*/ 2159000 w 2298700"/>
                <a:gd name="connsiteY4" fmla="*/ 1066800 h 3854450"/>
                <a:gd name="connsiteX5" fmla="*/ 2184400 w 2298700"/>
                <a:gd name="connsiteY5" fmla="*/ 1104900 h 3854450"/>
                <a:gd name="connsiteX6" fmla="*/ 2216150 w 2298700"/>
                <a:gd name="connsiteY6" fmla="*/ 1219200 h 3854450"/>
                <a:gd name="connsiteX7" fmla="*/ 2228850 w 2298700"/>
                <a:gd name="connsiteY7" fmla="*/ 1390650 h 3854450"/>
                <a:gd name="connsiteX8" fmla="*/ 2235200 w 2298700"/>
                <a:gd name="connsiteY8" fmla="*/ 1568450 h 3854450"/>
                <a:gd name="connsiteX9" fmla="*/ 2273300 w 2298700"/>
                <a:gd name="connsiteY9" fmla="*/ 1809750 h 3854450"/>
                <a:gd name="connsiteX10" fmla="*/ 2298700 w 2298700"/>
                <a:gd name="connsiteY10" fmla="*/ 1924050 h 3854450"/>
                <a:gd name="connsiteX11" fmla="*/ 2273300 w 2298700"/>
                <a:gd name="connsiteY11" fmla="*/ 2032000 h 3854450"/>
                <a:gd name="connsiteX12" fmla="*/ 2184400 w 2298700"/>
                <a:gd name="connsiteY12" fmla="*/ 2082800 h 3854450"/>
                <a:gd name="connsiteX13" fmla="*/ 2082800 w 2298700"/>
                <a:gd name="connsiteY13" fmla="*/ 2095500 h 3854450"/>
                <a:gd name="connsiteX14" fmla="*/ 2025650 w 2298700"/>
                <a:gd name="connsiteY14" fmla="*/ 2159000 h 3854450"/>
                <a:gd name="connsiteX15" fmla="*/ 1517650 w 2298700"/>
                <a:gd name="connsiteY15" fmla="*/ 2857500 h 3854450"/>
                <a:gd name="connsiteX16" fmla="*/ 1060450 w 2298700"/>
                <a:gd name="connsiteY16" fmla="*/ 3187700 h 3854450"/>
                <a:gd name="connsiteX17" fmla="*/ 717550 w 2298700"/>
                <a:gd name="connsiteY17" fmla="*/ 3359150 h 3854450"/>
                <a:gd name="connsiteX18" fmla="*/ 482600 w 2298700"/>
                <a:gd name="connsiteY18" fmla="*/ 3473450 h 3854450"/>
                <a:gd name="connsiteX19" fmla="*/ 266700 w 2298700"/>
                <a:gd name="connsiteY19" fmla="*/ 3549650 h 3854450"/>
                <a:gd name="connsiteX20" fmla="*/ 184150 w 2298700"/>
                <a:gd name="connsiteY20" fmla="*/ 3638550 h 3854450"/>
                <a:gd name="connsiteX21" fmla="*/ 133350 w 2298700"/>
                <a:gd name="connsiteY21" fmla="*/ 3784600 h 3854450"/>
                <a:gd name="connsiteX22" fmla="*/ 0 w 2298700"/>
                <a:gd name="connsiteY22" fmla="*/ 3854450 h 3854450"/>
                <a:gd name="connsiteX0" fmla="*/ 1644650 w 2165350"/>
                <a:gd name="connsiteY0" fmla="*/ 0 h 3784600"/>
                <a:gd name="connsiteX1" fmla="*/ 1828800 w 2165350"/>
                <a:gd name="connsiteY1" fmla="*/ 660400 h 3784600"/>
                <a:gd name="connsiteX2" fmla="*/ 1905000 w 2165350"/>
                <a:gd name="connsiteY2" fmla="*/ 927100 h 3784600"/>
                <a:gd name="connsiteX3" fmla="*/ 1974850 w 2165350"/>
                <a:gd name="connsiteY3" fmla="*/ 1028700 h 3784600"/>
                <a:gd name="connsiteX4" fmla="*/ 2025650 w 2165350"/>
                <a:gd name="connsiteY4" fmla="*/ 1066800 h 3784600"/>
                <a:gd name="connsiteX5" fmla="*/ 2051050 w 2165350"/>
                <a:gd name="connsiteY5" fmla="*/ 1104900 h 3784600"/>
                <a:gd name="connsiteX6" fmla="*/ 2082800 w 2165350"/>
                <a:gd name="connsiteY6" fmla="*/ 1219200 h 3784600"/>
                <a:gd name="connsiteX7" fmla="*/ 2095500 w 2165350"/>
                <a:gd name="connsiteY7" fmla="*/ 1390650 h 3784600"/>
                <a:gd name="connsiteX8" fmla="*/ 2101850 w 2165350"/>
                <a:gd name="connsiteY8" fmla="*/ 1568450 h 3784600"/>
                <a:gd name="connsiteX9" fmla="*/ 2139950 w 2165350"/>
                <a:gd name="connsiteY9" fmla="*/ 1809750 h 3784600"/>
                <a:gd name="connsiteX10" fmla="*/ 2165350 w 2165350"/>
                <a:gd name="connsiteY10" fmla="*/ 1924050 h 3784600"/>
                <a:gd name="connsiteX11" fmla="*/ 2139950 w 2165350"/>
                <a:gd name="connsiteY11" fmla="*/ 2032000 h 3784600"/>
                <a:gd name="connsiteX12" fmla="*/ 2051050 w 2165350"/>
                <a:gd name="connsiteY12" fmla="*/ 2082800 h 3784600"/>
                <a:gd name="connsiteX13" fmla="*/ 1949450 w 2165350"/>
                <a:gd name="connsiteY13" fmla="*/ 2095500 h 3784600"/>
                <a:gd name="connsiteX14" fmla="*/ 1892300 w 2165350"/>
                <a:gd name="connsiteY14" fmla="*/ 2159000 h 3784600"/>
                <a:gd name="connsiteX15" fmla="*/ 1384300 w 2165350"/>
                <a:gd name="connsiteY15" fmla="*/ 2857500 h 3784600"/>
                <a:gd name="connsiteX16" fmla="*/ 927100 w 2165350"/>
                <a:gd name="connsiteY16" fmla="*/ 3187700 h 3784600"/>
                <a:gd name="connsiteX17" fmla="*/ 584200 w 2165350"/>
                <a:gd name="connsiteY17" fmla="*/ 3359150 h 3784600"/>
                <a:gd name="connsiteX18" fmla="*/ 349250 w 2165350"/>
                <a:gd name="connsiteY18" fmla="*/ 3473450 h 3784600"/>
                <a:gd name="connsiteX19" fmla="*/ 133350 w 2165350"/>
                <a:gd name="connsiteY19" fmla="*/ 3549650 h 3784600"/>
                <a:gd name="connsiteX20" fmla="*/ 50800 w 2165350"/>
                <a:gd name="connsiteY20" fmla="*/ 3638550 h 3784600"/>
                <a:gd name="connsiteX21" fmla="*/ 0 w 2165350"/>
                <a:gd name="connsiteY21" fmla="*/ 3784600 h 3784600"/>
                <a:gd name="connsiteX0" fmla="*/ 1593850 w 2114550"/>
                <a:gd name="connsiteY0" fmla="*/ 0 h 3638550"/>
                <a:gd name="connsiteX1" fmla="*/ 1778000 w 2114550"/>
                <a:gd name="connsiteY1" fmla="*/ 660400 h 3638550"/>
                <a:gd name="connsiteX2" fmla="*/ 1854200 w 2114550"/>
                <a:gd name="connsiteY2" fmla="*/ 927100 h 3638550"/>
                <a:gd name="connsiteX3" fmla="*/ 1924050 w 2114550"/>
                <a:gd name="connsiteY3" fmla="*/ 1028700 h 3638550"/>
                <a:gd name="connsiteX4" fmla="*/ 1974850 w 2114550"/>
                <a:gd name="connsiteY4" fmla="*/ 1066800 h 3638550"/>
                <a:gd name="connsiteX5" fmla="*/ 2000250 w 2114550"/>
                <a:gd name="connsiteY5" fmla="*/ 1104900 h 3638550"/>
                <a:gd name="connsiteX6" fmla="*/ 2032000 w 2114550"/>
                <a:gd name="connsiteY6" fmla="*/ 1219200 h 3638550"/>
                <a:gd name="connsiteX7" fmla="*/ 2044700 w 2114550"/>
                <a:gd name="connsiteY7" fmla="*/ 1390650 h 3638550"/>
                <a:gd name="connsiteX8" fmla="*/ 2051050 w 2114550"/>
                <a:gd name="connsiteY8" fmla="*/ 1568450 h 3638550"/>
                <a:gd name="connsiteX9" fmla="*/ 2089150 w 2114550"/>
                <a:gd name="connsiteY9" fmla="*/ 1809750 h 3638550"/>
                <a:gd name="connsiteX10" fmla="*/ 2114550 w 2114550"/>
                <a:gd name="connsiteY10" fmla="*/ 1924050 h 3638550"/>
                <a:gd name="connsiteX11" fmla="*/ 2089150 w 2114550"/>
                <a:gd name="connsiteY11" fmla="*/ 2032000 h 3638550"/>
                <a:gd name="connsiteX12" fmla="*/ 2000250 w 2114550"/>
                <a:gd name="connsiteY12" fmla="*/ 2082800 h 3638550"/>
                <a:gd name="connsiteX13" fmla="*/ 1898650 w 2114550"/>
                <a:gd name="connsiteY13" fmla="*/ 2095500 h 3638550"/>
                <a:gd name="connsiteX14" fmla="*/ 1841500 w 2114550"/>
                <a:gd name="connsiteY14" fmla="*/ 2159000 h 3638550"/>
                <a:gd name="connsiteX15" fmla="*/ 1333500 w 2114550"/>
                <a:gd name="connsiteY15" fmla="*/ 2857500 h 3638550"/>
                <a:gd name="connsiteX16" fmla="*/ 876300 w 2114550"/>
                <a:gd name="connsiteY16" fmla="*/ 3187700 h 3638550"/>
                <a:gd name="connsiteX17" fmla="*/ 533400 w 2114550"/>
                <a:gd name="connsiteY17" fmla="*/ 3359150 h 3638550"/>
                <a:gd name="connsiteX18" fmla="*/ 298450 w 2114550"/>
                <a:gd name="connsiteY18" fmla="*/ 3473450 h 3638550"/>
                <a:gd name="connsiteX19" fmla="*/ 82550 w 2114550"/>
                <a:gd name="connsiteY19" fmla="*/ 3549650 h 3638550"/>
                <a:gd name="connsiteX20" fmla="*/ 0 w 2114550"/>
                <a:gd name="connsiteY20" fmla="*/ 3638550 h 3638550"/>
                <a:gd name="connsiteX0" fmla="*/ 1511300 w 2032000"/>
                <a:gd name="connsiteY0" fmla="*/ 0 h 3549650"/>
                <a:gd name="connsiteX1" fmla="*/ 1695450 w 2032000"/>
                <a:gd name="connsiteY1" fmla="*/ 660400 h 3549650"/>
                <a:gd name="connsiteX2" fmla="*/ 1771650 w 2032000"/>
                <a:gd name="connsiteY2" fmla="*/ 927100 h 3549650"/>
                <a:gd name="connsiteX3" fmla="*/ 1841500 w 2032000"/>
                <a:gd name="connsiteY3" fmla="*/ 1028700 h 3549650"/>
                <a:gd name="connsiteX4" fmla="*/ 1892300 w 2032000"/>
                <a:gd name="connsiteY4" fmla="*/ 1066800 h 3549650"/>
                <a:gd name="connsiteX5" fmla="*/ 1917700 w 2032000"/>
                <a:gd name="connsiteY5" fmla="*/ 1104900 h 3549650"/>
                <a:gd name="connsiteX6" fmla="*/ 1949450 w 2032000"/>
                <a:gd name="connsiteY6" fmla="*/ 1219200 h 3549650"/>
                <a:gd name="connsiteX7" fmla="*/ 1962150 w 2032000"/>
                <a:gd name="connsiteY7" fmla="*/ 1390650 h 3549650"/>
                <a:gd name="connsiteX8" fmla="*/ 1968500 w 2032000"/>
                <a:gd name="connsiteY8" fmla="*/ 1568450 h 3549650"/>
                <a:gd name="connsiteX9" fmla="*/ 2006600 w 2032000"/>
                <a:gd name="connsiteY9" fmla="*/ 1809750 h 3549650"/>
                <a:gd name="connsiteX10" fmla="*/ 2032000 w 2032000"/>
                <a:gd name="connsiteY10" fmla="*/ 1924050 h 3549650"/>
                <a:gd name="connsiteX11" fmla="*/ 2006600 w 2032000"/>
                <a:gd name="connsiteY11" fmla="*/ 2032000 h 3549650"/>
                <a:gd name="connsiteX12" fmla="*/ 1917700 w 2032000"/>
                <a:gd name="connsiteY12" fmla="*/ 2082800 h 3549650"/>
                <a:gd name="connsiteX13" fmla="*/ 1816100 w 2032000"/>
                <a:gd name="connsiteY13" fmla="*/ 2095500 h 3549650"/>
                <a:gd name="connsiteX14" fmla="*/ 1758950 w 2032000"/>
                <a:gd name="connsiteY14" fmla="*/ 2159000 h 3549650"/>
                <a:gd name="connsiteX15" fmla="*/ 1250950 w 2032000"/>
                <a:gd name="connsiteY15" fmla="*/ 2857500 h 3549650"/>
                <a:gd name="connsiteX16" fmla="*/ 793750 w 2032000"/>
                <a:gd name="connsiteY16" fmla="*/ 3187700 h 3549650"/>
                <a:gd name="connsiteX17" fmla="*/ 450850 w 2032000"/>
                <a:gd name="connsiteY17" fmla="*/ 3359150 h 3549650"/>
                <a:gd name="connsiteX18" fmla="*/ 215900 w 2032000"/>
                <a:gd name="connsiteY18" fmla="*/ 3473450 h 3549650"/>
                <a:gd name="connsiteX19" fmla="*/ 0 w 2032000"/>
                <a:gd name="connsiteY19" fmla="*/ 3549650 h 3549650"/>
                <a:gd name="connsiteX0" fmla="*/ 1295400 w 1816100"/>
                <a:gd name="connsiteY0" fmla="*/ 0 h 3473450"/>
                <a:gd name="connsiteX1" fmla="*/ 1479550 w 1816100"/>
                <a:gd name="connsiteY1" fmla="*/ 660400 h 3473450"/>
                <a:gd name="connsiteX2" fmla="*/ 1555750 w 1816100"/>
                <a:gd name="connsiteY2" fmla="*/ 927100 h 3473450"/>
                <a:gd name="connsiteX3" fmla="*/ 1625600 w 1816100"/>
                <a:gd name="connsiteY3" fmla="*/ 1028700 h 3473450"/>
                <a:gd name="connsiteX4" fmla="*/ 1676400 w 1816100"/>
                <a:gd name="connsiteY4" fmla="*/ 1066800 h 3473450"/>
                <a:gd name="connsiteX5" fmla="*/ 1701800 w 1816100"/>
                <a:gd name="connsiteY5" fmla="*/ 1104900 h 3473450"/>
                <a:gd name="connsiteX6" fmla="*/ 1733550 w 1816100"/>
                <a:gd name="connsiteY6" fmla="*/ 1219200 h 3473450"/>
                <a:gd name="connsiteX7" fmla="*/ 1746250 w 1816100"/>
                <a:gd name="connsiteY7" fmla="*/ 1390650 h 3473450"/>
                <a:gd name="connsiteX8" fmla="*/ 1752600 w 1816100"/>
                <a:gd name="connsiteY8" fmla="*/ 1568450 h 3473450"/>
                <a:gd name="connsiteX9" fmla="*/ 1790700 w 1816100"/>
                <a:gd name="connsiteY9" fmla="*/ 1809750 h 3473450"/>
                <a:gd name="connsiteX10" fmla="*/ 1816100 w 1816100"/>
                <a:gd name="connsiteY10" fmla="*/ 1924050 h 3473450"/>
                <a:gd name="connsiteX11" fmla="*/ 1790700 w 1816100"/>
                <a:gd name="connsiteY11" fmla="*/ 2032000 h 3473450"/>
                <a:gd name="connsiteX12" fmla="*/ 1701800 w 1816100"/>
                <a:gd name="connsiteY12" fmla="*/ 2082800 h 3473450"/>
                <a:gd name="connsiteX13" fmla="*/ 1600200 w 1816100"/>
                <a:gd name="connsiteY13" fmla="*/ 2095500 h 3473450"/>
                <a:gd name="connsiteX14" fmla="*/ 1543050 w 1816100"/>
                <a:gd name="connsiteY14" fmla="*/ 2159000 h 3473450"/>
                <a:gd name="connsiteX15" fmla="*/ 1035050 w 1816100"/>
                <a:gd name="connsiteY15" fmla="*/ 2857500 h 3473450"/>
                <a:gd name="connsiteX16" fmla="*/ 577850 w 1816100"/>
                <a:gd name="connsiteY16" fmla="*/ 3187700 h 3473450"/>
                <a:gd name="connsiteX17" fmla="*/ 234950 w 1816100"/>
                <a:gd name="connsiteY17" fmla="*/ 3359150 h 3473450"/>
                <a:gd name="connsiteX18" fmla="*/ 0 w 1816100"/>
                <a:gd name="connsiteY18" fmla="*/ 3473450 h 3473450"/>
                <a:gd name="connsiteX0" fmla="*/ 1060450 w 1581150"/>
                <a:gd name="connsiteY0" fmla="*/ 0 h 3359150"/>
                <a:gd name="connsiteX1" fmla="*/ 1244600 w 1581150"/>
                <a:gd name="connsiteY1" fmla="*/ 660400 h 3359150"/>
                <a:gd name="connsiteX2" fmla="*/ 1320800 w 1581150"/>
                <a:gd name="connsiteY2" fmla="*/ 927100 h 3359150"/>
                <a:gd name="connsiteX3" fmla="*/ 1390650 w 1581150"/>
                <a:gd name="connsiteY3" fmla="*/ 1028700 h 3359150"/>
                <a:gd name="connsiteX4" fmla="*/ 1441450 w 1581150"/>
                <a:gd name="connsiteY4" fmla="*/ 1066800 h 3359150"/>
                <a:gd name="connsiteX5" fmla="*/ 1466850 w 1581150"/>
                <a:gd name="connsiteY5" fmla="*/ 1104900 h 3359150"/>
                <a:gd name="connsiteX6" fmla="*/ 1498600 w 1581150"/>
                <a:gd name="connsiteY6" fmla="*/ 1219200 h 3359150"/>
                <a:gd name="connsiteX7" fmla="*/ 1511300 w 1581150"/>
                <a:gd name="connsiteY7" fmla="*/ 1390650 h 3359150"/>
                <a:gd name="connsiteX8" fmla="*/ 1517650 w 1581150"/>
                <a:gd name="connsiteY8" fmla="*/ 1568450 h 3359150"/>
                <a:gd name="connsiteX9" fmla="*/ 1555750 w 1581150"/>
                <a:gd name="connsiteY9" fmla="*/ 1809750 h 3359150"/>
                <a:gd name="connsiteX10" fmla="*/ 1581150 w 1581150"/>
                <a:gd name="connsiteY10" fmla="*/ 1924050 h 3359150"/>
                <a:gd name="connsiteX11" fmla="*/ 1555750 w 1581150"/>
                <a:gd name="connsiteY11" fmla="*/ 2032000 h 3359150"/>
                <a:gd name="connsiteX12" fmla="*/ 1466850 w 1581150"/>
                <a:gd name="connsiteY12" fmla="*/ 2082800 h 3359150"/>
                <a:gd name="connsiteX13" fmla="*/ 1365250 w 1581150"/>
                <a:gd name="connsiteY13" fmla="*/ 2095500 h 3359150"/>
                <a:gd name="connsiteX14" fmla="*/ 1308100 w 1581150"/>
                <a:gd name="connsiteY14" fmla="*/ 2159000 h 3359150"/>
                <a:gd name="connsiteX15" fmla="*/ 800100 w 1581150"/>
                <a:gd name="connsiteY15" fmla="*/ 2857500 h 3359150"/>
                <a:gd name="connsiteX16" fmla="*/ 342900 w 1581150"/>
                <a:gd name="connsiteY16" fmla="*/ 3187700 h 3359150"/>
                <a:gd name="connsiteX17" fmla="*/ 0 w 1581150"/>
                <a:gd name="connsiteY17" fmla="*/ 3359150 h 3359150"/>
                <a:gd name="connsiteX0" fmla="*/ 717550 w 1238250"/>
                <a:gd name="connsiteY0" fmla="*/ 0 h 3187700"/>
                <a:gd name="connsiteX1" fmla="*/ 901700 w 1238250"/>
                <a:gd name="connsiteY1" fmla="*/ 660400 h 3187700"/>
                <a:gd name="connsiteX2" fmla="*/ 977900 w 1238250"/>
                <a:gd name="connsiteY2" fmla="*/ 927100 h 3187700"/>
                <a:gd name="connsiteX3" fmla="*/ 1047750 w 1238250"/>
                <a:gd name="connsiteY3" fmla="*/ 1028700 h 3187700"/>
                <a:gd name="connsiteX4" fmla="*/ 1098550 w 1238250"/>
                <a:gd name="connsiteY4" fmla="*/ 1066800 h 3187700"/>
                <a:gd name="connsiteX5" fmla="*/ 1123950 w 1238250"/>
                <a:gd name="connsiteY5" fmla="*/ 1104900 h 3187700"/>
                <a:gd name="connsiteX6" fmla="*/ 1155700 w 1238250"/>
                <a:gd name="connsiteY6" fmla="*/ 1219200 h 3187700"/>
                <a:gd name="connsiteX7" fmla="*/ 1168400 w 1238250"/>
                <a:gd name="connsiteY7" fmla="*/ 1390650 h 3187700"/>
                <a:gd name="connsiteX8" fmla="*/ 1174750 w 1238250"/>
                <a:gd name="connsiteY8" fmla="*/ 1568450 h 3187700"/>
                <a:gd name="connsiteX9" fmla="*/ 1212850 w 1238250"/>
                <a:gd name="connsiteY9" fmla="*/ 1809750 h 3187700"/>
                <a:gd name="connsiteX10" fmla="*/ 1238250 w 1238250"/>
                <a:gd name="connsiteY10" fmla="*/ 1924050 h 3187700"/>
                <a:gd name="connsiteX11" fmla="*/ 1212850 w 1238250"/>
                <a:gd name="connsiteY11" fmla="*/ 2032000 h 3187700"/>
                <a:gd name="connsiteX12" fmla="*/ 1123950 w 1238250"/>
                <a:gd name="connsiteY12" fmla="*/ 2082800 h 3187700"/>
                <a:gd name="connsiteX13" fmla="*/ 1022350 w 1238250"/>
                <a:gd name="connsiteY13" fmla="*/ 2095500 h 3187700"/>
                <a:gd name="connsiteX14" fmla="*/ 965200 w 1238250"/>
                <a:gd name="connsiteY14" fmla="*/ 2159000 h 3187700"/>
                <a:gd name="connsiteX15" fmla="*/ 457200 w 1238250"/>
                <a:gd name="connsiteY15" fmla="*/ 2857500 h 3187700"/>
                <a:gd name="connsiteX16" fmla="*/ 0 w 1238250"/>
                <a:gd name="connsiteY16" fmla="*/ 3187700 h 3187700"/>
                <a:gd name="connsiteX0" fmla="*/ 260350 w 781050"/>
                <a:gd name="connsiteY0" fmla="*/ 0 h 2857500"/>
                <a:gd name="connsiteX1" fmla="*/ 444500 w 781050"/>
                <a:gd name="connsiteY1" fmla="*/ 660400 h 2857500"/>
                <a:gd name="connsiteX2" fmla="*/ 520700 w 781050"/>
                <a:gd name="connsiteY2" fmla="*/ 927100 h 2857500"/>
                <a:gd name="connsiteX3" fmla="*/ 590550 w 781050"/>
                <a:gd name="connsiteY3" fmla="*/ 1028700 h 2857500"/>
                <a:gd name="connsiteX4" fmla="*/ 641350 w 781050"/>
                <a:gd name="connsiteY4" fmla="*/ 1066800 h 2857500"/>
                <a:gd name="connsiteX5" fmla="*/ 666750 w 781050"/>
                <a:gd name="connsiteY5" fmla="*/ 1104900 h 2857500"/>
                <a:gd name="connsiteX6" fmla="*/ 698500 w 781050"/>
                <a:gd name="connsiteY6" fmla="*/ 1219200 h 2857500"/>
                <a:gd name="connsiteX7" fmla="*/ 711200 w 781050"/>
                <a:gd name="connsiteY7" fmla="*/ 1390650 h 2857500"/>
                <a:gd name="connsiteX8" fmla="*/ 717550 w 781050"/>
                <a:gd name="connsiteY8" fmla="*/ 1568450 h 2857500"/>
                <a:gd name="connsiteX9" fmla="*/ 755650 w 781050"/>
                <a:gd name="connsiteY9" fmla="*/ 1809750 h 2857500"/>
                <a:gd name="connsiteX10" fmla="*/ 781050 w 781050"/>
                <a:gd name="connsiteY10" fmla="*/ 1924050 h 2857500"/>
                <a:gd name="connsiteX11" fmla="*/ 755650 w 781050"/>
                <a:gd name="connsiteY11" fmla="*/ 2032000 h 2857500"/>
                <a:gd name="connsiteX12" fmla="*/ 666750 w 781050"/>
                <a:gd name="connsiteY12" fmla="*/ 2082800 h 2857500"/>
                <a:gd name="connsiteX13" fmla="*/ 565150 w 781050"/>
                <a:gd name="connsiteY13" fmla="*/ 2095500 h 2857500"/>
                <a:gd name="connsiteX14" fmla="*/ 508000 w 781050"/>
                <a:gd name="connsiteY14" fmla="*/ 2159000 h 2857500"/>
                <a:gd name="connsiteX15" fmla="*/ 0 w 781050"/>
                <a:gd name="connsiteY15" fmla="*/ 2857500 h 2857500"/>
                <a:gd name="connsiteX0" fmla="*/ 0 w 520700"/>
                <a:gd name="connsiteY0" fmla="*/ 0 h 2159000"/>
                <a:gd name="connsiteX1" fmla="*/ 184150 w 520700"/>
                <a:gd name="connsiteY1" fmla="*/ 660400 h 2159000"/>
                <a:gd name="connsiteX2" fmla="*/ 260350 w 520700"/>
                <a:gd name="connsiteY2" fmla="*/ 927100 h 2159000"/>
                <a:gd name="connsiteX3" fmla="*/ 330200 w 520700"/>
                <a:gd name="connsiteY3" fmla="*/ 1028700 h 2159000"/>
                <a:gd name="connsiteX4" fmla="*/ 381000 w 520700"/>
                <a:gd name="connsiteY4" fmla="*/ 1066800 h 2159000"/>
                <a:gd name="connsiteX5" fmla="*/ 406400 w 520700"/>
                <a:gd name="connsiteY5" fmla="*/ 1104900 h 2159000"/>
                <a:gd name="connsiteX6" fmla="*/ 438150 w 520700"/>
                <a:gd name="connsiteY6" fmla="*/ 1219200 h 2159000"/>
                <a:gd name="connsiteX7" fmla="*/ 450850 w 520700"/>
                <a:gd name="connsiteY7" fmla="*/ 1390650 h 2159000"/>
                <a:gd name="connsiteX8" fmla="*/ 457200 w 520700"/>
                <a:gd name="connsiteY8" fmla="*/ 1568450 h 2159000"/>
                <a:gd name="connsiteX9" fmla="*/ 495300 w 520700"/>
                <a:gd name="connsiteY9" fmla="*/ 1809750 h 2159000"/>
                <a:gd name="connsiteX10" fmla="*/ 520700 w 520700"/>
                <a:gd name="connsiteY10" fmla="*/ 1924050 h 2159000"/>
                <a:gd name="connsiteX11" fmla="*/ 495300 w 520700"/>
                <a:gd name="connsiteY11" fmla="*/ 2032000 h 2159000"/>
                <a:gd name="connsiteX12" fmla="*/ 406400 w 520700"/>
                <a:gd name="connsiteY12" fmla="*/ 2082800 h 2159000"/>
                <a:gd name="connsiteX13" fmla="*/ 304800 w 520700"/>
                <a:gd name="connsiteY13" fmla="*/ 2095500 h 2159000"/>
                <a:gd name="connsiteX14" fmla="*/ 247650 w 520700"/>
                <a:gd name="connsiteY14" fmla="*/ 2159000 h 2159000"/>
                <a:gd name="connsiteX0" fmla="*/ 0 w 520700"/>
                <a:gd name="connsiteY0" fmla="*/ 0 h 2095500"/>
                <a:gd name="connsiteX1" fmla="*/ 184150 w 520700"/>
                <a:gd name="connsiteY1" fmla="*/ 660400 h 2095500"/>
                <a:gd name="connsiteX2" fmla="*/ 260350 w 520700"/>
                <a:gd name="connsiteY2" fmla="*/ 927100 h 2095500"/>
                <a:gd name="connsiteX3" fmla="*/ 330200 w 520700"/>
                <a:gd name="connsiteY3" fmla="*/ 1028700 h 2095500"/>
                <a:gd name="connsiteX4" fmla="*/ 381000 w 520700"/>
                <a:gd name="connsiteY4" fmla="*/ 1066800 h 2095500"/>
                <a:gd name="connsiteX5" fmla="*/ 406400 w 520700"/>
                <a:gd name="connsiteY5" fmla="*/ 1104900 h 2095500"/>
                <a:gd name="connsiteX6" fmla="*/ 438150 w 520700"/>
                <a:gd name="connsiteY6" fmla="*/ 1219200 h 2095500"/>
                <a:gd name="connsiteX7" fmla="*/ 450850 w 520700"/>
                <a:gd name="connsiteY7" fmla="*/ 1390650 h 2095500"/>
                <a:gd name="connsiteX8" fmla="*/ 457200 w 520700"/>
                <a:gd name="connsiteY8" fmla="*/ 1568450 h 2095500"/>
                <a:gd name="connsiteX9" fmla="*/ 495300 w 520700"/>
                <a:gd name="connsiteY9" fmla="*/ 1809750 h 2095500"/>
                <a:gd name="connsiteX10" fmla="*/ 520700 w 520700"/>
                <a:gd name="connsiteY10" fmla="*/ 1924050 h 2095500"/>
                <a:gd name="connsiteX11" fmla="*/ 495300 w 520700"/>
                <a:gd name="connsiteY11" fmla="*/ 2032000 h 2095500"/>
                <a:gd name="connsiteX12" fmla="*/ 406400 w 520700"/>
                <a:gd name="connsiteY12" fmla="*/ 2082800 h 2095500"/>
                <a:gd name="connsiteX13" fmla="*/ 304800 w 520700"/>
                <a:gd name="connsiteY13" fmla="*/ 2095500 h 2095500"/>
                <a:gd name="connsiteX0" fmla="*/ 0 w 520700"/>
                <a:gd name="connsiteY0" fmla="*/ 0 h 2082800"/>
                <a:gd name="connsiteX1" fmla="*/ 184150 w 520700"/>
                <a:gd name="connsiteY1" fmla="*/ 660400 h 2082800"/>
                <a:gd name="connsiteX2" fmla="*/ 260350 w 520700"/>
                <a:gd name="connsiteY2" fmla="*/ 927100 h 2082800"/>
                <a:gd name="connsiteX3" fmla="*/ 330200 w 520700"/>
                <a:gd name="connsiteY3" fmla="*/ 1028700 h 2082800"/>
                <a:gd name="connsiteX4" fmla="*/ 381000 w 520700"/>
                <a:gd name="connsiteY4" fmla="*/ 1066800 h 2082800"/>
                <a:gd name="connsiteX5" fmla="*/ 406400 w 520700"/>
                <a:gd name="connsiteY5" fmla="*/ 1104900 h 2082800"/>
                <a:gd name="connsiteX6" fmla="*/ 438150 w 520700"/>
                <a:gd name="connsiteY6" fmla="*/ 1219200 h 2082800"/>
                <a:gd name="connsiteX7" fmla="*/ 450850 w 520700"/>
                <a:gd name="connsiteY7" fmla="*/ 1390650 h 2082800"/>
                <a:gd name="connsiteX8" fmla="*/ 457200 w 520700"/>
                <a:gd name="connsiteY8" fmla="*/ 1568450 h 2082800"/>
                <a:gd name="connsiteX9" fmla="*/ 495300 w 520700"/>
                <a:gd name="connsiteY9" fmla="*/ 1809750 h 2082800"/>
                <a:gd name="connsiteX10" fmla="*/ 520700 w 520700"/>
                <a:gd name="connsiteY10" fmla="*/ 1924050 h 2082800"/>
                <a:gd name="connsiteX11" fmla="*/ 495300 w 520700"/>
                <a:gd name="connsiteY11" fmla="*/ 2032000 h 2082800"/>
                <a:gd name="connsiteX12" fmla="*/ 406400 w 520700"/>
                <a:gd name="connsiteY12" fmla="*/ 2082800 h 2082800"/>
                <a:gd name="connsiteX0" fmla="*/ 0 w 520700"/>
                <a:gd name="connsiteY0" fmla="*/ 0 h 2032000"/>
                <a:gd name="connsiteX1" fmla="*/ 184150 w 520700"/>
                <a:gd name="connsiteY1" fmla="*/ 660400 h 2032000"/>
                <a:gd name="connsiteX2" fmla="*/ 260350 w 520700"/>
                <a:gd name="connsiteY2" fmla="*/ 927100 h 2032000"/>
                <a:gd name="connsiteX3" fmla="*/ 330200 w 520700"/>
                <a:gd name="connsiteY3" fmla="*/ 1028700 h 2032000"/>
                <a:gd name="connsiteX4" fmla="*/ 381000 w 520700"/>
                <a:gd name="connsiteY4" fmla="*/ 1066800 h 2032000"/>
                <a:gd name="connsiteX5" fmla="*/ 406400 w 520700"/>
                <a:gd name="connsiteY5" fmla="*/ 1104900 h 2032000"/>
                <a:gd name="connsiteX6" fmla="*/ 438150 w 520700"/>
                <a:gd name="connsiteY6" fmla="*/ 1219200 h 2032000"/>
                <a:gd name="connsiteX7" fmla="*/ 450850 w 520700"/>
                <a:gd name="connsiteY7" fmla="*/ 1390650 h 2032000"/>
                <a:gd name="connsiteX8" fmla="*/ 457200 w 520700"/>
                <a:gd name="connsiteY8" fmla="*/ 1568450 h 2032000"/>
                <a:gd name="connsiteX9" fmla="*/ 495300 w 520700"/>
                <a:gd name="connsiteY9" fmla="*/ 1809750 h 2032000"/>
                <a:gd name="connsiteX10" fmla="*/ 520700 w 520700"/>
                <a:gd name="connsiteY10" fmla="*/ 1924050 h 2032000"/>
                <a:gd name="connsiteX11" fmla="*/ 495300 w 520700"/>
                <a:gd name="connsiteY11" fmla="*/ 2032000 h 2032000"/>
                <a:gd name="connsiteX0" fmla="*/ 0 w 520700"/>
                <a:gd name="connsiteY0" fmla="*/ 0 h 1924050"/>
                <a:gd name="connsiteX1" fmla="*/ 184150 w 520700"/>
                <a:gd name="connsiteY1" fmla="*/ 660400 h 1924050"/>
                <a:gd name="connsiteX2" fmla="*/ 260350 w 520700"/>
                <a:gd name="connsiteY2" fmla="*/ 927100 h 1924050"/>
                <a:gd name="connsiteX3" fmla="*/ 330200 w 520700"/>
                <a:gd name="connsiteY3" fmla="*/ 1028700 h 1924050"/>
                <a:gd name="connsiteX4" fmla="*/ 381000 w 520700"/>
                <a:gd name="connsiteY4" fmla="*/ 1066800 h 1924050"/>
                <a:gd name="connsiteX5" fmla="*/ 406400 w 520700"/>
                <a:gd name="connsiteY5" fmla="*/ 1104900 h 1924050"/>
                <a:gd name="connsiteX6" fmla="*/ 438150 w 520700"/>
                <a:gd name="connsiteY6" fmla="*/ 1219200 h 1924050"/>
                <a:gd name="connsiteX7" fmla="*/ 450850 w 520700"/>
                <a:gd name="connsiteY7" fmla="*/ 1390650 h 1924050"/>
                <a:gd name="connsiteX8" fmla="*/ 457200 w 520700"/>
                <a:gd name="connsiteY8" fmla="*/ 1568450 h 1924050"/>
                <a:gd name="connsiteX9" fmla="*/ 495300 w 520700"/>
                <a:gd name="connsiteY9" fmla="*/ 1809750 h 1924050"/>
                <a:gd name="connsiteX10" fmla="*/ 520700 w 520700"/>
                <a:gd name="connsiteY10" fmla="*/ 1924050 h 1924050"/>
                <a:gd name="connsiteX0" fmla="*/ 0 w 520700"/>
                <a:gd name="connsiteY0" fmla="*/ 0 h 1890428"/>
                <a:gd name="connsiteX1" fmla="*/ 184150 w 520700"/>
                <a:gd name="connsiteY1" fmla="*/ 660400 h 1890428"/>
                <a:gd name="connsiteX2" fmla="*/ 260350 w 520700"/>
                <a:gd name="connsiteY2" fmla="*/ 927100 h 1890428"/>
                <a:gd name="connsiteX3" fmla="*/ 330200 w 520700"/>
                <a:gd name="connsiteY3" fmla="*/ 1028700 h 1890428"/>
                <a:gd name="connsiteX4" fmla="*/ 381000 w 520700"/>
                <a:gd name="connsiteY4" fmla="*/ 1066800 h 1890428"/>
                <a:gd name="connsiteX5" fmla="*/ 406400 w 520700"/>
                <a:gd name="connsiteY5" fmla="*/ 1104900 h 1890428"/>
                <a:gd name="connsiteX6" fmla="*/ 438150 w 520700"/>
                <a:gd name="connsiteY6" fmla="*/ 1219200 h 1890428"/>
                <a:gd name="connsiteX7" fmla="*/ 450850 w 520700"/>
                <a:gd name="connsiteY7" fmla="*/ 1390650 h 1890428"/>
                <a:gd name="connsiteX8" fmla="*/ 457200 w 520700"/>
                <a:gd name="connsiteY8" fmla="*/ 1568450 h 1890428"/>
                <a:gd name="connsiteX9" fmla="*/ 495300 w 520700"/>
                <a:gd name="connsiteY9" fmla="*/ 1809750 h 1890428"/>
                <a:gd name="connsiteX10" fmla="*/ 520700 w 520700"/>
                <a:gd name="connsiteY10" fmla="*/ 1890428 h 1890428"/>
                <a:gd name="connsiteX0" fmla="*/ 0 w 520700"/>
                <a:gd name="connsiteY0" fmla="*/ 0 h 1890428"/>
                <a:gd name="connsiteX1" fmla="*/ 184150 w 520700"/>
                <a:gd name="connsiteY1" fmla="*/ 660400 h 1890428"/>
                <a:gd name="connsiteX2" fmla="*/ 260350 w 520700"/>
                <a:gd name="connsiteY2" fmla="*/ 927100 h 1890428"/>
                <a:gd name="connsiteX3" fmla="*/ 330200 w 520700"/>
                <a:gd name="connsiteY3" fmla="*/ 1028700 h 1890428"/>
                <a:gd name="connsiteX4" fmla="*/ 381000 w 520700"/>
                <a:gd name="connsiteY4" fmla="*/ 1066800 h 1890428"/>
                <a:gd name="connsiteX5" fmla="*/ 406400 w 520700"/>
                <a:gd name="connsiteY5" fmla="*/ 1104900 h 1890428"/>
                <a:gd name="connsiteX6" fmla="*/ 438150 w 520700"/>
                <a:gd name="connsiteY6" fmla="*/ 1219200 h 1890428"/>
                <a:gd name="connsiteX7" fmla="*/ 450850 w 520700"/>
                <a:gd name="connsiteY7" fmla="*/ 1390650 h 1890428"/>
                <a:gd name="connsiteX8" fmla="*/ 457200 w 520700"/>
                <a:gd name="connsiteY8" fmla="*/ 1568450 h 1890428"/>
                <a:gd name="connsiteX9" fmla="*/ 495300 w 520700"/>
                <a:gd name="connsiteY9" fmla="*/ 1809750 h 1890428"/>
                <a:gd name="connsiteX10" fmla="*/ 520700 w 520700"/>
                <a:gd name="connsiteY10" fmla="*/ 1890428 h 1890428"/>
                <a:gd name="connsiteX0" fmla="*/ 0 w 520700"/>
                <a:gd name="connsiteY0" fmla="*/ 0 h 1922141"/>
                <a:gd name="connsiteX1" fmla="*/ 184150 w 520700"/>
                <a:gd name="connsiteY1" fmla="*/ 660400 h 1922141"/>
                <a:gd name="connsiteX2" fmla="*/ 260350 w 520700"/>
                <a:gd name="connsiteY2" fmla="*/ 927100 h 1922141"/>
                <a:gd name="connsiteX3" fmla="*/ 330200 w 520700"/>
                <a:gd name="connsiteY3" fmla="*/ 1028700 h 1922141"/>
                <a:gd name="connsiteX4" fmla="*/ 381000 w 520700"/>
                <a:gd name="connsiteY4" fmla="*/ 1066800 h 1922141"/>
                <a:gd name="connsiteX5" fmla="*/ 406400 w 520700"/>
                <a:gd name="connsiteY5" fmla="*/ 1104900 h 1922141"/>
                <a:gd name="connsiteX6" fmla="*/ 438150 w 520700"/>
                <a:gd name="connsiteY6" fmla="*/ 1219200 h 1922141"/>
                <a:gd name="connsiteX7" fmla="*/ 450850 w 520700"/>
                <a:gd name="connsiteY7" fmla="*/ 1390650 h 1922141"/>
                <a:gd name="connsiteX8" fmla="*/ 457200 w 520700"/>
                <a:gd name="connsiteY8" fmla="*/ 1568450 h 1922141"/>
                <a:gd name="connsiteX9" fmla="*/ 495300 w 520700"/>
                <a:gd name="connsiteY9" fmla="*/ 1809750 h 1922141"/>
                <a:gd name="connsiteX10" fmla="*/ 520700 w 520700"/>
                <a:gd name="connsiteY10" fmla="*/ 1922141 h 1922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0700" h="1922141">
                  <a:moveTo>
                    <a:pt x="0" y="0"/>
                  </a:moveTo>
                  <a:lnTo>
                    <a:pt x="184150" y="660400"/>
                  </a:lnTo>
                  <a:cubicBezTo>
                    <a:pt x="227542" y="814917"/>
                    <a:pt x="236008" y="865717"/>
                    <a:pt x="260350" y="927100"/>
                  </a:cubicBezTo>
                  <a:cubicBezTo>
                    <a:pt x="284692" y="988483"/>
                    <a:pt x="310092" y="1005417"/>
                    <a:pt x="330200" y="1028700"/>
                  </a:cubicBezTo>
                  <a:cubicBezTo>
                    <a:pt x="350308" y="1051983"/>
                    <a:pt x="368300" y="1054100"/>
                    <a:pt x="381000" y="1066800"/>
                  </a:cubicBezTo>
                  <a:cubicBezTo>
                    <a:pt x="393700" y="1079500"/>
                    <a:pt x="396875" y="1079500"/>
                    <a:pt x="406400" y="1104900"/>
                  </a:cubicBezTo>
                  <a:cubicBezTo>
                    <a:pt x="415925" y="1130300"/>
                    <a:pt x="430742" y="1171575"/>
                    <a:pt x="438150" y="1219200"/>
                  </a:cubicBezTo>
                  <a:cubicBezTo>
                    <a:pt x="445558" y="1266825"/>
                    <a:pt x="447675" y="1332442"/>
                    <a:pt x="450850" y="1390650"/>
                  </a:cubicBezTo>
                  <a:cubicBezTo>
                    <a:pt x="454025" y="1448858"/>
                    <a:pt x="449792" y="1498600"/>
                    <a:pt x="457200" y="1568450"/>
                  </a:cubicBezTo>
                  <a:cubicBezTo>
                    <a:pt x="464608" y="1638300"/>
                    <a:pt x="484717" y="1750801"/>
                    <a:pt x="495300" y="1809750"/>
                  </a:cubicBezTo>
                  <a:cubicBezTo>
                    <a:pt x="505883" y="1868699"/>
                    <a:pt x="514130" y="1866600"/>
                    <a:pt x="520700" y="1922141"/>
                  </a:cubicBezTo>
                </a:path>
              </a:pathLst>
            </a:custGeom>
            <a:ln w="25400">
              <a:solidFill>
                <a:srgbClr val="FF0000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86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6" name="Полилиния 15"/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1572698" y="4372161"/>
              <a:ext cx="2132391" cy="1499247"/>
            </a:xfrm>
            <a:custGeom>
              <a:avLst/>
              <a:gdLst>
                <a:gd name="connsiteX0" fmla="*/ 2950763 w 2950763"/>
                <a:gd name="connsiteY0" fmla="*/ 1870 h 2228967"/>
                <a:gd name="connsiteX1" fmla="*/ 2703932 w 2950763"/>
                <a:gd name="connsiteY1" fmla="*/ 1870 h 2228967"/>
                <a:gd name="connsiteX2" fmla="*/ 2490759 w 2950763"/>
                <a:gd name="connsiteY2" fmla="*/ 13089 h 2228967"/>
                <a:gd name="connsiteX3" fmla="*/ 2356123 w 2950763"/>
                <a:gd name="connsiteY3" fmla="*/ 63578 h 2228967"/>
                <a:gd name="connsiteX4" fmla="*/ 2238317 w 2950763"/>
                <a:gd name="connsiteY4" fmla="*/ 186994 h 2228967"/>
                <a:gd name="connsiteX5" fmla="*/ 2131730 w 2950763"/>
                <a:gd name="connsiteY5" fmla="*/ 321629 h 2228967"/>
                <a:gd name="connsiteX6" fmla="*/ 1991485 w 2950763"/>
                <a:gd name="connsiteY6" fmla="*/ 489924 h 2228967"/>
                <a:gd name="connsiteX7" fmla="*/ 1946606 w 2950763"/>
                <a:gd name="connsiteY7" fmla="*/ 590900 h 2228967"/>
                <a:gd name="connsiteX8" fmla="*/ 1946606 w 2950763"/>
                <a:gd name="connsiteY8" fmla="*/ 787244 h 2228967"/>
                <a:gd name="connsiteX9" fmla="*/ 1890508 w 2950763"/>
                <a:gd name="connsiteY9" fmla="*/ 966758 h 2228967"/>
                <a:gd name="connsiteX10" fmla="*/ 1840020 w 2950763"/>
                <a:gd name="connsiteY10" fmla="*/ 1045296 h 2228967"/>
                <a:gd name="connsiteX11" fmla="*/ 1705384 w 2950763"/>
                <a:gd name="connsiteY11" fmla="*/ 1078954 h 2228967"/>
                <a:gd name="connsiteX12" fmla="*/ 1632457 w 2950763"/>
                <a:gd name="connsiteY12" fmla="*/ 1107004 h 2228967"/>
                <a:gd name="connsiteX13" fmla="*/ 1598798 w 2950763"/>
                <a:gd name="connsiteY13" fmla="*/ 1202370 h 2228967"/>
                <a:gd name="connsiteX14" fmla="*/ 1559529 w 2950763"/>
                <a:gd name="connsiteY14" fmla="*/ 1286518 h 2228967"/>
                <a:gd name="connsiteX15" fmla="*/ 1475382 w 2950763"/>
                <a:gd name="connsiteY15" fmla="*/ 1325786 h 2228967"/>
                <a:gd name="connsiteX16" fmla="*/ 1385625 w 2950763"/>
                <a:gd name="connsiteY16" fmla="*/ 1331396 h 2228967"/>
                <a:gd name="connsiteX17" fmla="*/ 1290258 w 2950763"/>
                <a:gd name="connsiteY17" fmla="*/ 1376275 h 2228967"/>
                <a:gd name="connsiteX18" fmla="*/ 1262209 w 2950763"/>
                <a:gd name="connsiteY18" fmla="*/ 1471642 h 2228967"/>
                <a:gd name="connsiteX19" fmla="*/ 1228550 w 2950763"/>
                <a:gd name="connsiteY19" fmla="*/ 1522130 h 2228967"/>
                <a:gd name="connsiteX20" fmla="*/ 1093914 w 2950763"/>
                <a:gd name="connsiteY20" fmla="*/ 1578228 h 2228967"/>
                <a:gd name="connsiteX21" fmla="*/ 796594 w 2950763"/>
                <a:gd name="connsiteY21" fmla="*/ 1667985 h 2228967"/>
                <a:gd name="connsiteX22" fmla="*/ 532933 w 2950763"/>
                <a:gd name="connsiteY22" fmla="*/ 1746523 h 2228967"/>
                <a:gd name="connsiteX23" fmla="*/ 387078 w 2950763"/>
                <a:gd name="connsiteY23" fmla="*/ 1825060 h 2228967"/>
                <a:gd name="connsiteX24" fmla="*/ 246832 w 2950763"/>
                <a:gd name="connsiteY24" fmla="*/ 1970915 h 2228967"/>
                <a:gd name="connsiteX25" fmla="*/ 140246 w 2950763"/>
                <a:gd name="connsiteY25" fmla="*/ 2116770 h 2228967"/>
                <a:gd name="connsiteX26" fmla="*/ 0 w 2950763"/>
                <a:gd name="connsiteY26" fmla="*/ 2228967 h 2228967"/>
                <a:gd name="connsiteX0" fmla="*/ 2703932 w 2703932"/>
                <a:gd name="connsiteY0" fmla="*/ 0 h 2227097"/>
                <a:gd name="connsiteX1" fmla="*/ 2490759 w 2703932"/>
                <a:gd name="connsiteY1" fmla="*/ 11219 h 2227097"/>
                <a:gd name="connsiteX2" fmla="*/ 2356123 w 2703932"/>
                <a:gd name="connsiteY2" fmla="*/ 61708 h 2227097"/>
                <a:gd name="connsiteX3" fmla="*/ 2238317 w 2703932"/>
                <a:gd name="connsiteY3" fmla="*/ 185124 h 2227097"/>
                <a:gd name="connsiteX4" fmla="*/ 2131730 w 2703932"/>
                <a:gd name="connsiteY4" fmla="*/ 319759 h 2227097"/>
                <a:gd name="connsiteX5" fmla="*/ 1991485 w 2703932"/>
                <a:gd name="connsiteY5" fmla="*/ 488054 h 2227097"/>
                <a:gd name="connsiteX6" fmla="*/ 1946606 w 2703932"/>
                <a:gd name="connsiteY6" fmla="*/ 589030 h 2227097"/>
                <a:gd name="connsiteX7" fmla="*/ 1946606 w 2703932"/>
                <a:gd name="connsiteY7" fmla="*/ 785374 h 2227097"/>
                <a:gd name="connsiteX8" fmla="*/ 1890508 w 2703932"/>
                <a:gd name="connsiteY8" fmla="*/ 964888 h 2227097"/>
                <a:gd name="connsiteX9" fmla="*/ 1840020 w 2703932"/>
                <a:gd name="connsiteY9" fmla="*/ 1043426 h 2227097"/>
                <a:gd name="connsiteX10" fmla="*/ 1705384 w 2703932"/>
                <a:gd name="connsiteY10" fmla="*/ 1077084 h 2227097"/>
                <a:gd name="connsiteX11" fmla="*/ 1632457 w 2703932"/>
                <a:gd name="connsiteY11" fmla="*/ 1105134 h 2227097"/>
                <a:gd name="connsiteX12" fmla="*/ 1598798 w 2703932"/>
                <a:gd name="connsiteY12" fmla="*/ 1200500 h 2227097"/>
                <a:gd name="connsiteX13" fmla="*/ 1559529 w 2703932"/>
                <a:gd name="connsiteY13" fmla="*/ 1284648 h 2227097"/>
                <a:gd name="connsiteX14" fmla="*/ 1475382 w 2703932"/>
                <a:gd name="connsiteY14" fmla="*/ 1323916 h 2227097"/>
                <a:gd name="connsiteX15" fmla="*/ 1385625 w 2703932"/>
                <a:gd name="connsiteY15" fmla="*/ 1329526 h 2227097"/>
                <a:gd name="connsiteX16" fmla="*/ 1290258 w 2703932"/>
                <a:gd name="connsiteY16" fmla="*/ 1374405 h 2227097"/>
                <a:gd name="connsiteX17" fmla="*/ 1262209 w 2703932"/>
                <a:gd name="connsiteY17" fmla="*/ 1469772 h 2227097"/>
                <a:gd name="connsiteX18" fmla="*/ 1228550 w 2703932"/>
                <a:gd name="connsiteY18" fmla="*/ 1520260 h 2227097"/>
                <a:gd name="connsiteX19" fmla="*/ 1093914 w 2703932"/>
                <a:gd name="connsiteY19" fmla="*/ 1576358 h 2227097"/>
                <a:gd name="connsiteX20" fmla="*/ 796594 w 2703932"/>
                <a:gd name="connsiteY20" fmla="*/ 1666115 h 2227097"/>
                <a:gd name="connsiteX21" fmla="*/ 532933 w 2703932"/>
                <a:gd name="connsiteY21" fmla="*/ 1744653 h 2227097"/>
                <a:gd name="connsiteX22" fmla="*/ 387078 w 2703932"/>
                <a:gd name="connsiteY22" fmla="*/ 1823190 h 2227097"/>
                <a:gd name="connsiteX23" fmla="*/ 246832 w 2703932"/>
                <a:gd name="connsiteY23" fmla="*/ 1969045 h 2227097"/>
                <a:gd name="connsiteX24" fmla="*/ 140246 w 2703932"/>
                <a:gd name="connsiteY24" fmla="*/ 2114900 h 2227097"/>
                <a:gd name="connsiteX25" fmla="*/ 0 w 2703932"/>
                <a:gd name="connsiteY25" fmla="*/ 2227097 h 2227097"/>
                <a:gd name="connsiteX0" fmla="*/ 2490759 w 2490759"/>
                <a:gd name="connsiteY0" fmla="*/ 0 h 2215878"/>
                <a:gd name="connsiteX1" fmla="*/ 2356123 w 2490759"/>
                <a:gd name="connsiteY1" fmla="*/ 50489 h 2215878"/>
                <a:gd name="connsiteX2" fmla="*/ 2238317 w 2490759"/>
                <a:gd name="connsiteY2" fmla="*/ 173905 h 2215878"/>
                <a:gd name="connsiteX3" fmla="*/ 2131730 w 2490759"/>
                <a:gd name="connsiteY3" fmla="*/ 308540 h 2215878"/>
                <a:gd name="connsiteX4" fmla="*/ 1991485 w 2490759"/>
                <a:gd name="connsiteY4" fmla="*/ 476835 h 2215878"/>
                <a:gd name="connsiteX5" fmla="*/ 1946606 w 2490759"/>
                <a:gd name="connsiteY5" fmla="*/ 577811 h 2215878"/>
                <a:gd name="connsiteX6" fmla="*/ 1946606 w 2490759"/>
                <a:gd name="connsiteY6" fmla="*/ 774155 h 2215878"/>
                <a:gd name="connsiteX7" fmla="*/ 1890508 w 2490759"/>
                <a:gd name="connsiteY7" fmla="*/ 953669 h 2215878"/>
                <a:gd name="connsiteX8" fmla="*/ 1840020 w 2490759"/>
                <a:gd name="connsiteY8" fmla="*/ 1032207 h 2215878"/>
                <a:gd name="connsiteX9" fmla="*/ 1705384 w 2490759"/>
                <a:gd name="connsiteY9" fmla="*/ 1065865 h 2215878"/>
                <a:gd name="connsiteX10" fmla="*/ 1632457 w 2490759"/>
                <a:gd name="connsiteY10" fmla="*/ 1093915 h 2215878"/>
                <a:gd name="connsiteX11" fmla="*/ 1598798 w 2490759"/>
                <a:gd name="connsiteY11" fmla="*/ 1189281 h 2215878"/>
                <a:gd name="connsiteX12" fmla="*/ 1559529 w 2490759"/>
                <a:gd name="connsiteY12" fmla="*/ 1273429 h 2215878"/>
                <a:gd name="connsiteX13" fmla="*/ 1475382 w 2490759"/>
                <a:gd name="connsiteY13" fmla="*/ 1312697 h 2215878"/>
                <a:gd name="connsiteX14" fmla="*/ 1385625 w 2490759"/>
                <a:gd name="connsiteY14" fmla="*/ 1318307 h 2215878"/>
                <a:gd name="connsiteX15" fmla="*/ 1290258 w 2490759"/>
                <a:gd name="connsiteY15" fmla="*/ 1363186 h 2215878"/>
                <a:gd name="connsiteX16" fmla="*/ 1262209 w 2490759"/>
                <a:gd name="connsiteY16" fmla="*/ 1458553 h 2215878"/>
                <a:gd name="connsiteX17" fmla="*/ 1228550 w 2490759"/>
                <a:gd name="connsiteY17" fmla="*/ 1509041 h 2215878"/>
                <a:gd name="connsiteX18" fmla="*/ 1093914 w 2490759"/>
                <a:gd name="connsiteY18" fmla="*/ 1565139 h 2215878"/>
                <a:gd name="connsiteX19" fmla="*/ 796594 w 2490759"/>
                <a:gd name="connsiteY19" fmla="*/ 1654896 h 2215878"/>
                <a:gd name="connsiteX20" fmla="*/ 532933 w 2490759"/>
                <a:gd name="connsiteY20" fmla="*/ 1733434 h 2215878"/>
                <a:gd name="connsiteX21" fmla="*/ 387078 w 2490759"/>
                <a:gd name="connsiteY21" fmla="*/ 1811971 h 2215878"/>
                <a:gd name="connsiteX22" fmla="*/ 246832 w 2490759"/>
                <a:gd name="connsiteY22" fmla="*/ 1957826 h 2215878"/>
                <a:gd name="connsiteX23" fmla="*/ 140246 w 2490759"/>
                <a:gd name="connsiteY23" fmla="*/ 2103681 h 2215878"/>
                <a:gd name="connsiteX24" fmla="*/ 0 w 2490759"/>
                <a:gd name="connsiteY24" fmla="*/ 2215878 h 2215878"/>
                <a:gd name="connsiteX0" fmla="*/ 2356123 w 2356123"/>
                <a:gd name="connsiteY0" fmla="*/ 0 h 2165389"/>
                <a:gd name="connsiteX1" fmla="*/ 2238317 w 2356123"/>
                <a:gd name="connsiteY1" fmla="*/ 123416 h 2165389"/>
                <a:gd name="connsiteX2" fmla="*/ 2131730 w 2356123"/>
                <a:gd name="connsiteY2" fmla="*/ 258051 h 2165389"/>
                <a:gd name="connsiteX3" fmla="*/ 1991485 w 2356123"/>
                <a:gd name="connsiteY3" fmla="*/ 426346 h 2165389"/>
                <a:gd name="connsiteX4" fmla="*/ 1946606 w 2356123"/>
                <a:gd name="connsiteY4" fmla="*/ 527322 h 2165389"/>
                <a:gd name="connsiteX5" fmla="*/ 1946606 w 2356123"/>
                <a:gd name="connsiteY5" fmla="*/ 723666 h 2165389"/>
                <a:gd name="connsiteX6" fmla="*/ 1890508 w 2356123"/>
                <a:gd name="connsiteY6" fmla="*/ 903180 h 2165389"/>
                <a:gd name="connsiteX7" fmla="*/ 1840020 w 2356123"/>
                <a:gd name="connsiteY7" fmla="*/ 981718 h 2165389"/>
                <a:gd name="connsiteX8" fmla="*/ 1705384 w 2356123"/>
                <a:gd name="connsiteY8" fmla="*/ 1015376 h 2165389"/>
                <a:gd name="connsiteX9" fmla="*/ 1632457 w 2356123"/>
                <a:gd name="connsiteY9" fmla="*/ 1043426 h 2165389"/>
                <a:gd name="connsiteX10" fmla="*/ 1598798 w 2356123"/>
                <a:gd name="connsiteY10" fmla="*/ 1138792 h 2165389"/>
                <a:gd name="connsiteX11" fmla="*/ 1559529 w 2356123"/>
                <a:gd name="connsiteY11" fmla="*/ 1222940 h 2165389"/>
                <a:gd name="connsiteX12" fmla="*/ 1475382 w 2356123"/>
                <a:gd name="connsiteY12" fmla="*/ 1262208 h 2165389"/>
                <a:gd name="connsiteX13" fmla="*/ 1385625 w 2356123"/>
                <a:gd name="connsiteY13" fmla="*/ 1267818 h 2165389"/>
                <a:gd name="connsiteX14" fmla="*/ 1290258 w 2356123"/>
                <a:gd name="connsiteY14" fmla="*/ 1312697 h 2165389"/>
                <a:gd name="connsiteX15" fmla="*/ 1262209 w 2356123"/>
                <a:gd name="connsiteY15" fmla="*/ 1408064 h 2165389"/>
                <a:gd name="connsiteX16" fmla="*/ 1228550 w 2356123"/>
                <a:gd name="connsiteY16" fmla="*/ 1458552 h 2165389"/>
                <a:gd name="connsiteX17" fmla="*/ 1093914 w 2356123"/>
                <a:gd name="connsiteY17" fmla="*/ 1514650 h 2165389"/>
                <a:gd name="connsiteX18" fmla="*/ 796594 w 2356123"/>
                <a:gd name="connsiteY18" fmla="*/ 1604407 h 2165389"/>
                <a:gd name="connsiteX19" fmla="*/ 532933 w 2356123"/>
                <a:gd name="connsiteY19" fmla="*/ 1682945 h 2165389"/>
                <a:gd name="connsiteX20" fmla="*/ 387078 w 2356123"/>
                <a:gd name="connsiteY20" fmla="*/ 1761482 h 2165389"/>
                <a:gd name="connsiteX21" fmla="*/ 246832 w 2356123"/>
                <a:gd name="connsiteY21" fmla="*/ 1907337 h 2165389"/>
                <a:gd name="connsiteX22" fmla="*/ 140246 w 2356123"/>
                <a:gd name="connsiteY22" fmla="*/ 2053192 h 2165389"/>
                <a:gd name="connsiteX23" fmla="*/ 0 w 2356123"/>
                <a:gd name="connsiteY23" fmla="*/ 2165389 h 2165389"/>
                <a:gd name="connsiteX0" fmla="*/ 2238317 w 2238317"/>
                <a:gd name="connsiteY0" fmla="*/ 0 h 2041973"/>
                <a:gd name="connsiteX1" fmla="*/ 2131730 w 2238317"/>
                <a:gd name="connsiteY1" fmla="*/ 134635 h 2041973"/>
                <a:gd name="connsiteX2" fmla="*/ 1991485 w 2238317"/>
                <a:gd name="connsiteY2" fmla="*/ 302930 h 2041973"/>
                <a:gd name="connsiteX3" fmla="*/ 1946606 w 2238317"/>
                <a:gd name="connsiteY3" fmla="*/ 403906 h 2041973"/>
                <a:gd name="connsiteX4" fmla="*/ 1946606 w 2238317"/>
                <a:gd name="connsiteY4" fmla="*/ 600250 h 2041973"/>
                <a:gd name="connsiteX5" fmla="*/ 1890508 w 2238317"/>
                <a:gd name="connsiteY5" fmla="*/ 779764 h 2041973"/>
                <a:gd name="connsiteX6" fmla="*/ 1840020 w 2238317"/>
                <a:gd name="connsiteY6" fmla="*/ 858302 h 2041973"/>
                <a:gd name="connsiteX7" fmla="*/ 1705384 w 2238317"/>
                <a:gd name="connsiteY7" fmla="*/ 891960 h 2041973"/>
                <a:gd name="connsiteX8" fmla="*/ 1632457 w 2238317"/>
                <a:gd name="connsiteY8" fmla="*/ 920010 h 2041973"/>
                <a:gd name="connsiteX9" fmla="*/ 1598798 w 2238317"/>
                <a:gd name="connsiteY9" fmla="*/ 1015376 h 2041973"/>
                <a:gd name="connsiteX10" fmla="*/ 1559529 w 2238317"/>
                <a:gd name="connsiteY10" fmla="*/ 1099524 h 2041973"/>
                <a:gd name="connsiteX11" fmla="*/ 1475382 w 2238317"/>
                <a:gd name="connsiteY11" fmla="*/ 1138792 h 2041973"/>
                <a:gd name="connsiteX12" fmla="*/ 1385625 w 2238317"/>
                <a:gd name="connsiteY12" fmla="*/ 1144402 h 2041973"/>
                <a:gd name="connsiteX13" fmla="*/ 1290258 w 2238317"/>
                <a:gd name="connsiteY13" fmla="*/ 1189281 h 2041973"/>
                <a:gd name="connsiteX14" fmla="*/ 1262209 w 2238317"/>
                <a:gd name="connsiteY14" fmla="*/ 1284648 h 2041973"/>
                <a:gd name="connsiteX15" fmla="*/ 1228550 w 2238317"/>
                <a:gd name="connsiteY15" fmla="*/ 1335136 h 2041973"/>
                <a:gd name="connsiteX16" fmla="*/ 1093914 w 2238317"/>
                <a:gd name="connsiteY16" fmla="*/ 1391234 h 2041973"/>
                <a:gd name="connsiteX17" fmla="*/ 796594 w 2238317"/>
                <a:gd name="connsiteY17" fmla="*/ 1480991 h 2041973"/>
                <a:gd name="connsiteX18" fmla="*/ 532933 w 2238317"/>
                <a:gd name="connsiteY18" fmla="*/ 1559529 h 2041973"/>
                <a:gd name="connsiteX19" fmla="*/ 387078 w 2238317"/>
                <a:gd name="connsiteY19" fmla="*/ 1638066 h 2041973"/>
                <a:gd name="connsiteX20" fmla="*/ 246832 w 2238317"/>
                <a:gd name="connsiteY20" fmla="*/ 1783921 h 2041973"/>
                <a:gd name="connsiteX21" fmla="*/ 140246 w 2238317"/>
                <a:gd name="connsiteY21" fmla="*/ 1929776 h 2041973"/>
                <a:gd name="connsiteX22" fmla="*/ 0 w 2238317"/>
                <a:gd name="connsiteY22" fmla="*/ 2041973 h 2041973"/>
                <a:gd name="connsiteX0" fmla="*/ 2131730 w 2131730"/>
                <a:gd name="connsiteY0" fmla="*/ 0 h 1907338"/>
                <a:gd name="connsiteX1" fmla="*/ 1991485 w 2131730"/>
                <a:gd name="connsiteY1" fmla="*/ 168295 h 1907338"/>
                <a:gd name="connsiteX2" fmla="*/ 1946606 w 2131730"/>
                <a:gd name="connsiteY2" fmla="*/ 269271 h 1907338"/>
                <a:gd name="connsiteX3" fmla="*/ 1946606 w 2131730"/>
                <a:gd name="connsiteY3" fmla="*/ 465615 h 1907338"/>
                <a:gd name="connsiteX4" fmla="*/ 1890508 w 2131730"/>
                <a:gd name="connsiteY4" fmla="*/ 645129 h 1907338"/>
                <a:gd name="connsiteX5" fmla="*/ 1840020 w 2131730"/>
                <a:gd name="connsiteY5" fmla="*/ 723667 h 1907338"/>
                <a:gd name="connsiteX6" fmla="*/ 1705384 w 2131730"/>
                <a:gd name="connsiteY6" fmla="*/ 757325 h 1907338"/>
                <a:gd name="connsiteX7" fmla="*/ 1632457 w 2131730"/>
                <a:gd name="connsiteY7" fmla="*/ 785375 h 1907338"/>
                <a:gd name="connsiteX8" fmla="*/ 1598798 w 2131730"/>
                <a:gd name="connsiteY8" fmla="*/ 880741 h 1907338"/>
                <a:gd name="connsiteX9" fmla="*/ 1559529 w 2131730"/>
                <a:gd name="connsiteY9" fmla="*/ 964889 h 1907338"/>
                <a:gd name="connsiteX10" fmla="*/ 1475382 w 2131730"/>
                <a:gd name="connsiteY10" fmla="*/ 1004157 h 1907338"/>
                <a:gd name="connsiteX11" fmla="*/ 1385625 w 2131730"/>
                <a:gd name="connsiteY11" fmla="*/ 1009767 h 1907338"/>
                <a:gd name="connsiteX12" fmla="*/ 1290258 w 2131730"/>
                <a:gd name="connsiteY12" fmla="*/ 1054646 h 1907338"/>
                <a:gd name="connsiteX13" fmla="*/ 1262209 w 2131730"/>
                <a:gd name="connsiteY13" fmla="*/ 1150013 h 1907338"/>
                <a:gd name="connsiteX14" fmla="*/ 1228550 w 2131730"/>
                <a:gd name="connsiteY14" fmla="*/ 1200501 h 1907338"/>
                <a:gd name="connsiteX15" fmla="*/ 1093914 w 2131730"/>
                <a:gd name="connsiteY15" fmla="*/ 1256599 h 1907338"/>
                <a:gd name="connsiteX16" fmla="*/ 796594 w 2131730"/>
                <a:gd name="connsiteY16" fmla="*/ 1346356 h 1907338"/>
                <a:gd name="connsiteX17" fmla="*/ 532933 w 2131730"/>
                <a:gd name="connsiteY17" fmla="*/ 1424894 h 1907338"/>
                <a:gd name="connsiteX18" fmla="*/ 387078 w 2131730"/>
                <a:gd name="connsiteY18" fmla="*/ 1503431 h 1907338"/>
                <a:gd name="connsiteX19" fmla="*/ 246832 w 2131730"/>
                <a:gd name="connsiteY19" fmla="*/ 1649286 h 1907338"/>
                <a:gd name="connsiteX20" fmla="*/ 140246 w 2131730"/>
                <a:gd name="connsiteY20" fmla="*/ 1795141 h 1907338"/>
                <a:gd name="connsiteX21" fmla="*/ 0 w 2131730"/>
                <a:gd name="connsiteY21" fmla="*/ 1907338 h 1907338"/>
                <a:gd name="connsiteX0" fmla="*/ 1991485 w 1991485"/>
                <a:gd name="connsiteY0" fmla="*/ 0 h 1739043"/>
                <a:gd name="connsiteX1" fmla="*/ 1946606 w 1991485"/>
                <a:gd name="connsiteY1" fmla="*/ 100976 h 1739043"/>
                <a:gd name="connsiteX2" fmla="*/ 1946606 w 1991485"/>
                <a:gd name="connsiteY2" fmla="*/ 297320 h 1739043"/>
                <a:gd name="connsiteX3" fmla="*/ 1890508 w 1991485"/>
                <a:gd name="connsiteY3" fmla="*/ 476834 h 1739043"/>
                <a:gd name="connsiteX4" fmla="*/ 1840020 w 1991485"/>
                <a:gd name="connsiteY4" fmla="*/ 555372 h 1739043"/>
                <a:gd name="connsiteX5" fmla="*/ 1705384 w 1991485"/>
                <a:gd name="connsiteY5" fmla="*/ 589030 h 1739043"/>
                <a:gd name="connsiteX6" fmla="*/ 1632457 w 1991485"/>
                <a:gd name="connsiteY6" fmla="*/ 617080 h 1739043"/>
                <a:gd name="connsiteX7" fmla="*/ 1598798 w 1991485"/>
                <a:gd name="connsiteY7" fmla="*/ 712446 h 1739043"/>
                <a:gd name="connsiteX8" fmla="*/ 1559529 w 1991485"/>
                <a:gd name="connsiteY8" fmla="*/ 796594 h 1739043"/>
                <a:gd name="connsiteX9" fmla="*/ 1475382 w 1991485"/>
                <a:gd name="connsiteY9" fmla="*/ 835862 h 1739043"/>
                <a:gd name="connsiteX10" fmla="*/ 1385625 w 1991485"/>
                <a:gd name="connsiteY10" fmla="*/ 841472 h 1739043"/>
                <a:gd name="connsiteX11" fmla="*/ 1290258 w 1991485"/>
                <a:gd name="connsiteY11" fmla="*/ 886351 h 1739043"/>
                <a:gd name="connsiteX12" fmla="*/ 1262209 w 1991485"/>
                <a:gd name="connsiteY12" fmla="*/ 981718 h 1739043"/>
                <a:gd name="connsiteX13" fmla="*/ 1228550 w 1991485"/>
                <a:gd name="connsiteY13" fmla="*/ 1032206 h 1739043"/>
                <a:gd name="connsiteX14" fmla="*/ 1093914 w 1991485"/>
                <a:gd name="connsiteY14" fmla="*/ 1088304 h 1739043"/>
                <a:gd name="connsiteX15" fmla="*/ 796594 w 1991485"/>
                <a:gd name="connsiteY15" fmla="*/ 1178061 h 1739043"/>
                <a:gd name="connsiteX16" fmla="*/ 532933 w 1991485"/>
                <a:gd name="connsiteY16" fmla="*/ 1256599 h 1739043"/>
                <a:gd name="connsiteX17" fmla="*/ 387078 w 1991485"/>
                <a:gd name="connsiteY17" fmla="*/ 1335136 h 1739043"/>
                <a:gd name="connsiteX18" fmla="*/ 246832 w 1991485"/>
                <a:gd name="connsiteY18" fmla="*/ 1480991 h 1739043"/>
                <a:gd name="connsiteX19" fmla="*/ 140246 w 1991485"/>
                <a:gd name="connsiteY19" fmla="*/ 1626846 h 1739043"/>
                <a:gd name="connsiteX20" fmla="*/ 0 w 1991485"/>
                <a:gd name="connsiteY20" fmla="*/ 1739043 h 1739043"/>
                <a:gd name="connsiteX0" fmla="*/ 1946606 w 1955956"/>
                <a:gd name="connsiteY0" fmla="*/ 0 h 1638067"/>
                <a:gd name="connsiteX1" fmla="*/ 1946606 w 1955956"/>
                <a:gd name="connsiteY1" fmla="*/ 196344 h 1638067"/>
                <a:gd name="connsiteX2" fmla="*/ 1890508 w 1955956"/>
                <a:gd name="connsiteY2" fmla="*/ 375858 h 1638067"/>
                <a:gd name="connsiteX3" fmla="*/ 1840020 w 1955956"/>
                <a:gd name="connsiteY3" fmla="*/ 454396 h 1638067"/>
                <a:gd name="connsiteX4" fmla="*/ 1705384 w 1955956"/>
                <a:gd name="connsiteY4" fmla="*/ 488054 h 1638067"/>
                <a:gd name="connsiteX5" fmla="*/ 1632457 w 1955956"/>
                <a:gd name="connsiteY5" fmla="*/ 516104 h 1638067"/>
                <a:gd name="connsiteX6" fmla="*/ 1598798 w 1955956"/>
                <a:gd name="connsiteY6" fmla="*/ 611470 h 1638067"/>
                <a:gd name="connsiteX7" fmla="*/ 1559529 w 1955956"/>
                <a:gd name="connsiteY7" fmla="*/ 695618 h 1638067"/>
                <a:gd name="connsiteX8" fmla="*/ 1475382 w 1955956"/>
                <a:gd name="connsiteY8" fmla="*/ 734886 h 1638067"/>
                <a:gd name="connsiteX9" fmla="*/ 1385625 w 1955956"/>
                <a:gd name="connsiteY9" fmla="*/ 740496 h 1638067"/>
                <a:gd name="connsiteX10" fmla="*/ 1290258 w 1955956"/>
                <a:gd name="connsiteY10" fmla="*/ 785375 h 1638067"/>
                <a:gd name="connsiteX11" fmla="*/ 1262209 w 1955956"/>
                <a:gd name="connsiteY11" fmla="*/ 880742 h 1638067"/>
                <a:gd name="connsiteX12" fmla="*/ 1228550 w 1955956"/>
                <a:gd name="connsiteY12" fmla="*/ 931230 h 1638067"/>
                <a:gd name="connsiteX13" fmla="*/ 1093914 w 1955956"/>
                <a:gd name="connsiteY13" fmla="*/ 987328 h 1638067"/>
                <a:gd name="connsiteX14" fmla="*/ 796594 w 1955956"/>
                <a:gd name="connsiteY14" fmla="*/ 1077085 h 1638067"/>
                <a:gd name="connsiteX15" fmla="*/ 532933 w 1955956"/>
                <a:gd name="connsiteY15" fmla="*/ 1155623 h 1638067"/>
                <a:gd name="connsiteX16" fmla="*/ 387078 w 1955956"/>
                <a:gd name="connsiteY16" fmla="*/ 1234160 h 1638067"/>
                <a:gd name="connsiteX17" fmla="*/ 246832 w 1955956"/>
                <a:gd name="connsiteY17" fmla="*/ 1380015 h 1638067"/>
                <a:gd name="connsiteX18" fmla="*/ 140246 w 1955956"/>
                <a:gd name="connsiteY18" fmla="*/ 1525870 h 1638067"/>
                <a:gd name="connsiteX19" fmla="*/ 0 w 1955956"/>
                <a:gd name="connsiteY19" fmla="*/ 1638067 h 1638067"/>
                <a:gd name="connsiteX0" fmla="*/ 1946606 w 1946606"/>
                <a:gd name="connsiteY0" fmla="*/ 0 h 1441723"/>
                <a:gd name="connsiteX1" fmla="*/ 1890508 w 1946606"/>
                <a:gd name="connsiteY1" fmla="*/ 179514 h 1441723"/>
                <a:gd name="connsiteX2" fmla="*/ 1840020 w 1946606"/>
                <a:gd name="connsiteY2" fmla="*/ 258052 h 1441723"/>
                <a:gd name="connsiteX3" fmla="*/ 1705384 w 1946606"/>
                <a:gd name="connsiteY3" fmla="*/ 291710 h 1441723"/>
                <a:gd name="connsiteX4" fmla="*/ 1632457 w 1946606"/>
                <a:gd name="connsiteY4" fmla="*/ 319760 h 1441723"/>
                <a:gd name="connsiteX5" fmla="*/ 1598798 w 1946606"/>
                <a:gd name="connsiteY5" fmla="*/ 415126 h 1441723"/>
                <a:gd name="connsiteX6" fmla="*/ 1559529 w 1946606"/>
                <a:gd name="connsiteY6" fmla="*/ 499274 h 1441723"/>
                <a:gd name="connsiteX7" fmla="*/ 1475382 w 1946606"/>
                <a:gd name="connsiteY7" fmla="*/ 538542 h 1441723"/>
                <a:gd name="connsiteX8" fmla="*/ 1385625 w 1946606"/>
                <a:gd name="connsiteY8" fmla="*/ 544152 h 1441723"/>
                <a:gd name="connsiteX9" fmla="*/ 1290258 w 1946606"/>
                <a:gd name="connsiteY9" fmla="*/ 589031 h 1441723"/>
                <a:gd name="connsiteX10" fmla="*/ 1262209 w 1946606"/>
                <a:gd name="connsiteY10" fmla="*/ 684398 h 1441723"/>
                <a:gd name="connsiteX11" fmla="*/ 1228550 w 1946606"/>
                <a:gd name="connsiteY11" fmla="*/ 734886 h 1441723"/>
                <a:gd name="connsiteX12" fmla="*/ 1093914 w 1946606"/>
                <a:gd name="connsiteY12" fmla="*/ 790984 h 1441723"/>
                <a:gd name="connsiteX13" fmla="*/ 796594 w 1946606"/>
                <a:gd name="connsiteY13" fmla="*/ 880741 h 1441723"/>
                <a:gd name="connsiteX14" fmla="*/ 532933 w 1946606"/>
                <a:gd name="connsiteY14" fmla="*/ 959279 h 1441723"/>
                <a:gd name="connsiteX15" fmla="*/ 387078 w 1946606"/>
                <a:gd name="connsiteY15" fmla="*/ 1037816 h 1441723"/>
                <a:gd name="connsiteX16" fmla="*/ 246832 w 1946606"/>
                <a:gd name="connsiteY16" fmla="*/ 1183671 h 1441723"/>
                <a:gd name="connsiteX17" fmla="*/ 140246 w 1946606"/>
                <a:gd name="connsiteY17" fmla="*/ 1329526 h 1441723"/>
                <a:gd name="connsiteX18" fmla="*/ 0 w 1946606"/>
                <a:gd name="connsiteY18" fmla="*/ 1441723 h 1441723"/>
                <a:gd name="connsiteX0" fmla="*/ 1890508 w 1890508"/>
                <a:gd name="connsiteY0" fmla="*/ 0 h 1262209"/>
                <a:gd name="connsiteX1" fmla="*/ 1840020 w 1890508"/>
                <a:gd name="connsiteY1" fmla="*/ 78538 h 1262209"/>
                <a:gd name="connsiteX2" fmla="*/ 1705384 w 1890508"/>
                <a:gd name="connsiteY2" fmla="*/ 112196 h 1262209"/>
                <a:gd name="connsiteX3" fmla="*/ 1632457 w 1890508"/>
                <a:gd name="connsiteY3" fmla="*/ 140246 h 1262209"/>
                <a:gd name="connsiteX4" fmla="*/ 1598798 w 1890508"/>
                <a:gd name="connsiteY4" fmla="*/ 235612 h 1262209"/>
                <a:gd name="connsiteX5" fmla="*/ 1559529 w 1890508"/>
                <a:gd name="connsiteY5" fmla="*/ 319760 h 1262209"/>
                <a:gd name="connsiteX6" fmla="*/ 1475382 w 1890508"/>
                <a:gd name="connsiteY6" fmla="*/ 359028 h 1262209"/>
                <a:gd name="connsiteX7" fmla="*/ 1385625 w 1890508"/>
                <a:gd name="connsiteY7" fmla="*/ 364638 h 1262209"/>
                <a:gd name="connsiteX8" fmla="*/ 1290258 w 1890508"/>
                <a:gd name="connsiteY8" fmla="*/ 409517 h 1262209"/>
                <a:gd name="connsiteX9" fmla="*/ 1262209 w 1890508"/>
                <a:gd name="connsiteY9" fmla="*/ 504884 h 1262209"/>
                <a:gd name="connsiteX10" fmla="*/ 1228550 w 1890508"/>
                <a:gd name="connsiteY10" fmla="*/ 555372 h 1262209"/>
                <a:gd name="connsiteX11" fmla="*/ 1093914 w 1890508"/>
                <a:gd name="connsiteY11" fmla="*/ 611470 h 1262209"/>
                <a:gd name="connsiteX12" fmla="*/ 796594 w 1890508"/>
                <a:gd name="connsiteY12" fmla="*/ 701227 h 1262209"/>
                <a:gd name="connsiteX13" fmla="*/ 532933 w 1890508"/>
                <a:gd name="connsiteY13" fmla="*/ 779765 h 1262209"/>
                <a:gd name="connsiteX14" fmla="*/ 387078 w 1890508"/>
                <a:gd name="connsiteY14" fmla="*/ 858302 h 1262209"/>
                <a:gd name="connsiteX15" fmla="*/ 246832 w 1890508"/>
                <a:gd name="connsiteY15" fmla="*/ 1004157 h 1262209"/>
                <a:gd name="connsiteX16" fmla="*/ 140246 w 1890508"/>
                <a:gd name="connsiteY16" fmla="*/ 1150012 h 1262209"/>
                <a:gd name="connsiteX17" fmla="*/ 0 w 1890508"/>
                <a:gd name="connsiteY17" fmla="*/ 1262209 h 1262209"/>
                <a:gd name="connsiteX0" fmla="*/ 1840020 w 1840020"/>
                <a:gd name="connsiteY0" fmla="*/ 0 h 1183671"/>
                <a:gd name="connsiteX1" fmla="*/ 1705384 w 1840020"/>
                <a:gd name="connsiteY1" fmla="*/ 33658 h 1183671"/>
                <a:gd name="connsiteX2" fmla="*/ 1632457 w 1840020"/>
                <a:gd name="connsiteY2" fmla="*/ 61708 h 1183671"/>
                <a:gd name="connsiteX3" fmla="*/ 1598798 w 1840020"/>
                <a:gd name="connsiteY3" fmla="*/ 157074 h 1183671"/>
                <a:gd name="connsiteX4" fmla="*/ 1559529 w 1840020"/>
                <a:gd name="connsiteY4" fmla="*/ 241222 h 1183671"/>
                <a:gd name="connsiteX5" fmla="*/ 1475382 w 1840020"/>
                <a:gd name="connsiteY5" fmla="*/ 280490 h 1183671"/>
                <a:gd name="connsiteX6" fmla="*/ 1385625 w 1840020"/>
                <a:gd name="connsiteY6" fmla="*/ 286100 h 1183671"/>
                <a:gd name="connsiteX7" fmla="*/ 1290258 w 1840020"/>
                <a:gd name="connsiteY7" fmla="*/ 330979 h 1183671"/>
                <a:gd name="connsiteX8" fmla="*/ 1262209 w 1840020"/>
                <a:gd name="connsiteY8" fmla="*/ 426346 h 1183671"/>
                <a:gd name="connsiteX9" fmla="*/ 1228550 w 1840020"/>
                <a:gd name="connsiteY9" fmla="*/ 476834 h 1183671"/>
                <a:gd name="connsiteX10" fmla="*/ 1093914 w 1840020"/>
                <a:gd name="connsiteY10" fmla="*/ 532932 h 1183671"/>
                <a:gd name="connsiteX11" fmla="*/ 796594 w 1840020"/>
                <a:gd name="connsiteY11" fmla="*/ 622689 h 1183671"/>
                <a:gd name="connsiteX12" fmla="*/ 532933 w 1840020"/>
                <a:gd name="connsiteY12" fmla="*/ 701227 h 1183671"/>
                <a:gd name="connsiteX13" fmla="*/ 387078 w 1840020"/>
                <a:gd name="connsiteY13" fmla="*/ 779764 h 1183671"/>
                <a:gd name="connsiteX14" fmla="*/ 246832 w 1840020"/>
                <a:gd name="connsiteY14" fmla="*/ 925619 h 1183671"/>
                <a:gd name="connsiteX15" fmla="*/ 140246 w 1840020"/>
                <a:gd name="connsiteY15" fmla="*/ 1071474 h 1183671"/>
                <a:gd name="connsiteX16" fmla="*/ 0 w 1840020"/>
                <a:gd name="connsiteY16" fmla="*/ 1183671 h 1183671"/>
                <a:gd name="connsiteX0" fmla="*/ 1705384 w 1705384"/>
                <a:gd name="connsiteY0" fmla="*/ 0 h 1150013"/>
                <a:gd name="connsiteX1" fmla="*/ 1632457 w 1705384"/>
                <a:gd name="connsiteY1" fmla="*/ 28050 h 1150013"/>
                <a:gd name="connsiteX2" fmla="*/ 1598798 w 1705384"/>
                <a:gd name="connsiteY2" fmla="*/ 123416 h 1150013"/>
                <a:gd name="connsiteX3" fmla="*/ 1559529 w 1705384"/>
                <a:gd name="connsiteY3" fmla="*/ 207564 h 1150013"/>
                <a:gd name="connsiteX4" fmla="*/ 1475382 w 1705384"/>
                <a:gd name="connsiteY4" fmla="*/ 246832 h 1150013"/>
                <a:gd name="connsiteX5" fmla="*/ 1385625 w 1705384"/>
                <a:gd name="connsiteY5" fmla="*/ 252442 h 1150013"/>
                <a:gd name="connsiteX6" fmla="*/ 1290258 w 1705384"/>
                <a:gd name="connsiteY6" fmla="*/ 297321 h 1150013"/>
                <a:gd name="connsiteX7" fmla="*/ 1262209 w 1705384"/>
                <a:gd name="connsiteY7" fmla="*/ 392688 h 1150013"/>
                <a:gd name="connsiteX8" fmla="*/ 1228550 w 1705384"/>
                <a:gd name="connsiteY8" fmla="*/ 443176 h 1150013"/>
                <a:gd name="connsiteX9" fmla="*/ 1093914 w 1705384"/>
                <a:gd name="connsiteY9" fmla="*/ 499274 h 1150013"/>
                <a:gd name="connsiteX10" fmla="*/ 796594 w 1705384"/>
                <a:gd name="connsiteY10" fmla="*/ 589031 h 1150013"/>
                <a:gd name="connsiteX11" fmla="*/ 532933 w 1705384"/>
                <a:gd name="connsiteY11" fmla="*/ 667569 h 1150013"/>
                <a:gd name="connsiteX12" fmla="*/ 387078 w 1705384"/>
                <a:gd name="connsiteY12" fmla="*/ 746106 h 1150013"/>
                <a:gd name="connsiteX13" fmla="*/ 246832 w 1705384"/>
                <a:gd name="connsiteY13" fmla="*/ 891961 h 1150013"/>
                <a:gd name="connsiteX14" fmla="*/ 140246 w 1705384"/>
                <a:gd name="connsiteY14" fmla="*/ 1037816 h 1150013"/>
                <a:gd name="connsiteX15" fmla="*/ 0 w 1705384"/>
                <a:gd name="connsiteY15" fmla="*/ 1150013 h 1150013"/>
                <a:gd name="connsiteX0" fmla="*/ 1632457 w 1632457"/>
                <a:gd name="connsiteY0" fmla="*/ 0 h 1121963"/>
                <a:gd name="connsiteX1" fmla="*/ 1598798 w 1632457"/>
                <a:gd name="connsiteY1" fmla="*/ 95366 h 1121963"/>
                <a:gd name="connsiteX2" fmla="*/ 1559529 w 1632457"/>
                <a:gd name="connsiteY2" fmla="*/ 179514 h 1121963"/>
                <a:gd name="connsiteX3" fmla="*/ 1475382 w 1632457"/>
                <a:gd name="connsiteY3" fmla="*/ 218782 h 1121963"/>
                <a:gd name="connsiteX4" fmla="*/ 1385625 w 1632457"/>
                <a:gd name="connsiteY4" fmla="*/ 224392 h 1121963"/>
                <a:gd name="connsiteX5" fmla="*/ 1290258 w 1632457"/>
                <a:gd name="connsiteY5" fmla="*/ 269271 h 1121963"/>
                <a:gd name="connsiteX6" fmla="*/ 1262209 w 1632457"/>
                <a:gd name="connsiteY6" fmla="*/ 364638 h 1121963"/>
                <a:gd name="connsiteX7" fmla="*/ 1228550 w 1632457"/>
                <a:gd name="connsiteY7" fmla="*/ 415126 h 1121963"/>
                <a:gd name="connsiteX8" fmla="*/ 1093914 w 1632457"/>
                <a:gd name="connsiteY8" fmla="*/ 471224 h 1121963"/>
                <a:gd name="connsiteX9" fmla="*/ 796594 w 1632457"/>
                <a:gd name="connsiteY9" fmla="*/ 560981 h 1121963"/>
                <a:gd name="connsiteX10" fmla="*/ 532933 w 1632457"/>
                <a:gd name="connsiteY10" fmla="*/ 639519 h 1121963"/>
                <a:gd name="connsiteX11" fmla="*/ 387078 w 1632457"/>
                <a:gd name="connsiteY11" fmla="*/ 718056 h 1121963"/>
                <a:gd name="connsiteX12" fmla="*/ 246832 w 1632457"/>
                <a:gd name="connsiteY12" fmla="*/ 863911 h 1121963"/>
                <a:gd name="connsiteX13" fmla="*/ 140246 w 1632457"/>
                <a:gd name="connsiteY13" fmla="*/ 1009766 h 1121963"/>
                <a:gd name="connsiteX14" fmla="*/ 0 w 1632457"/>
                <a:gd name="connsiteY14" fmla="*/ 1121963 h 1121963"/>
                <a:gd name="connsiteX0" fmla="*/ 1632457 w 1637103"/>
                <a:gd name="connsiteY0" fmla="*/ 0 h 1121963"/>
                <a:gd name="connsiteX1" fmla="*/ 1598798 w 1637103"/>
                <a:gd name="connsiteY1" fmla="*/ 95366 h 1121963"/>
                <a:gd name="connsiteX2" fmla="*/ 1559529 w 1637103"/>
                <a:gd name="connsiteY2" fmla="*/ 179514 h 1121963"/>
                <a:gd name="connsiteX3" fmla="*/ 1475382 w 1637103"/>
                <a:gd name="connsiteY3" fmla="*/ 218782 h 1121963"/>
                <a:gd name="connsiteX4" fmla="*/ 1385625 w 1637103"/>
                <a:gd name="connsiteY4" fmla="*/ 224392 h 1121963"/>
                <a:gd name="connsiteX5" fmla="*/ 1290258 w 1637103"/>
                <a:gd name="connsiteY5" fmla="*/ 269271 h 1121963"/>
                <a:gd name="connsiteX6" fmla="*/ 1262209 w 1637103"/>
                <a:gd name="connsiteY6" fmla="*/ 364638 h 1121963"/>
                <a:gd name="connsiteX7" fmla="*/ 1228550 w 1637103"/>
                <a:gd name="connsiteY7" fmla="*/ 415126 h 1121963"/>
                <a:gd name="connsiteX8" fmla="*/ 1093914 w 1637103"/>
                <a:gd name="connsiteY8" fmla="*/ 471224 h 1121963"/>
                <a:gd name="connsiteX9" fmla="*/ 796594 w 1637103"/>
                <a:gd name="connsiteY9" fmla="*/ 560981 h 1121963"/>
                <a:gd name="connsiteX10" fmla="*/ 532933 w 1637103"/>
                <a:gd name="connsiteY10" fmla="*/ 639519 h 1121963"/>
                <a:gd name="connsiteX11" fmla="*/ 387078 w 1637103"/>
                <a:gd name="connsiteY11" fmla="*/ 718056 h 1121963"/>
                <a:gd name="connsiteX12" fmla="*/ 246832 w 1637103"/>
                <a:gd name="connsiteY12" fmla="*/ 863911 h 1121963"/>
                <a:gd name="connsiteX13" fmla="*/ 140246 w 1637103"/>
                <a:gd name="connsiteY13" fmla="*/ 1009766 h 1121963"/>
                <a:gd name="connsiteX14" fmla="*/ 0 w 1637103"/>
                <a:gd name="connsiteY14" fmla="*/ 1121963 h 1121963"/>
                <a:gd name="connsiteX0" fmla="*/ 1576223 w 1601580"/>
                <a:gd name="connsiteY0" fmla="*/ 0 h 1121963"/>
                <a:gd name="connsiteX1" fmla="*/ 1598798 w 1601580"/>
                <a:gd name="connsiteY1" fmla="*/ 95366 h 1121963"/>
                <a:gd name="connsiteX2" fmla="*/ 1559529 w 1601580"/>
                <a:gd name="connsiteY2" fmla="*/ 179514 h 1121963"/>
                <a:gd name="connsiteX3" fmla="*/ 1475382 w 1601580"/>
                <a:gd name="connsiteY3" fmla="*/ 218782 h 1121963"/>
                <a:gd name="connsiteX4" fmla="*/ 1385625 w 1601580"/>
                <a:gd name="connsiteY4" fmla="*/ 224392 h 1121963"/>
                <a:gd name="connsiteX5" fmla="*/ 1290258 w 1601580"/>
                <a:gd name="connsiteY5" fmla="*/ 269271 h 1121963"/>
                <a:gd name="connsiteX6" fmla="*/ 1262209 w 1601580"/>
                <a:gd name="connsiteY6" fmla="*/ 364638 h 1121963"/>
                <a:gd name="connsiteX7" fmla="*/ 1228550 w 1601580"/>
                <a:gd name="connsiteY7" fmla="*/ 415126 h 1121963"/>
                <a:gd name="connsiteX8" fmla="*/ 1093914 w 1601580"/>
                <a:gd name="connsiteY8" fmla="*/ 471224 h 1121963"/>
                <a:gd name="connsiteX9" fmla="*/ 796594 w 1601580"/>
                <a:gd name="connsiteY9" fmla="*/ 560981 h 1121963"/>
                <a:gd name="connsiteX10" fmla="*/ 532933 w 1601580"/>
                <a:gd name="connsiteY10" fmla="*/ 639519 h 1121963"/>
                <a:gd name="connsiteX11" fmla="*/ 387078 w 1601580"/>
                <a:gd name="connsiteY11" fmla="*/ 718056 h 1121963"/>
                <a:gd name="connsiteX12" fmla="*/ 246832 w 1601580"/>
                <a:gd name="connsiteY12" fmla="*/ 863911 h 1121963"/>
                <a:gd name="connsiteX13" fmla="*/ 140246 w 1601580"/>
                <a:gd name="connsiteY13" fmla="*/ 1009766 h 1121963"/>
                <a:gd name="connsiteX14" fmla="*/ 0 w 1601580"/>
                <a:gd name="connsiteY14" fmla="*/ 1121963 h 1121963"/>
                <a:gd name="connsiteX0" fmla="*/ 1576223 w 1601580"/>
                <a:gd name="connsiteY0" fmla="*/ 0 h 1121963"/>
                <a:gd name="connsiteX1" fmla="*/ 1598798 w 1601580"/>
                <a:gd name="connsiteY1" fmla="*/ 95366 h 1121963"/>
                <a:gd name="connsiteX2" fmla="*/ 1559529 w 1601580"/>
                <a:gd name="connsiteY2" fmla="*/ 179514 h 1121963"/>
                <a:gd name="connsiteX3" fmla="*/ 1475382 w 1601580"/>
                <a:gd name="connsiteY3" fmla="*/ 218782 h 1121963"/>
                <a:gd name="connsiteX4" fmla="*/ 1385625 w 1601580"/>
                <a:gd name="connsiteY4" fmla="*/ 224392 h 1121963"/>
                <a:gd name="connsiteX5" fmla="*/ 1290258 w 1601580"/>
                <a:gd name="connsiteY5" fmla="*/ 269271 h 1121963"/>
                <a:gd name="connsiteX6" fmla="*/ 1262209 w 1601580"/>
                <a:gd name="connsiteY6" fmla="*/ 364638 h 1121963"/>
                <a:gd name="connsiteX7" fmla="*/ 1228550 w 1601580"/>
                <a:gd name="connsiteY7" fmla="*/ 415126 h 1121963"/>
                <a:gd name="connsiteX8" fmla="*/ 1093914 w 1601580"/>
                <a:gd name="connsiteY8" fmla="*/ 471224 h 1121963"/>
                <a:gd name="connsiteX9" fmla="*/ 796594 w 1601580"/>
                <a:gd name="connsiteY9" fmla="*/ 560981 h 1121963"/>
                <a:gd name="connsiteX10" fmla="*/ 532933 w 1601580"/>
                <a:gd name="connsiteY10" fmla="*/ 639519 h 1121963"/>
                <a:gd name="connsiteX11" fmla="*/ 387078 w 1601580"/>
                <a:gd name="connsiteY11" fmla="*/ 718056 h 1121963"/>
                <a:gd name="connsiteX12" fmla="*/ 246832 w 1601580"/>
                <a:gd name="connsiteY12" fmla="*/ 863911 h 1121963"/>
                <a:gd name="connsiteX13" fmla="*/ 140246 w 1601580"/>
                <a:gd name="connsiteY13" fmla="*/ 1009766 h 1121963"/>
                <a:gd name="connsiteX14" fmla="*/ 0 w 1601580"/>
                <a:gd name="connsiteY14" fmla="*/ 1121963 h 1121963"/>
                <a:gd name="connsiteX0" fmla="*/ 1576223 w 1576336"/>
                <a:gd name="connsiteY0" fmla="*/ 0 h 1121963"/>
                <a:gd name="connsiteX1" fmla="*/ 1559529 w 1576336"/>
                <a:gd name="connsiteY1" fmla="*/ 179514 h 1121963"/>
                <a:gd name="connsiteX2" fmla="*/ 1475382 w 1576336"/>
                <a:gd name="connsiteY2" fmla="*/ 218782 h 1121963"/>
                <a:gd name="connsiteX3" fmla="*/ 1385625 w 1576336"/>
                <a:gd name="connsiteY3" fmla="*/ 224392 h 1121963"/>
                <a:gd name="connsiteX4" fmla="*/ 1290258 w 1576336"/>
                <a:gd name="connsiteY4" fmla="*/ 269271 h 1121963"/>
                <a:gd name="connsiteX5" fmla="*/ 1262209 w 1576336"/>
                <a:gd name="connsiteY5" fmla="*/ 364638 h 1121963"/>
                <a:gd name="connsiteX6" fmla="*/ 1228550 w 1576336"/>
                <a:gd name="connsiteY6" fmla="*/ 415126 h 1121963"/>
                <a:gd name="connsiteX7" fmla="*/ 1093914 w 1576336"/>
                <a:gd name="connsiteY7" fmla="*/ 471224 h 1121963"/>
                <a:gd name="connsiteX8" fmla="*/ 796594 w 1576336"/>
                <a:gd name="connsiteY8" fmla="*/ 560981 h 1121963"/>
                <a:gd name="connsiteX9" fmla="*/ 532933 w 1576336"/>
                <a:gd name="connsiteY9" fmla="*/ 639519 h 1121963"/>
                <a:gd name="connsiteX10" fmla="*/ 387078 w 1576336"/>
                <a:gd name="connsiteY10" fmla="*/ 718056 h 1121963"/>
                <a:gd name="connsiteX11" fmla="*/ 246832 w 1576336"/>
                <a:gd name="connsiteY11" fmla="*/ 863911 h 1121963"/>
                <a:gd name="connsiteX12" fmla="*/ 140246 w 1576336"/>
                <a:gd name="connsiteY12" fmla="*/ 1009766 h 1121963"/>
                <a:gd name="connsiteX13" fmla="*/ 0 w 1576336"/>
                <a:gd name="connsiteY13" fmla="*/ 1121963 h 1121963"/>
                <a:gd name="connsiteX0" fmla="*/ 1576223 w 1595777"/>
                <a:gd name="connsiteY0" fmla="*/ 0 h 1121963"/>
                <a:gd name="connsiteX1" fmla="*/ 1559529 w 1595777"/>
                <a:gd name="connsiteY1" fmla="*/ 179514 h 1121963"/>
                <a:gd name="connsiteX2" fmla="*/ 1475382 w 1595777"/>
                <a:gd name="connsiteY2" fmla="*/ 218782 h 1121963"/>
                <a:gd name="connsiteX3" fmla="*/ 1385625 w 1595777"/>
                <a:gd name="connsiteY3" fmla="*/ 224392 h 1121963"/>
                <a:gd name="connsiteX4" fmla="*/ 1290258 w 1595777"/>
                <a:gd name="connsiteY4" fmla="*/ 269271 h 1121963"/>
                <a:gd name="connsiteX5" fmla="*/ 1262209 w 1595777"/>
                <a:gd name="connsiteY5" fmla="*/ 364638 h 1121963"/>
                <a:gd name="connsiteX6" fmla="*/ 1228550 w 1595777"/>
                <a:gd name="connsiteY6" fmla="*/ 415126 h 1121963"/>
                <a:gd name="connsiteX7" fmla="*/ 1093914 w 1595777"/>
                <a:gd name="connsiteY7" fmla="*/ 471224 h 1121963"/>
                <a:gd name="connsiteX8" fmla="*/ 796594 w 1595777"/>
                <a:gd name="connsiteY8" fmla="*/ 560981 h 1121963"/>
                <a:gd name="connsiteX9" fmla="*/ 532933 w 1595777"/>
                <a:gd name="connsiteY9" fmla="*/ 639519 h 1121963"/>
                <a:gd name="connsiteX10" fmla="*/ 387078 w 1595777"/>
                <a:gd name="connsiteY10" fmla="*/ 718056 h 1121963"/>
                <a:gd name="connsiteX11" fmla="*/ 246832 w 1595777"/>
                <a:gd name="connsiteY11" fmla="*/ 863911 h 1121963"/>
                <a:gd name="connsiteX12" fmla="*/ 140246 w 1595777"/>
                <a:gd name="connsiteY12" fmla="*/ 1009766 h 1121963"/>
                <a:gd name="connsiteX13" fmla="*/ 0 w 1595777"/>
                <a:gd name="connsiteY13" fmla="*/ 1121963 h 1121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95777" h="1121963">
                  <a:moveTo>
                    <a:pt x="1576223" y="0"/>
                  </a:moveTo>
                  <a:cubicBezTo>
                    <a:pt x="1595777" y="111397"/>
                    <a:pt x="1576336" y="143050"/>
                    <a:pt x="1559529" y="179514"/>
                  </a:cubicBezTo>
                  <a:cubicBezTo>
                    <a:pt x="1542722" y="215978"/>
                    <a:pt x="1504366" y="211302"/>
                    <a:pt x="1475382" y="218782"/>
                  </a:cubicBezTo>
                  <a:cubicBezTo>
                    <a:pt x="1446398" y="226262"/>
                    <a:pt x="1416479" y="215977"/>
                    <a:pt x="1385625" y="224392"/>
                  </a:cubicBezTo>
                  <a:cubicBezTo>
                    <a:pt x="1354771" y="232807"/>
                    <a:pt x="1310827" y="245897"/>
                    <a:pt x="1290258" y="269271"/>
                  </a:cubicBezTo>
                  <a:cubicBezTo>
                    <a:pt x="1269689" y="292645"/>
                    <a:pt x="1272494" y="340329"/>
                    <a:pt x="1262209" y="364638"/>
                  </a:cubicBezTo>
                  <a:cubicBezTo>
                    <a:pt x="1251924" y="388947"/>
                    <a:pt x="1256599" y="397362"/>
                    <a:pt x="1228550" y="415126"/>
                  </a:cubicBezTo>
                  <a:cubicBezTo>
                    <a:pt x="1200501" y="432890"/>
                    <a:pt x="1165907" y="446915"/>
                    <a:pt x="1093914" y="471224"/>
                  </a:cubicBezTo>
                  <a:cubicBezTo>
                    <a:pt x="1021921" y="495533"/>
                    <a:pt x="796594" y="560981"/>
                    <a:pt x="796594" y="560981"/>
                  </a:cubicBezTo>
                  <a:cubicBezTo>
                    <a:pt x="703097" y="589030"/>
                    <a:pt x="601186" y="613340"/>
                    <a:pt x="532933" y="639519"/>
                  </a:cubicBezTo>
                  <a:cubicBezTo>
                    <a:pt x="464680" y="665698"/>
                    <a:pt x="434762" y="680657"/>
                    <a:pt x="387078" y="718056"/>
                  </a:cubicBezTo>
                  <a:cubicBezTo>
                    <a:pt x="339394" y="755455"/>
                    <a:pt x="287971" y="815293"/>
                    <a:pt x="246832" y="863911"/>
                  </a:cubicBezTo>
                  <a:cubicBezTo>
                    <a:pt x="205693" y="912529"/>
                    <a:pt x="181385" y="966757"/>
                    <a:pt x="140246" y="1009766"/>
                  </a:cubicBezTo>
                  <a:cubicBezTo>
                    <a:pt x="99107" y="1052775"/>
                    <a:pt x="49553" y="1087369"/>
                    <a:pt x="0" y="1121963"/>
                  </a:cubicBezTo>
                </a:path>
              </a:pathLst>
            </a:custGeom>
            <a:ln w="25400">
              <a:solidFill>
                <a:srgbClr val="FF0000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86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7" name="Полилиния 16"/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3886308" y="5167321"/>
              <a:ext cx="471760" cy="2109732"/>
            </a:xfrm>
            <a:custGeom>
              <a:avLst/>
              <a:gdLst>
                <a:gd name="connsiteX0" fmla="*/ 353042 w 353042"/>
                <a:gd name="connsiteY0" fmla="*/ 1578820 h 1578820"/>
                <a:gd name="connsiteX1" fmla="*/ 297125 w 353042"/>
                <a:gd name="connsiteY1" fmla="*/ 1496590 h 1578820"/>
                <a:gd name="connsiteX2" fmla="*/ 254365 w 353042"/>
                <a:gd name="connsiteY2" fmla="*/ 1365021 h 1578820"/>
                <a:gd name="connsiteX3" fmla="*/ 198449 w 353042"/>
                <a:gd name="connsiteY3" fmla="*/ 1161090 h 1578820"/>
                <a:gd name="connsiteX4" fmla="*/ 126086 w 353042"/>
                <a:gd name="connsiteY4" fmla="*/ 980184 h 1578820"/>
                <a:gd name="connsiteX5" fmla="*/ 73459 w 353042"/>
                <a:gd name="connsiteY5" fmla="*/ 848616 h 1578820"/>
                <a:gd name="connsiteX6" fmla="*/ 24121 w 353042"/>
                <a:gd name="connsiteY6" fmla="*/ 730204 h 1578820"/>
                <a:gd name="connsiteX7" fmla="*/ 20832 w 353042"/>
                <a:gd name="connsiteY7" fmla="*/ 595347 h 1578820"/>
                <a:gd name="connsiteX8" fmla="*/ 1096 w 353042"/>
                <a:gd name="connsiteY8" fmla="*/ 348656 h 1578820"/>
                <a:gd name="connsiteX9" fmla="*/ 14253 w 353042"/>
                <a:gd name="connsiteY9" fmla="*/ 180906 h 1578820"/>
                <a:gd name="connsiteX10" fmla="*/ 60302 w 353042"/>
                <a:gd name="connsiteY10" fmla="*/ 105254 h 1578820"/>
                <a:gd name="connsiteX11" fmla="*/ 83327 w 353042"/>
                <a:gd name="connsiteY11" fmla="*/ 0 h 157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3042" h="1578820">
                  <a:moveTo>
                    <a:pt x="353042" y="1578820"/>
                  </a:moveTo>
                  <a:cubicBezTo>
                    <a:pt x="333306" y="1555521"/>
                    <a:pt x="313571" y="1532223"/>
                    <a:pt x="297125" y="1496590"/>
                  </a:cubicBezTo>
                  <a:cubicBezTo>
                    <a:pt x="280679" y="1460957"/>
                    <a:pt x="270811" y="1420938"/>
                    <a:pt x="254365" y="1365021"/>
                  </a:cubicBezTo>
                  <a:cubicBezTo>
                    <a:pt x="237919" y="1309104"/>
                    <a:pt x="219829" y="1225229"/>
                    <a:pt x="198449" y="1161090"/>
                  </a:cubicBezTo>
                  <a:cubicBezTo>
                    <a:pt x="177069" y="1096951"/>
                    <a:pt x="126086" y="980184"/>
                    <a:pt x="126086" y="980184"/>
                  </a:cubicBezTo>
                  <a:cubicBezTo>
                    <a:pt x="105254" y="928105"/>
                    <a:pt x="90453" y="890279"/>
                    <a:pt x="73459" y="848616"/>
                  </a:cubicBezTo>
                  <a:cubicBezTo>
                    <a:pt x="56465" y="806953"/>
                    <a:pt x="32892" y="772415"/>
                    <a:pt x="24121" y="730204"/>
                  </a:cubicBezTo>
                  <a:cubicBezTo>
                    <a:pt x="15350" y="687993"/>
                    <a:pt x="24669" y="658938"/>
                    <a:pt x="20832" y="595347"/>
                  </a:cubicBezTo>
                  <a:cubicBezTo>
                    <a:pt x="16995" y="531756"/>
                    <a:pt x="2192" y="417729"/>
                    <a:pt x="1096" y="348656"/>
                  </a:cubicBezTo>
                  <a:cubicBezTo>
                    <a:pt x="0" y="279583"/>
                    <a:pt x="4385" y="221473"/>
                    <a:pt x="14253" y="180906"/>
                  </a:cubicBezTo>
                  <a:cubicBezTo>
                    <a:pt x="24121" y="140339"/>
                    <a:pt x="48790" y="135405"/>
                    <a:pt x="60302" y="105254"/>
                  </a:cubicBezTo>
                  <a:cubicBezTo>
                    <a:pt x="71814" y="75103"/>
                    <a:pt x="77570" y="37551"/>
                    <a:pt x="83327" y="0"/>
                  </a:cubicBezTo>
                </a:path>
              </a:pathLst>
            </a:custGeom>
            <a:ln w="25400">
              <a:solidFill>
                <a:schemeClr val="accent4">
                  <a:lumMod val="20000"/>
                  <a:lumOff val="80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86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9" name="Полилиния 18"/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2273394" y="3049624"/>
              <a:ext cx="3043473" cy="3918033"/>
            </a:xfrm>
            <a:custGeom>
              <a:avLst/>
              <a:gdLst>
                <a:gd name="connsiteX0" fmla="*/ 1857784 w 2277585"/>
                <a:gd name="connsiteY0" fmla="*/ 2645028 h 2932063"/>
                <a:gd name="connsiteX1" fmla="*/ 2048518 w 2277585"/>
                <a:gd name="connsiteY1" fmla="*/ 2459904 h 2932063"/>
                <a:gd name="connsiteX2" fmla="*/ 2228032 w 2277585"/>
                <a:gd name="connsiteY2" fmla="*/ 2252340 h 2932063"/>
                <a:gd name="connsiteX3" fmla="*/ 2250471 w 2277585"/>
                <a:gd name="connsiteY3" fmla="*/ 2089656 h 2932063"/>
                <a:gd name="connsiteX4" fmla="*/ 2222422 w 2277585"/>
                <a:gd name="connsiteY4" fmla="*/ 1887702 h 2932063"/>
                <a:gd name="connsiteX5" fmla="*/ 2261691 w 2277585"/>
                <a:gd name="connsiteY5" fmla="*/ 1696969 h 2932063"/>
                <a:gd name="connsiteX6" fmla="*/ 2272910 w 2277585"/>
                <a:gd name="connsiteY6" fmla="*/ 1405258 h 2932063"/>
                <a:gd name="connsiteX7" fmla="*/ 2272910 w 2277585"/>
                <a:gd name="connsiteY7" fmla="*/ 1012571 h 2932063"/>
                <a:gd name="connsiteX8" fmla="*/ 2250471 w 2277585"/>
                <a:gd name="connsiteY8" fmla="*/ 799398 h 2932063"/>
                <a:gd name="connsiteX9" fmla="*/ 2110226 w 2277585"/>
                <a:gd name="connsiteY9" fmla="*/ 614274 h 2932063"/>
                <a:gd name="connsiteX10" fmla="*/ 1885833 w 2277585"/>
                <a:gd name="connsiteY10" fmla="*/ 406711 h 2932063"/>
                <a:gd name="connsiteX11" fmla="*/ 1678270 w 2277585"/>
                <a:gd name="connsiteY11" fmla="*/ 227197 h 2932063"/>
                <a:gd name="connsiteX12" fmla="*/ 1498756 w 2277585"/>
                <a:gd name="connsiteY12" fmla="*/ 148660 h 2932063"/>
                <a:gd name="connsiteX13" fmla="*/ 1263144 w 2277585"/>
                <a:gd name="connsiteY13" fmla="*/ 126220 h 2932063"/>
                <a:gd name="connsiteX14" fmla="*/ 1033141 w 2277585"/>
                <a:gd name="connsiteY14" fmla="*/ 14024 h 2932063"/>
                <a:gd name="connsiteX15" fmla="*/ 791919 w 2277585"/>
                <a:gd name="connsiteY15" fmla="*/ 42073 h 2932063"/>
                <a:gd name="connsiteX16" fmla="*/ 629234 w 2277585"/>
                <a:gd name="connsiteY16" fmla="*/ 148660 h 2932063"/>
                <a:gd name="connsiteX17" fmla="*/ 460940 w 2277585"/>
                <a:gd name="connsiteY17" fmla="*/ 249636 h 2932063"/>
                <a:gd name="connsiteX18" fmla="*/ 253377 w 2277585"/>
                <a:gd name="connsiteY18" fmla="*/ 328174 h 2932063"/>
                <a:gd name="connsiteX19" fmla="*/ 118741 w 2277585"/>
                <a:gd name="connsiteY19" fmla="*/ 457199 h 2932063"/>
                <a:gd name="connsiteX20" fmla="*/ 113131 w 2277585"/>
                <a:gd name="connsiteY20" fmla="*/ 659153 h 2932063"/>
                <a:gd name="connsiteX21" fmla="*/ 57033 w 2277585"/>
                <a:gd name="connsiteY21" fmla="*/ 956473 h 2932063"/>
                <a:gd name="connsiteX22" fmla="*/ 12155 w 2277585"/>
                <a:gd name="connsiteY22" fmla="*/ 1124767 h 2932063"/>
                <a:gd name="connsiteX23" fmla="*/ 12155 w 2277585"/>
                <a:gd name="connsiteY23" fmla="*/ 1354770 h 2932063"/>
                <a:gd name="connsiteX24" fmla="*/ 85082 w 2277585"/>
                <a:gd name="connsiteY24" fmla="*/ 1702579 h 2932063"/>
                <a:gd name="connsiteX25" fmla="*/ 225328 w 2277585"/>
                <a:gd name="connsiteY25" fmla="*/ 1977460 h 2932063"/>
                <a:gd name="connsiteX26" fmla="*/ 348744 w 2277585"/>
                <a:gd name="connsiteY26" fmla="*/ 2196242 h 2932063"/>
                <a:gd name="connsiteX27" fmla="*/ 573136 w 2277585"/>
                <a:gd name="connsiteY27" fmla="*/ 2555271 h 2932063"/>
                <a:gd name="connsiteX28" fmla="*/ 707772 w 2277585"/>
                <a:gd name="connsiteY28" fmla="*/ 2712345 h 2932063"/>
                <a:gd name="connsiteX29" fmla="*/ 898506 w 2277585"/>
                <a:gd name="connsiteY29" fmla="*/ 2790883 h 2932063"/>
                <a:gd name="connsiteX30" fmla="*/ 1195826 w 2277585"/>
                <a:gd name="connsiteY30" fmla="*/ 2897469 h 2932063"/>
                <a:gd name="connsiteX31" fmla="*/ 1408999 w 2277585"/>
                <a:gd name="connsiteY31" fmla="*/ 2925518 h 2932063"/>
                <a:gd name="connsiteX32" fmla="*/ 1599733 w 2277585"/>
                <a:gd name="connsiteY32" fmla="*/ 2858201 h 2932063"/>
                <a:gd name="connsiteX33" fmla="*/ 1717539 w 2277585"/>
                <a:gd name="connsiteY33" fmla="*/ 2774053 h 2932063"/>
                <a:gd name="connsiteX34" fmla="*/ 1857784 w 2277585"/>
                <a:gd name="connsiteY34" fmla="*/ 2645028 h 2932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277585" h="2932063">
                  <a:moveTo>
                    <a:pt x="1857784" y="2645028"/>
                  </a:moveTo>
                  <a:cubicBezTo>
                    <a:pt x="1912947" y="2592670"/>
                    <a:pt x="1986810" y="2525352"/>
                    <a:pt x="2048518" y="2459904"/>
                  </a:cubicBezTo>
                  <a:cubicBezTo>
                    <a:pt x="2110226" y="2394456"/>
                    <a:pt x="2194373" y="2314048"/>
                    <a:pt x="2228032" y="2252340"/>
                  </a:cubicBezTo>
                  <a:cubicBezTo>
                    <a:pt x="2261691" y="2190632"/>
                    <a:pt x="2251406" y="2150429"/>
                    <a:pt x="2250471" y="2089656"/>
                  </a:cubicBezTo>
                  <a:cubicBezTo>
                    <a:pt x="2249536" y="2028883"/>
                    <a:pt x="2220552" y="1953150"/>
                    <a:pt x="2222422" y="1887702"/>
                  </a:cubicBezTo>
                  <a:cubicBezTo>
                    <a:pt x="2224292" y="1822254"/>
                    <a:pt x="2253276" y="1777376"/>
                    <a:pt x="2261691" y="1696969"/>
                  </a:cubicBezTo>
                  <a:cubicBezTo>
                    <a:pt x="2270106" y="1616562"/>
                    <a:pt x="2271040" y="1519324"/>
                    <a:pt x="2272910" y="1405258"/>
                  </a:cubicBezTo>
                  <a:cubicBezTo>
                    <a:pt x="2274780" y="1291192"/>
                    <a:pt x="2276650" y="1113548"/>
                    <a:pt x="2272910" y="1012571"/>
                  </a:cubicBezTo>
                  <a:cubicBezTo>
                    <a:pt x="2269170" y="911594"/>
                    <a:pt x="2277585" y="865781"/>
                    <a:pt x="2250471" y="799398"/>
                  </a:cubicBezTo>
                  <a:cubicBezTo>
                    <a:pt x="2223357" y="733015"/>
                    <a:pt x="2170999" y="679722"/>
                    <a:pt x="2110226" y="614274"/>
                  </a:cubicBezTo>
                  <a:cubicBezTo>
                    <a:pt x="2049453" y="548826"/>
                    <a:pt x="1957826" y="471224"/>
                    <a:pt x="1885833" y="406711"/>
                  </a:cubicBezTo>
                  <a:cubicBezTo>
                    <a:pt x="1813840" y="342198"/>
                    <a:pt x="1742783" y="270205"/>
                    <a:pt x="1678270" y="227197"/>
                  </a:cubicBezTo>
                  <a:cubicBezTo>
                    <a:pt x="1613757" y="184189"/>
                    <a:pt x="1567944" y="165489"/>
                    <a:pt x="1498756" y="148660"/>
                  </a:cubicBezTo>
                  <a:cubicBezTo>
                    <a:pt x="1429568" y="131831"/>
                    <a:pt x="1340746" y="148659"/>
                    <a:pt x="1263144" y="126220"/>
                  </a:cubicBezTo>
                  <a:cubicBezTo>
                    <a:pt x="1185542" y="103781"/>
                    <a:pt x="1111678" y="28048"/>
                    <a:pt x="1033141" y="14024"/>
                  </a:cubicBezTo>
                  <a:cubicBezTo>
                    <a:pt x="954604" y="0"/>
                    <a:pt x="859237" y="19634"/>
                    <a:pt x="791919" y="42073"/>
                  </a:cubicBezTo>
                  <a:cubicBezTo>
                    <a:pt x="724601" y="64512"/>
                    <a:pt x="684397" y="114066"/>
                    <a:pt x="629234" y="148660"/>
                  </a:cubicBezTo>
                  <a:cubicBezTo>
                    <a:pt x="574071" y="183254"/>
                    <a:pt x="523583" y="219717"/>
                    <a:pt x="460940" y="249636"/>
                  </a:cubicBezTo>
                  <a:cubicBezTo>
                    <a:pt x="398297" y="279555"/>
                    <a:pt x="310410" y="293580"/>
                    <a:pt x="253377" y="328174"/>
                  </a:cubicBezTo>
                  <a:cubicBezTo>
                    <a:pt x="196344" y="362768"/>
                    <a:pt x="142115" y="402036"/>
                    <a:pt x="118741" y="457199"/>
                  </a:cubicBezTo>
                  <a:cubicBezTo>
                    <a:pt x="95367" y="512362"/>
                    <a:pt x="123416" y="575941"/>
                    <a:pt x="113131" y="659153"/>
                  </a:cubicBezTo>
                  <a:cubicBezTo>
                    <a:pt x="102846" y="742365"/>
                    <a:pt x="73862" y="878871"/>
                    <a:pt x="57033" y="956473"/>
                  </a:cubicBezTo>
                  <a:cubicBezTo>
                    <a:pt x="40204" y="1034075"/>
                    <a:pt x="19635" y="1058384"/>
                    <a:pt x="12155" y="1124767"/>
                  </a:cubicBezTo>
                  <a:cubicBezTo>
                    <a:pt x="4675" y="1191150"/>
                    <a:pt x="0" y="1258468"/>
                    <a:pt x="12155" y="1354770"/>
                  </a:cubicBezTo>
                  <a:cubicBezTo>
                    <a:pt x="24310" y="1451072"/>
                    <a:pt x="49553" y="1598797"/>
                    <a:pt x="85082" y="1702579"/>
                  </a:cubicBezTo>
                  <a:cubicBezTo>
                    <a:pt x="120611" y="1806361"/>
                    <a:pt x="181384" y="1895183"/>
                    <a:pt x="225328" y="1977460"/>
                  </a:cubicBezTo>
                  <a:cubicBezTo>
                    <a:pt x="269272" y="2059737"/>
                    <a:pt x="290776" y="2099940"/>
                    <a:pt x="348744" y="2196242"/>
                  </a:cubicBezTo>
                  <a:cubicBezTo>
                    <a:pt x="406712" y="2292544"/>
                    <a:pt x="513298" y="2469254"/>
                    <a:pt x="573136" y="2555271"/>
                  </a:cubicBezTo>
                  <a:cubicBezTo>
                    <a:pt x="632974" y="2641288"/>
                    <a:pt x="653544" y="2673076"/>
                    <a:pt x="707772" y="2712345"/>
                  </a:cubicBezTo>
                  <a:cubicBezTo>
                    <a:pt x="762000" y="2751614"/>
                    <a:pt x="817164" y="2760029"/>
                    <a:pt x="898506" y="2790883"/>
                  </a:cubicBezTo>
                  <a:cubicBezTo>
                    <a:pt x="979848" y="2821737"/>
                    <a:pt x="1110744" y="2875030"/>
                    <a:pt x="1195826" y="2897469"/>
                  </a:cubicBezTo>
                  <a:cubicBezTo>
                    <a:pt x="1280908" y="2919908"/>
                    <a:pt x="1341681" y="2932063"/>
                    <a:pt x="1408999" y="2925518"/>
                  </a:cubicBezTo>
                  <a:cubicBezTo>
                    <a:pt x="1476317" y="2918973"/>
                    <a:pt x="1548310" y="2883445"/>
                    <a:pt x="1599733" y="2858201"/>
                  </a:cubicBezTo>
                  <a:cubicBezTo>
                    <a:pt x="1651156" y="2832957"/>
                    <a:pt x="1675466" y="2809582"/>
                    <a:pt x="1717539" y="2774053"/>
                  </a:cubicBezTo>
                  <a:cubicBezTo>
                    <a:pt x="1759613" y="2738524"/>
                    <a:pt x="1802621" y="2697386"/>
                    <a:pt x="1857784" y="2645028"/>
                  </a:cubicBezTo>
                  <a:close/>
                </a:path>
              </a:pathLst>
            </a:custGeom>
            <a:noFill/>
            <a:ln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86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0" name="TextBox 19"/>
            <p:cNvSpPr txBox="1"/>
            <p:nvPr>
              <p:custDataLst>
                <p:tags r:id="rId69"/>
              </p:custDataLst>
            </p:nvPr>
          </p:nvSpPr>
          <p:spPr>
            <a:xfrm>
              <a:off x="176925" y="1614171"/>
              <a:ext cx="1186205" cy="344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>
                  <a:solidFill>
                    <a:prstClr val="white"/>
                  </a:solidFill>
                  <a:latin typeface="+mj-lt"/>
                </a:rPr>
                <a:t>Зеленоград</a:t>
              </a:r>
              <a:endParaRPr lang="ru-RU" sz="75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1" name="TextBox 20"/>
            <p:cNvSpPr txBox="1"/>
            <p:nvPr>
              <p:custDataLst>
                <p:tags r:id="rId70"/>
              </p:custDataLst>
            </p:nvPr>
          </p:nvSpPr>
          <p:spPr>
            <a:xfrm>
              <a:off x="2862191" y="1523864"/>
              <a:ext cx="1186205" cy="344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>
                  <a:solidFill>
                    <a:prstClr val="white"/>
                  </a:solidFill>
                  <a:latin typeface="+mj-lt"/>
                </a:rPr>
                <a:t>Лобня</a:t>
              </a:r>
              <a:endParaRPr lang="ru-RU" sz="75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2" name="TextBox 21"/>
            <p:cNvSpPr txBox="1"/>
            <p:nvPr>
              <p:custDataLst>
                <p:tags r:id="rId71"/>
              </p:custDataLst>
            </p:nvPr>
          </p:nvSpPr>
          <p:spPr>
            <a:xfrm>
              <a:off x="5316867" y="1535663"/>
              <a:ext cx="1186205" cy="344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>
                  <a:solidFill>
                    <a:prstClr val="white"/>
                  </a:solidFill>
                  <a:latin typeface="+mj-lt"/>
                </a:rPr>
                <a:t>Пушкино</a:t>
              </a:r>
              <a:endParaRPr lang="ru-RU" sz="75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3" name="TextBox 22"/>
            <p:cNvSpPr txBox="1"/>
            <p:nvPr>
              <p:custDataLst>
                <p:tags r:id="rId72"/>
              </p:custDataLst>
            </p:nvPr>
          </p:nvSpPr>
          <p:spPr>
            <a:xfrm>
              <a:off x="5334795" y="3002786"/>
              <a:ext cx="1186205" cy="344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>
                  <a:solidFill>
                    <a:prstClr val="white"/>
                  </a:solidFill>
                  <a:latin typeface="+mj-lt"/>
                </a:rPr>
                <a:t>Королёв</a:t>
              </a:r>
              <a:endParaRPr lang="ru-RU" sz="75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4" name="TextBox 23"/>
            <p:cNvSpPr txBox="1"/>
            <p:nvPr>
              <p:custDataLst>
                <p:tags r:id="rId73"/>
              </p:custDataLst>
            </p:nvPr>
          </p:nvSpPr>
          <p:spPr>
            <a:xfrm>
              <a:off x="770028" y="3466837"/>
              <a:ext cx="1186205" cy="344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>
                  <a:solidFill>
                    <a:prstClr val="white"/>
                  </a:solidFill>
                  <a:latin typeface="+mj-lt"/>
                </a:rPr>
                <a:t>Нахабино</a:t>
              </a:r>
              <a:endParaRPr lang="ru-RU" sz="75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5" name="TextBox 24"/>
            <p:cNvSpPr txBox="1"/>
            <p:nvPr>
              <p:custDataLst>
                <p:tags r:id="rId74"/>
              </p:custDataLst>
            </p:nvPr>
          </p:nvSpPr>
          <p:spPr>
            <a:xfrm>
              <a:off x="857269" y="5490189"/>
              <a:ext cx="1186205" cy="344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>
                  <a:solidFill>
                    <a:prstClr val="white"/>
                  </a:solidFill>
                  <a:latin typeface="+mj-lt"/>
                </a:rPr>
                <a:t>Одинцово</a:t>
              </a:r>
              <a:endParaRPr lang="ru-RU" sz="75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75"/>
              </p:custDataLst>
            </p:nvPr>
          </p:nvSpPr>
          <p:spPr>
            <a:xfrm>
              <a:off x="176925" y="7123165"/>
              <a:ext cx="1186205" cy="344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>
                  <a:solidFill>
                    <a:prstClr val="white"/>
                  </a:solidFill>
                  <a:latin typeface="+mj-lt"/>
                </a:rPr>
                <a:t>Апрелевка</a:t>
              </a:r>
              <a:endParaRPr lang="ru-RU" sz="75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7" name="TextBox 26"/>
            <p:cNvSpPr txBox="1"/>
            <p:nvPr>
              <p:custDataLst>
                <p:tags r:id="rId76"/>
              </p:custDataLst>
            </p:nvPr>
          </p:nvSpPr>
          <p:spPr>
            <a:xfrm>
              <a:off x="3439020" y="8244847"/>
              <a:ext cx="1186205" cy="344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>
                  <a:solidFill>
                    <a:prstClr val="white"/>
                  </a:solidFill>
                  <a:latin typeface="+mj-lt"/>
                </a:rPr>
                <a:t>Подольск</a:t>
              </a:r>
              <a:endParaRPr lang="ru-RU" sz="75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35" name="TextBox 34"/>
            <p:cNvSpPr txBox="1"/>
            <p:nvPr>
              <p:custDataLst>
                <p:tags r:id="rId77"/>
              </p:custDataLst>
            </p:nvPr>
          </p:nvSpPr>
          <p:spPr>
            <a:xfrm>
              <a:off x="6864708" y="7016156"/>
              <a:ext cx="1186205" cy="344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>
                  <a:solidFill>
                    <a:prstClr val="white"/>
                  </a:solidFill>
                  <a:latin typeface="+mj-lt"/>
                </a:rPr>
                <a:t>Раменское</a:t>
              </a:r>
              <a:endParaRPr lang="ru-RU" sz="75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36" name="TextBox 35"/>
            <p:cNvSpPr txBox="1"/>
            <p:nvPr>
              <p:custDataLst>
                <p:tags r:id="rId78"/>
              </p:custDataLst>
            </p:nvPr>
          </p:nvSpPr>
          <p:spPr>
            <a:xfrm>
              <a:off x="6050185" y="4872438"/>
              <a:ext cx="1847855" cy="344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>
                  <a:solidFill>
                    <a:prstClr val="white"/>
                  </a:solidFill>
                  <a:latin typeface="+mj-lt"/>
                </a:rPr>
                <a:t>Железнодорожный</a:t>
              </a:r>
              <a:endParaRPr lang="ru-RU" sz="75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9" name="Прямоугольник 28"/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5578082" y="2566331"/>
              <a:ext cx="449722" cy="415781"/>
            </a:xfrm>
            <a:prstGeom prst="rect">
              <a:avLst/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86" b="1" dirty="0">
                  <a:solidFill>
                    <a:prstClr val="black"/>
                  </a:solidFill>
                  <a:latin typeface="+mj-lt"/>
                </a:rPr>
                <a:t>5</a:t>
              </a:r>
            </a:p>
          </p:txBody>
        </p:sp>
      </p:grpSp>
      <p:graphicFrame>
        <p:nvGraphicFramePr>
          <p:cNvPr id="12" name="Объект 1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7087363" y="972489"/>
          <a:ext cx="986564" cy="44291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Диаграмма" r:id="rId84" imgW="1381017" imgH="6200644" progId="MSGraph.Chart.8">
                  <p:embed followColorScheme="full"/>
                </p:oleObj>
              </mc:Choice>
              <mc:Fallback>
                <p:oleObj name="Диаграмма" r:id="rId84" imgW="1381017" imgH="6200644" progId="MSGraph.Chart.8">
                  <p:embed followColorScheme="full"/>
                  <p:pic>
                    <p:nvPicPr>
                      <p:cNvPr id="12" name="Объект 11"/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7087363" y="972489"/>
                        <a:ext cx="986564" cy="44291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>
            <p:custDataLst>
              <p:tags r:id="rId7"/>
            </p:custDataLst>
          </p:nvPr>
        </p:nvSpPr>
        <p:spPr bwMode="auto">
          <a:xfrm>
            <a:off x="7252888" y="1382706"/>
            <a:ext cx="169575" cy="15921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E4836C8-151E-497F-A16A-26C2E0230F03}" type="datetime'''''''''''''''''''''''5''''''''''''''''''''''2'">
              <a:rPr lang="en-US" sz="1143" b="1">
                <a:solidFill>
                  <a:schemeClr val="tx1"/>
                </a:solidFill>
                <a:latin typeface="+mj-lt"/>
              </a:rPr>
              <a:pPr/>
              <a:t>52</a:t>
            </a:fld>
            <a:endParaRPr lang="ru-RU" sz="1143" b="1" dirty="0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8"/>
            </p:custDataLst>
          </p:nvPr>
        </p:nvSpPr>
        <p:spPr bwMode="auto">
          <a:xfrm>
            <a:off x="7313015" y="3946783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654B35-4BBC-41F2-B7AF-520AAEA49FCF}" type="datetime'''''''''''''7''''''''5'''''">
              <a:rPr lang="en-US" sz="1143" b="1">
                <a:solidFill>
                  <a:schemeClr val="tx1"/>
                </a:solidFill>
                <a:latin typeface="+mj-lt"/>
              </a:rPr>
              <a:pPr/>
              <a:t>75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9"/>
            </p:custDataLst>
          </p:nvPr>
        </p:nvSpPr>
        <p:spPr bwMode="auto">
          <a:xfrm>
            <a:off x="7313015" y="4804033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3294122-6E07-4C7E-AC2B-6E9D8B58758D}" type="datetime'''''''''''''''''''''''''''''''''''''''''''''''''75'''''''">
              <a:rPr lang="en-US" sz="1143" b="1">
                <a:solidFill>
                  <a:schemeClr val="tx1"/>
                </a:solidFill>
                <a:latin typeface="+mj-lt"/>
              </a:rPr>
              <a:pPr/>
              <a:t>75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0"/>
            </p:custDataLst>
          </p:nvPr>
        </p:nvSpPr>
        <p:spPr bwMode="auto">
          <a:xfrm>
            <a:off x="7336828" y="3092935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3C5A389-A4D2-4973-B990-B2A1C16E88D5}" type="datetime'''''''''''''''''''84'''''''''''''''''''">
              <a:rPr lang="en-US" sz="1143" b="1">
                <a:solidFill>
                  <a:schemeClr val="tx1"/>
                </a:solidFill>
                <a:latin typeface="+mj-lt"/>
              </a:rPr>
              <a:pPr/>
              <a:t>84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11"/>
            </p:custDataLst>
          </p:nvPr>
        </p:nvSpPr>
        <p:spPr bwMode="auto">
          <a:xfrm>
            <a:off x="7254875" y="2016125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43" b="1" dirty="0">
              <a:solidFill>
                <a:schemeClr val="tx1"/>
              </a:solidFill>
              <a:latin typeface="+mj-lt"/>
              <a:sym typeface="Calibri"/>
            </a:endParaRPr>
          </a:p>
        </p:txBody>
      </p:sp>
      <p:graphicFrame>
        <p:nvGraphicFramePr>
          <p:cNvPr id="57" name="Объект 56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7647524" y="972489"/>
          <a:ext cx="986564" cy="44291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Диаграмма" r:id="rId86" imgW="1381017" imgH="6200644" progId="MSGraph.Chart.8">
                  <p:embed followColorScheme="full"/>
                </p:oleObj>
              </mc:Choice>
              <mc:Fallback>
                <p:oleObj name="Диаграмма" r:id="rId86" imgW="1381017" imgH="6200644" progId="MSGraph.Chart.8">
                  <p:embed followColorScheme="full"/>
                  <p:pic>
                    <p:nvPicPr>
                      <p:cNvPr id="57" name="Объект 56"/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7647524" y="972489"/>
                        <a:ext cx="986564" cy="44291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Прямоугольник 42"/>
          <p:cNvSpPr/>
          <p:nvPr>
            <p:custDataLst>
              <p:tags r:id="rId13"/>
            </p:custDataLst>
          </p:nvPr>
        </p:nvSpPr>
        <p:spPr bwMode="auto">
          <a:xfrm>
            <a:off x="7873176" y="3946783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A8E1A1-9473-4913-99A2-8CF4C51F572C}" type="datetime'''''''''''''''''''''''''''''''''''''3''6'">
              <a:rPr lang="en-US" sz="1143" b="1">
                <a:solidFill>
                  <a:schemeClr val="tx1"/>
                </a:solidFill>
                <a:latin typeface="+mj-lt"/>
              </a:rPr>
              <a:pPr/>
              <a:t>36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14"/>
            </p:custDataLst>
          </p:nvPr>
        </p:nvSpPr>
        <p:spPr bwMode="auto">
          <a:xfrm>
            <a:off x="7896988" y="3092935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34419A6-25B8-4A73-8CA8-7322472A5626}" type="datetime'''''''''''''''''4''''''''''''''''''''''''''''''''''''0'''''">
              <a:rPr lang="en-US" sz="1143" b="1">
                <a:solidFill>
                  <a:schemeClr val="tx1"/>
                </a:solidFill>
                <a:latin typeface="+mj-lt"/>
              </a:rPr>
              <a:pPr/>
              <a:t>40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44" name="Прямоугольник 43"/>
          <p:cNvSpPr/>
          <p:nvPr>
            <p:custDataLst>
              <p:tags r:id="rId15"/>
            </p:custDataLst>
          </p:nvPr>
        </p:nvSpPr>
        <p:spPr bwMode="auto">
          <a:xfrm>
            <a:off x="7845962" y="4804033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A54B6E-222B-457E-BE64-1718A4846A07}" type="datetime'''3''''''''''''''''''''''''''''''''''''''''''''''1'">
              <a:rPr lang="en-US" sz="1143" b="1">
                <a:solidFill>
                  <a:schemeClr val="tx1"/>
                </a:solidFill>
                <a:latin typeface="+mj-lt"/>
              </a:rPr>
              <a:pPr/>
              <a:t>31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16"/>
            </p:custDataLst>
          </p:nvPr>
        </p:nvSpPr>
        <p:spPr bwMode="auto">
          <a:xfrm>
            <a:off x="7828953" y="2239087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1B768B-0C5A-486D-AE14-C5EF50151889}" type="datetime'''''2''''''''''''8'''''''''''''''''''''''''''''''''''''''">
              <a:rPr lang="en-US" sz="1143" b="1">
                <a:solidFill>
                  <a:schemeClr val="tx1"/>
                </a:solidFill>
                <a:latin typeface="+mj-lt"/>
              </a:rPr>
              <a:pPr/>
              <a:t>28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7"/>
            </p:custDataLst>
          </p:nvPr>
        </p:nvSpPr>
        <p:spPr bwMode="auto">
          <a:xfrm>
            <a:off x="7818748" y="1381837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DC3D26A-87AF-48DA-8421-BCC3D57D37B5}" type="datetime'''''''''''''''''''2''6'''''''''''">
              <a:rPr lang="en-US" sz="1143" b="1">
                <a:solidFill>
                  <a:schemeClr val="tx1"/>
                </a:solidFill>
                <a:latin typeface="+mj-lt"/>
              </a:rPr>
              <a:pPr/>
              <a:t>26</a:t>
            </a:fld>
            <a:endParaRPr lang="ru-RU" sz="1143" b="1" dirty="0">
              <a:solidFill>
                <a:schemeClr val="tx1"/>
              </a:solidFill>
              <a:latin typeface="+mj-lt"/>
              <a:sym typeface="Calibri"/>
            </a:endParaRPr>
          </a:p>
        </p:txBody>
      </p:sp>
      <p:graphicFrame>
        <p:nvGraphicFramePr>
          <p:cNvPr id="69" name="Объект 68"/>
          <p:cNvGraphicFramePr>
            <a:graphicFrameLocks/>
          </p:cNvGraphicFramePr>
          <p:nvPr>
            <p:custDataLst>
              <p:tags r:id="rId18"/>
            </p:custDataLst>
          </p:nvPr>
        </p:nvGraphicFramePr>
        <p:xfrm>
          <a:off x="8161194" y="972489"/>
          <a:ext cx="986564" cy="44291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Диаграмма" r:id="rId88" imgW="1381017" imgH="6200644" progId="MSGraph.Chart.8">
                  <p:embed followColorScheme="full"/>
                </p:oleObj>
              </mc:Choice>
              <mc:Fallback>
                <p:oleObj name="Диаграмма" r:id="rId88" imgW="1381017" imgH="6200644" progId="MSGraph.Chart.8">
                  <p:embed followColorScheme="full"/>
                  <p:pic>
                    <p:nvPicPr>
                      <p:cNvPr id="69" name="Объект 68"/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8161194" y="972489"/>
                        <a:ext cx="986564" cy="44291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/>
          <p:cNvSpPr/>
          <p:nvPr>
            <p:custDataLst>
              <p:tags r:id="rId19"/>
            </p:custDataLst>
          </p:nvPr>
        </p:nvSpPr>
        <p:spPr bwMode="auto">
          <a:xfrm>
            <a:off x="8454881" y="3946783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C5435B8-4A19-492B-BCDF-01BB6981B9C0}" type="datetime'''''''8''''''''''''''''6'''''''''''''''''''''''''''''''''''''">
              <a:rPr lang="en-US" sz="1143" b="1">
                <a:solidFill>
                  <a:schemeClr val="tx1"/>
                </a:solidFill>
                <a:latin typeface="+mj-lt"/>
              </a:rPr>
              <a:pPr/>
              <a:t>86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20"/>
            </p:custDataLst>
          </p:nvPr>
        </p:nvSpPr>
        <p:spPr bwMode="auto">
          <a:xfrm>
            <a:off x="8393649" y="4804033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53C262-A262-4143-9118-AA905C5BAE1E}" type="datetime'''''''''''6''''''''''''''''''''''''''''''7'''''''''''''''''''">
              <a:rPr lang="en-US" sz="1143" b="1">
                <a:solidFill>
                  <a:schemeClr val="tx1"/>
                </a:solidFill>
                <a:latin typeface="+mj-lt"/>
              </a:rPr>
              <a:pPr/>
              <a:t>67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21"/>
            </p:custDataLst>
          </p:nvPr>
        </p:nvSpPr>
        <p:spPr bwMode="auto">
          <a:xfrm>
            <a:off x="8458283" y="3092935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63D4201-A763-43E7-AF8B-CEB4E0539B74}" type="datetime'''''''''''''''''''''''''''''''''''''''''''''8''7'''''''''''''">
              <a:rPr lang="en-US" sz="1143" b="1">
                <a:solidFill>
                  <a:schemeClr val="tx1"/>
                </a:solidFill>
                <a:latin typeface="+mj-lt"/>
              </a:rPr>
              <a:pPr/>
              <a:t>87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22"/>
            </p:custDataLst>
          </p:nvPr>
        </p:nvSpPr>
        <p:spPr bwMode="auto">
          <a:xfrm>
            <a:off x="8465087" y="2239087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B953CA7-17B6-4BA9-A85E-58BC6FC68B2C}" type="datetime'''''''''''''''''''''''8''''''''''''9'''''''''''">
              <a:rPr lang="en-US" sz="1143" b="1">
                <a:solidFill>
                  <a:schemeClr val="tx1"/>
                </a:solidFill>
                <a:latin typeface="+mj-lt"/>
              </a:rPr>
              <a:pPr/>
              <a:t>89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23"/>
            </p:custDataLst>
          </p:nvPr>
        </p:nvSpPr>
        <p:spPr bwMode="auto">
          <a:xfrm>
            <a:off x="8397051" y="1381837"/>
            <a:ext cx="188232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D7791D-D95E-4076-8846-7339771C59DA}" type="datetime'''''''''''''''''''''''''''''''''''68'''''''''''''''''''''''''">
              <a:rPr lang="en-US" sz="1143" b="1">
                <a:solidFill>
                  <a:schemeClr val="tx1"/>
                </a:solidFill>
                <a:latin typeface="+mj-lt"/>
              </a:rPr>
              <a:pPr/>
              <a:t>68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161" name="Прямоугольник 160"/>
          <p:cNvSpPr>
            <a:spLocks noChangeAspect="1"/>
          </p:cNvSpPr>
          <p:nvPr>
            <p:custDataLst>
              <p:tags r:id="rId24"/>
            </p:custDataLst>
          </p:nvPr>
        </p:nvSpPr>
        <p:spPr>
          <a:xfrm>
            <a:off x="6057756" y="1317203"/>
            <a:ext cx="321230" cy="296986"/>
          </a:xfrm>
          <a:prstGeom prst="rect">
            <a:avLst/>
          </a:prstGeom>
          <a:solidFill>
            <a:srgbClr val="FF00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86" b="1" dirty="0">
                <a:solidFill>
                  <a:prstClr val="white"/>
                </a:solidFill>
                <a:latin typeface="+mj-lt"/>
              </a:rPr>
              <a:t>1</a:t>
            </a:r>
          </a:p>
        </p:txBody>
      </p:sp>
      <p:sp>
        <p:nvSpPr>
          <p:cNvPr id="164" name="Прямоугольник 163"/>
          <p:cNvSpPr>
            <a:spLocks noChangeAspect="1"/>
          </p:cNvSpPr>
          <p:nvPr>
            <p:custDataLst>
              <p:tags r:id="rId25"/>
            </p:custDataLst>
          </p:nvPr>
        </p:nvSpPr>
        <p:spPr>
          <a:xfrm>
            <a:off x="6057756" y="2174453"/>
            <a:ext cx="321230" cy="296986"/>
          </a:xfrm>
          <a:prstGeom prst="rect">
            <a:avLst/>
          </a:prstGeom>
          <a:solidFill>
            <a:srgbClr val="F79635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86" b="1" dirty="0">
                <a:solidFill>
                  <a:prstClr val="white"/>
                </a:solidFill>
                <a:latin typeface="+mj-lt"/>
              </a:rPr>
              <a:t>2</a:t>
            </a:r>
          </a:p>
        </p:txBody>
      </p:sp>
      <p:sp>
        <p:nvSpPr>
          <p:cNvPr id="165" name="Прямоугольник 164"/>
          <p:cNvSpPr>
            <a:spLocks noChangeAspect="1"/>
          </p:cNvSpPr>
          <p:nvPr>
            <p:custDataLst>
              <p:tags r:id="rId26"/>
            </p:custDataLst>
          </p:nvPr>
        </p:nvSpPr>
        <p:spPr>
          <a:xfrm>
            <a:off x="6057756" y="3031703"/>
            <a:ext cx="321230" cy="296986"/>
          </a:xfrm>
          <a:prstGeom prst="rect">
            <a:avLst/>
          </a:prstGeom>
          <a:solidFill>
            <a:srgbClr val="FFFF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86" b="1" dirty="0">
                <a:solidFill>
                  <a:prstClr val="black"/>
                </a:solidFill>
                <a:latin typeface="+mj-lt"/>
              </a:rPr>
              <a:t>3</a:t>
            </a:r>
          </a:p>
        </p:txBody>
      </p:sp>
      <p:sp>
        <p:nvSpPr>
          <p:cNvPr id="166" name="Прямоугольник 165"/>
          <p:cNvSpPr>
            <a:spLocks noChangeAspect="1"/>
          </p:cNvSpPr>
          <p:nvPr>
            <p:custDataLst>
              <p:tags r:id="rId27"/>
            </p:custDataLst>
          </p:nvPr>
        </p:nvSpPr>
        <p:spPr>
          <a:xfrm>
            <a:off x="6057756" y="3888953"/>
            <a:ext cx="321230" cy="296986"/>
          </a:xfrm>
          <a:prstGeom prst="rect">
            <a:avLst/>
          </a:prstGeom>
          <a:solidFill>
            <a:srgbClr val="13FF0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86" b="1" dirty="0">
                <a:solidFill>
                  <a:prstClr val="black"/>
                </a:solidFill>
                <a:latin typeface="+mj-lt"/>
              </a:rPr>
              <a:t>4</a:t>
            </a:r>
          </a:p>
        </p:txBody>
      </p:sp>
      <p:sp>
        <p:nvSpPr>
          <p:cNvPr id="167" name="Прямоугольник 166"/>
          <p:cNvSpPr>
            <a:spLocks noChangeAspect="1"/>
          </p:cNvSpPr>
          <p:nvPr>
            <p:custDataLst>
              <p:tags r:id="rId28"/>
            </p:custDataLst>
          </p:nvPr>
        </p:nvSpPr>
        <p:spPr>
          <a:xfrm>
            <a:off x="6057756" y="4746203"/>
            <a:ext cx="321230" cy="296986"/>
          </a:xfrm>
          <a:prstGeom prst="rect">
            <a:avLst/>
          </a:prstGeom>
          <a:solidFill>
            <a:srgbClr val="00B0F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86" b="1" dirty="0">
                <a:solidFill>
                  <a:prstClr val="black"/>
                </a:solidFill>
                <a:latin typeface="+mj-lt"/>
              </a:rPr>
              <a:t>5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DD572BD0-90A1-402F-943B-D5CEE1FE09F6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6359381" y="1257105"/>
            <a:ext cx="929170" cy="44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43" b="1" dirty="0">
                <a:solidFill>
                  <a:prstClr val="black"/>
                </a:solidFill>
                <a:latin typeface="+mj-lt"/>
              </a:rPr>
              <a:t>Лобня – Одинцово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DD572BD0-90A1-402F-943B-D5CEE1FE09F6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6364881" y="2043399"/>
            <a:ext cx="923670" cy="61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43" b="1" dirty="0">
                <a:solidFill>
                  <a:prstClr val="black"/>
                </a:solidFill>
                <a:latin typeface="+mj-lt"/>
              </a:rPr>
              <a:t>Нахабино – Железно-дорожный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DD572BD0-90A1-402F-943B-D5CEE1FE09F6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6359381" y="2900447"/>
            <a:ext cx="929170" cy="61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43" b="1" dirty="0">
                <a:solidFill>
                  <a:prstClr val="black"/>
                </a:solidFill>
                <a:latin typeface="+mj-lt"/>
              </a:rPr>
              <a:t>Зеленоград (Крюково) – </a:t>
            </a:r>
          </a:p>
          <a:p>
            <a:r>
              <a:rPr lang="ru-RU" sz="1143" b="1" dirty="0">
                <a:solidFill>
                  <a:prstClr val="black"/>
                </a:solidFill>
                <a:latin typeface="+mj-lt"/>
              </a:rPr>
              <a:t>Раменское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DD572BD0-90A1-402F-943B-D5CEE1FE09F6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6359381" y="3817515"/>
            <a:ext cx="1058599" cy="44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43" b="1" dirty="0">
                <a:solidFill>
                  <a:prstClr val="black"/>
                </a:solidFill>
                <a:latin typeface="+mj-lt"/>
              </a:rPr>
              <a:t>Пушкино-Подольск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DD572BD0-90A1-402F-943B-D5CEE1FE09F6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6359381" y="4674765"/>
            <a:ext cx="1058599" cy="44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43" b="1" dirty="0">
                <a:solidFill>
                  <a:prstClr val="black"/>
                </a:solidFill>
                <a:latin typeface="+mj-lt"/>
              </a:rPr>
              <a:t>Королёв-Апрелевка</a:t>
            </a:r>
          </a:p>
        </p:txBody>
      </p:sp>
      <p:sp>
        <p:nvSpPr>
          <p:cNvPr id="185" name="Line 6"/>
          <p:cNvSpPr>
            <a:spLocks noChangeShapeType="1"/>
          </p:cNvSpPr>
          <p:nvPr>
            <p:custDataLst>
              <p:tags r:id="rId34"/>
            </p:custDataLst>
          </p:nvPr>
        </p:nvSpPr>
        <p:spPr bwMode="auto">
          <a:xfrm>
            <a:off x="8285953" y="1024404"/>
            <a:ext cx="59185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ru-RU" sz="1286">
              <a:latin typeface="+mj-lt"/>
            </a:endParaRPr>
          </a:p>
        </p:txBody>
      </p:sp>
      <p:sp>
        <p:nvSpPr>
          <p:cNvPr id="186" name="Rectangle 7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8254176" y="377793"/>
            <a:ext cx="652175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639549">
              <a:buClr>
                <a:schemeClr val="tx2"/>
              </a:buClr>
            </a:pPr>
            <a:r>
              <a:rPr lang="ru-RU" sz="1000" b="1" dirty="0">
                <a:latin typeface="+mj-lt"/>
              </a:rPr>
              <a:t>Диаметр. пасс. поток,</a:t>
            </a:r>
          </a:p>
          <a:p>
            <a:pPr defTabSz="639549">
              <a:buClr>
                <a:schemeClr val="tx2"/>
              </a:buClr>
            </a:pPr>
            <a:r>
              <a:rPr lang="ru-RU" sz="1000" dirty="0">
                <a:latin typeface="+mj-lt"/>
              </a:rPr>
              <a:t>тыс. чел./ </a:t>
            </a:r>
            <a:r>
              <a:rPr lang="ru-RU" sz="1000" dirty="0" err="1">
                <a:latin typeface="+mj-lt"/>
              </a:rPr>
              <a:t>сут</a:t>
            </a:r>
            <a:endParaRPr lang="ru-RU" sz="1000" dirty="0">
              <a:latin typeface="+mj-lt"/>
            </a:endParaRPr>
          </a:p>
        </p:txBody>
      </p:sp>
      <p:sp>
        <p:nvSpPr>
          <p:cNvPr id="188" name="Line 6"/>
          <p:cNvSpPr>
            <a:spLocks noChangeShapeType="1"/>
          </p:cNvSpPr>
          <p:nvPr>
            <p:custDataLst>
              <p:tags r:id="rId36"/>
            </p:custDataLst>
          </p:nvPr>
        </p:nvSpPr>
        <p:spPr bwMode="auto">
          <a:xfrm>
            <a:off x="7293901" y="1028649"/>
            <a:ext cx="364709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ru-RU" sz="1286">
              <a:latin typeface="+mj-lt"/>
            </a:endParaRPr>
          </a:p>
        </p:txBody>
      </p:sp>
      <p:sp>
        <p:nvSpPr>
          <p:cNvPr id="189" name="Rectangle 7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7199028" y="688353"/>
            <a:ext cx="5849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639549">
              <a:buClr>
                <a:schemeClr val="tx2"/>
              </a:buClr>
            </a:pPr>
            <a:r>
              <a:rPr lang="ru-RU" sz="1000" b="1" dirty="0">
                <a:latin typeface="+mj-lt"/>
              </a:rPr>
              <a:t>Длина,</a:t>
            </a:r>
          </a:p>
          <a:p>
            <a:pPr defTabSz="639549">
              <a:buClr>
                <a:schemeClr val="tx2"/>
              </a:buClr>
            </a:pPr>
            <a:r>
              <a:rPr lang="ru-RU" sz="1000" dirty="0">
                <a:latin typeface="+mj-lt"/>
              </a:rPr>
              <a:t>км</a:t>
            </a:r>
          </a:p>
        </p:txBody>
      </p:sp>
      <p:sp>
        <p:nvSpPr>
          <p:cNvPr id="190" name="Line 6"/>
          <p:cNvSpPr>
            <a:spLocks noChangeShapeType="1"/>
          </p:cNvSpPr>
          <p:nvPr>
            <p:custDataLst>
              <p:tags r:id="rId38"/>
            </p:custDataLst>
          </p:nvPr>
        </p:nvSpPr>
        <p:spPr bwMode="auto">
          <a:xfrm>
            <a:off x="7851839" y="1024404"/>
            <a:ext cx="364709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ru-RU" sz="1286">
              <a:latin typeface="+mj-lt"/>
            </a:endParaRPr>
          </a:p>
        </p:txBody>
      </p:sp>
      <p:sp>
        <p:nvSpPr>
          <p:cNvPr id="191" name="Rectangle 7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7744262" y="534465"/>
            <a:ext cx="661922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639549">
              <a:buClr>
                <a:schemeClr val="tx2"/>
              </a:buClr>
            </a:pPr>
            <a:r>
              <a:rPr lang="ru-RU" sz="1000" b="1" dirty="0">
                <a:latin typeface="+mj-lt"/>
              </a:rPr>
              <a:t>Кол-во станций,</a:t>
            </a:r>
          </a:p>
          <a:p>
            <a:pPr defTabSz="639549">
              <a:buClr>
                <a:schemeClr val="tx2"/>
              </a:buClr>
            </a:pPr>
            <a:r>
              <a:rPr lang="ru-RU" sz="1000" dirty="0">
                <a:latin typeface="+mj-lt"/>
              </a:rPr>
              <a:t>шт.</a:t>
            </a:r>
          </a:p>
        </p:txBody>
      </p:sp>
      <p:sp>
        <p:nvSpPr>
          <p:cNvPr id="192" name="TextBox 191"/>
          <p:cNvSpPr txBox="1"/>
          <p:nvPr>
            <p:custDataLst>
              <p:tags r:id="rId40"/>
            </p:custDataLst>
          </p:nvPr>
        </p:nvSpPr>
        <p:spPr>
          <a:xfrm>
            <a:off x="6050952" y="5613193"/>
            <a:ext cx="3474049" cy="68595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ru-RU" sz="1286" b="1" dirty="0">
                <a:latin typeface="+mj-lt"/>
              </a:rPr>
              <a:t>Согласно технологическим показателям после достижения целевой схемы МЦД в Москве будет создано второе метро.</a:t>
            </a:r>
            <a:endParaRPr lang="ru-RU" sz="1143" dirty="0">
              <a:latin typeface="+mj-lt"/>
            </a:endParaRPr>
          </a:p>
        </p:txBody>
      </p:sp>
      <p:sp>
        <p:nvSpPr>
          <p:cNvPr id="201" name="Line 6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>
            <a:off x="6064489" y="1024404"/>
            <a:ext cx="968375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ru-RU" sz="1286">
              <a:latin typeface="+mj-lt"/>
            </a:endParaRPr>
          </a:p>
        </p:txBody>
      </p:sp>
      <p:sp>
        <p:nvSpPr>
          <p:cNvPr id="202" name="Rectangle 7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6061343" y="634446"/>
            <a:ext cx="960437" cy="35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639549">
              <a:buClr>
                <a:schemeClr val="tx2"/>
              </a:buClr>
            </a:pPr>
            <a:r>
              <a:rPr lang="ru-RU" sz="1143" b="1" dirty="0">
                <a:latin typeface="+mj-lt"/>
              </a:rPr>
              <a:t>Диаметр (маршрут)</a:t>
            </a:r>
          </a:p>
        </p:txBody>
      </p:sp>
      <p:sp>
        <p:nvSpPr>
          <p:cNvPr id="71" name="Oval 74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7207560" y="5299560"/>
            <a:ext cx="501196" cy="251732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348</a:t>
            </a:r>
          </a:p>
        </p:txBody>
      </p:sp>
      <p:sp>
        <p:nvSpPr>
          <p:cNvPr id="73" name="Oval 74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7752980" y="5299560"/>
            <a:ext cx="501196" cy="251732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161</a:t>
            </a:r>
          </a:p>
        </p:txBody>
      </p:sp>
      <p:sp>
        <p:nvSpPr>
          <p:cNvPr id="74" name="Oval 74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8303067" y="5299560"/>
            <a:ext cx="501196" cy="251732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397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D572BD0-90A1-402F-943B-D5CEE1FE09F6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6359381" y="5292757"/>
            <a:ext cx="1058599" cy="26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43" b="1" dirty="0">
                <a:solidFill>
                  <a:prstClr val="black"/>
                </a:solidFill>
                <a:latin typeface="+mj-lt"/>
              </a:rPr>
              <a:t>Итого:</a:t>
            </a:r>
          </a:p>
        </p:txBody>
      </p:sp>
      <p:graphicFrame>
        <p:nvGraphicFramePr>
          <p:cNvPr id="82" name="Объект 81"/>
          <p:cNvGraphicFramePr>
            <a:graphicFrameLocks/>
          </p:cNvGraphicFramePr>
          <p:nvPr>
            <p:custDataLst>
              <p:tags r:id="rId47"/>
            </p:custDataLst>
          </p:nvPr>
        </p:nvGraphicFramePr>
        <p:xfrm>
          <a:off x="8787122" y="972488"/>
          <a:ext cx="986564" cy="44291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Диаграмма" r:id="rId90" imgW="1381017" imgH="6200644" progId="MSGraph.Chart.8">
                  <p:embed followColorScheme="full"/>
                </p:oleObj>
              </mc:Choice>
              <mc:Fallback>
                <p:oleObj name="Диаграмма" r:id="rId90" imgW="1381017" imgH="6200644" progId="MSGraph.Chart.8">
                  <p:embed followColorScheme="full"/>
                  <p:pic>
                    <p:nvPicPr>
                      <p:cNvPr id="82" name="Объект 81"/>
                      <p:cNvPicPr/>
                      <p:nvPr/>
                    </p:nvPicPr>
                    <p:blipFill>
                      <a:blip r:embed="rId91"/>
                      <a:stretch>
                        <a:fillRect/>
                      </a:stretch>
                    </p:blipFill>
                    <p:spPr>
                      <a:xfrm>
                        <a:off x="8787122" y="972488"/>
                        <a:ext cx="986564" cy="44291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4" name="Прямоугольник 83"/>
          <p:cNvSpPr/>
          <p:nvPr>
            <p:custDataLst>
              <p:tags r:id="rId48"/>
            </p:custDataLst>
          </p:nvPr>
        </p:nvSpPr>
        <p:spPr bwMode="auto">
          <a:xfrm>
            <a:off x="9054730" y="4804033"/>
            <a:ext cx="261938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273B23E-6CCF-4260-BAB5-6F470FF56B58}" type="datetime'''''''''3''''''''''''''''''''''2''''''''''''4'''''''''''''''''">
              <a:rPr lang="en-US" sz="1143" b="1">
                <a:solidFill>
                  <a:schemeClr val="tx1"/>
                </a:solidFill>
                <a:latin typeface="+mj-lt"/>
              </a:rPr>
              <a:pPr/>
              <a:t>324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 useBgFill="1">
        <p:nvSpPr>
          <p:cNvPr id="83" name="Прямоугольник 82"/>
          <p:cNvSpPr/>
          <p:nvPr>
            <p:custDataLst>
              <p:tags r:id="rId49"/>
            </p:custDataLst>
          </p:nvPr>
        </p:nvSpPr>
        <p:spPr bwMode="auto">
          <a:xfrm>
            <a:off x="9037720" y="3946783"/>
            <a:ext cx="261938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1E1AB6-D387-466F-B9DC-B0DB65EDE7AB}" type="datetime'''3''''''''''''''''''''''''0''''''4'''''''''''''''''''''''''">
              <a:rPr lang="en-US" sz="1143" b="1">
                <a:solidFill>
                  <a:schemeClr val="tx1"/>
                </a:solidFill>
                <a:latin typeface="+mj-lt"/>
              </a:rPr>
              <a:pPr/>
              <a:t>304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 useBgFill="1">
        <p:nvSpPr>
          <p:cNvPr id="85" name="Прямоугольник 84"/>
          <p:cNvSpPr/>
          <p:nvPr>
            <p:custDataLst>
              <p:tags r:id="rId50"/>
            </p:custDataLst>
          </p:nvPr>
        </p:nvSpPr>
        <p:spPr bwMode="auto">
          <a:xfrm>
            <a:off x="8993497" y="3092935"/>
            <a:ext cx="261938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DBB8EDA-3E6D-4110-A1B7-7C6B2884A800}" type="datetime'2''''''''''''''''''''''''''''''''5''''''''''''''5'''">
              <a:rPr lang="en-US" sz="1143" b="1">
                <a:solidFill>
                  <a:schemeClr val="tx1"/>
                </a:solidFill>
                <a:latin typeface="+mj-lt"/>
              </a:rPr>
              <a:pPr/>
              <a:t>255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 useBgFill="1">
        <p:nvSpPr>
          <p:cNvPr id="86" name="Прямоугольник 85"/>
          <p:cNvSpPr/>
          <p:nvPr>
            <p:custDataLst>
              <p:tags r:id="rId51"/>
            </p:custDataLst>
          </p:nvPr>
        </p:nvSpPr>
        <p:spPr bwMode="auto">
          <a:xfrm>
            <a:off x="9030917" y="2239087"/>
            <a:ext cx="261938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2DAE561-8EEA-4A68-A910-C66243DCB123}" type="datetime'''''2''''''''''''''''''''''9''''''''''''''''''''''''5'''''''">
              <a:rPr lang="en-US" sz="1143" b="1">
                <a:solidFill>
                  <a:schemeClr val="tx1"/>
                </a:solidFill>
                <a:latin typeface="+mj-lt"/>
              </a:rPr>
              <a:pPr/>
              <a:t>295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 useBgFill="1">
        <p:nvSpPr>
          <p:cNvPr id="87" name="Прямоугольник 86"/>
          <p:cNvSpPr/>
          <p:nvPr>
            <p:custDataLst>
              <p:tags r:id="rId52"/>
            </p:custDataLst>
          </p:nvPr>
        </p:nvSpPr>
        <p:spPr bwMode="auto">
          <a:xfrm>
            <a:off x="9037720" y="1381837"/>
            <a:ext cx="261938" cy="174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411" tIns="0" rIns="20411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6CAAD98-30E5-4430-87CF-E4CABF9B879A}" type="datetime'''''''''3''''0''''3'''''''''''''''''''''''''''''">
              <a:rPr lang="en-US" sz="1143" b="1">
                <a:solidFill>
                  <a:schemeClr val="tx1"/>
                </a:solidFill>
                <a:latin typeface="+mj-lt"/>
              </a:rPr>
              <a:pPr/>
              <a:t>303</a:t>
            </a:fld>
            <a:endParaRPr lang="ru-RU" sz="1143" b="1">
              <a:solidFill>
                <a:schemeClr val="tx1"/>
              </a:solidFill>
              <a:latin typeface="+mj-lt"/>
              <a:sym typeface="Calibri"/>
            </a:endParaRPr>
          </a:p>
        </p:txBody>
      </p:sp>
      <p:sp>
        <p:nvSpPr>
          <p:cNvPr id="89" name="Oval 74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8935100" y="5299560"/>
            <a:ext cx="501196" cy="251732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1000" b="1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1 481</a:t>
            </a:r>
          </a:p>
        </p:txBody>
      </p:sp>
      <p:sp>
        <p:nvSpPr>
          <p:cNvPr id="90" name="Line 6"/>
          <p:cNvSpPr>
            <a:spLocks noChangeShapeType="1"/>
          </p:cNvSpPr>
          <p:nvPr>
            <p:custDataLst>
              <p:tags r:id="rId54"/>
            </p:custDataLst>
          </p:nvPr>
        </p:nvSpPr>
        <p:spPr bwMode="auto">
          <a:xfrm>
            <a:off x="8935099" y="1024404"/>
            <a:ext cx="59185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ru-RU" sz="1286">
              <a:latin typeface="+mj-lt"/>
            </a:endParaRPr>
          </a:p>
        </p:txBody>
      </p:sp>
      <p:sp>
        <p:nvSpPr>
          <p:cNvPr id="91" name="Rectangle 7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8919569" y="510824"/>
            <a:ext cx="758176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639549">
              <a:buClr>
                <a:schemeClr val="tx2"/>
              </a:buClr>
            </a:pPr>
            <a:r>
              <a:rPr lang="ru-RU" sz="1000" b="1" dirty="0">
                <a:latin typeface="+mj-lt"/>
              </a:rPr>
              <a:t>Доп. пасс. места, </a:t>
            </a:r>
            <a:r>
              <a:rPr lang="ru-RU" sz="1000" dirty="0">
                <a:latin typeface="+mj-lt"/>
              </a:rPr>
              <a:t>тыс. чел./</a:t>
            </a:r>
            <a:r>
              <a:rPr lang="ru-RU" sz="1000" dirty="0" err="1">
                <a:latin typeface="+mj-lt"/>
              </a:rPr>
              <a:t>сут</a:t>
            </a:r>
            <a:endParaRPr lang="ru-RU" sz="1000" dirty="0">
              <a:latin typeface="+mj-lt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7245842" y="2215838"/>
            <a:ext cx="31611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>
                <a:latin typeface="+mj-lt"/>
              </a:rPr>
              <a:t>62</a:t>
            </a:r>
            <a:endParaRPr lang="ru-RU" sz="1286" dirty="0">
              <a:latin typeface="+mj-lt"/>
            </a:endParaRPr>
          </a:p>
        </p:txBody>
      </p:sp>
      <p:sp>
        <p:nvSpPr>
          <p:cNvPr id="88" name="Номер слайда 1">
            <a:extLst>
              <a:ext uri="{FF2B5EF4-FFF2-40B4-BE49-F238E27FC236}">
                <a16:creationId xmlns:a16="http://schemas.microsoft.com/office/drawing/2014/main" id="{736DB5D6-2CFD-204F-B68D-6A1C9481F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52509" y="6533804"/>
            <a:ext cx="1704454" cy="234671"/>
          </a:xfrm>
        </p:spPr>
        <p:txBody>
          <a:bodyPr/>
          <a:lstStyle/>
          <a:p>
            <a:fld id="{2B86E897-D47A-DF49-947E-7FDF216B1BB3}" type="slidenum">
              <a:rPr lang="ru-RU" smtClean="0">
                <a:latin typeface="+mj-lt"/>
              </a:rPr>
              <a:pPr/>
              <a:t>10</a:t>
            </a:fld>
            <a:endParaRPr lang="ru-RU" dirty="0">
              <a:latin typeface="+mj-lt"/>
            </a:endParaRPr>
          </a:p>
        </p:txBody>
      </p:sp>
      <p:sp>
        <p:nvSpPr>
          <p:cNvPr id="92" name="Заголовок 1">
            <a:extLst>
              <a:ext uri="{FF2B5EF4-FFF2-40B4-BE49-F238E27FC236}">
                <a16:creationId xmlns:a16="http://schemas.microsoft.com/office/drawing/2014/main" id="{7F15479D-B6A9-6E42-86A2-B1DD371511A7}"/>
              </a:ext>
            </a:extLst>
          </p:cNvPr>
          <p:cNvSpPr txBox="1">
            <a:spLocks/>
          </p:cNvSpPr>
          <p:nvPr/>
        </p:nvSpPr>
        <p:spPr>
          <a:xfrm>
            <a:off x="134580" y="130970"/>
            <a:ext cx="6952783" cy="659632"/>
          </a:xfrm>
          <a:prstGeom prst="rect">
            <a:avLst/>
          </a:prstGeom>
        </p:spPr>
        <p:txBody>
          <a:bodyPr vert="horz" lIns="122191" tIns="61096" rIns="122191" bIns="61096" rtlCol="0" anchor="ctr">
            <a:noAutofit/>
          </a:bodyPr>
          <a:lstStyle>
            <a:lvl1pPr algn="l" defTabSz="9455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27" kern="1200">
                <a:solidFill>
                  <a:srgbClr val="BF2D2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/>
              <a:t>Результат моделирования – </a:t>
            </a:r>
          </a:p>
          <a:p>
            <a:r>
              <a:rPr lang="ru-RU" sz="2000" dirty="0"/>
              <a:t>Целевая схема маршрутов МЦД</a:t>
            </a:r>
          </a:p>
        </p:txBody>
      </p:sp>
    </p:spTree>
    <p:extLst>
      <p:ext uri="{BB962C8B-B14F-4D97-AF65-F5344CB8AC3E}">
        <p14:creationId xmlns:p14="http://schemas.microsoft.com/office/powerpoint/2010/main" val="28212260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FA2769D-849D-9747-84A6-86C14CE910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3" y="948147"/>
            <a:ext cx="7014101" cy="488453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3D3B0C0-44B2-8147-81B1-E583B98E0141}"/>
              </a:ext>
            </a:extLst>
          </p:cNvPr>
          <p:cNvSpPr txBox="1"/>
          <p:nvPr/>
        </p:nvSpPr>
        <p:spPr>
          <a:xfrm>
            <a:off x="641085" y="4723999"/>
            <a:ext cx="927768" cy="282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Апреле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19D972-1B56-A24E-9B18-F53A3355774A}"/>
              </a:ext>
            </a:extLst>
          </p:cNvPr>
          <p:cNvSpPr txBox="1"/>
          <p:nvPr/>
        </p:nvSpPr>
        <p:spPr>
          <a:xfrm>
            <a:off x="1951599" y="5432276"/>
            <a:ext cx="853874" cy="282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Подольск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E2FA134-34B0-A54E-89D6-41CF6188244E}"/>
              </a:ext>
            </a:extLst>
          </p:cNvPr>
          <p:cNvSpPr txBox="1"/>
          <p:nvPr/>
        </p:nvSpPr>
        <p:spPr>
          <a:xfrm>
            <a:off x="469373" y="2274823"/>
            <a:ext cx="865938" cy="282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Нахабино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FDE1EBB-CC57-4343-9EE9-AB11BE178817}"/>
              </a:ext>
            </a:extLst>
          </p:cNvPr>
          <p:cNvSpPr txBox="1"/>
          <p:nvPr/>
        </p:nvSpPr>
        <p:spPr>
          <a:xfrm>
            <a:off x="768705" y="3519518"/>
            <a:ext cx="899116" cy="282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Одинцово</a:t>
            </a:r>
          </a:p>
        </p:txBody>
      </p:sp>
      <p:sp>
        <p:nvSpPr>
          <p:cNvPr id="12" name="Полилиния 11">
            <a:extLst>
              <a:ext uri="{FF2B5EF4-FFF2-40B4-BE49-F238E27FC236}">
                <a16:creationId xmlns:a16="http://schemas.microsoft.com/office/drawing/2014/main" id="{5EE19CB2-1717-C047-A2B4-3AED72ADE31D}"/>
              </a:ext>
            </a:extLst>
          </p:cNvPr>
          <p:cNvSpPr/>
          <p:nvPr/>
        </p:nvSpPr>
        <p:spPr>
          <a:xfrm>
            <a:off x="3193755" y="2448722"/>
            <a:ext cx="3787966" cy="910253"/>
          </a:xfrm>
          <a:custGeom>
            <a:avLst/>
            <a:gdLst>
              <a:gd name="connsiteX0" fmla="*/ 0 w 5521569"/>
              <a:gd name="connsiteY0" fmla="*/ 0 h 2741776"/>
              <a:gd name="connsiteX1" fmla="*/ 381000 w 5521569"/>
              <a:gd name="connsiteY1" fmla="*/ 615462 h 2741776"/>
              <a:gd name="connsiteX2" fmla="*/ 1090246 w 5521569"/>
              <a:gd name="connsiteY2" fmla="*/ 955431 h 2741776"/>
              <a:gd name="connsiteX3" fmla="*/ 1348154 w 5521569"/>
              <a:gd name="connsiteY3" fmla="*/ 1113692 h 2741776"/>
              <a:gd name="connsiteX4" fmla="*/ 2069123 w 5521569"/>
              <a:gd name="connsiteY4" fmla="*/ 1711569 h 2741776"/>
              <a:gd name="connsiteX5" fmla="*/ 2391508 w 5521569"/>
              <a:gd name="connsiteY5" fmla="*/ 2074985 h 2741776"/>
              <a:gd name="connsiteX6" fmla="*/ 2485292 w 5521569"/>
              <a:gd name="connsiteY6" fmla="*/ 2162908 h 2741776"/>
              <a:gd name="connsiteX7" fmla="*/ 2573216 w 5521569"/>
              <a:gd name="connsiteY7" fmla="*/ 2491154 h 2741776"/>
              <a:gd name="connsiteX8" fmla="*/ 2684585 w 5521569"/>
              <a:gd name="connsiteY8" fmla="*/ 2573215 h 2741776"/>
              <a:gd name="connsiteX9" fmla="*/ 2731477 w 5521569"/>
              <a:gd name="connsiteY9" fmla="*/ 2637692 h 2741776"/>
              <a:gd name="connsiteX10" fmla="*/ 2907323 w 5521569"/>
              <a:gd name="connsiteY10" fmla="*/ 2708031 h 2741776"/>
              <a:gd name="connsiteX11" fmla="*/ 3030416 w 5521569"/>
              <a:gd name="connsiteY11" fmla="*/ 2737339 h 2741776"/>
              <a:gd name="connsiteX12" fmla="*/ 3124200 w 5521569"/>
              <a:gd name="connsiteY12" fmla="*/ 2719754 h 2741776"/>
              <a:gd name="connsiteX13" fmla="*/ 3563816 w 5521569"/>
              <a:gd name="connsiteY13" fmla="*/ 2538046 h 2741776"/>
              <a:gd name="connsiteX14" fmla="*/ 3757246 w 5521569"/>
              <a:gd name="connsiteY14" fmla="*/ 2479431 h 2741776"/>
              <a:gd name="connsiteX15" fmla="*/ 3956539 w 5521569"/>
              <a:gd name="connsiteY15" fmla="*/ 2526323 h 2741776"/>
              <a:gd name="connsiteX16" fmla="*/ 4747846 w 5521569"/>
              <a:gd name="connsiteY16" fmla="*/ 2508739 h 2741776"/>
              <a:gd name="connsiteX17" fmla="*/ 5521569 w 5521569"/>
              <a:gd name="connsiteY17" fmla="*/ 2461846 h 2741776"/>
              <a:gd name="connsiteX0" fmla="*/ 0 w 6260123"/>
              <a:gd name="connsiteY0" fmla="*/ 0 h 2741776"/>
              <a:gd name="connsiteX1" fmla="*/ 381000 w 6260123"/>
              <a:gd name="connsiteY1" fmla="*/ 615462 h 2741776"/>
              <a:gd name="connsiteX2" fmla="*/ 1090246 w 6260123"/>
              <a:gd name="connsiteY2" fmla="*/ 955431 h 2741776"/>
              <a:gd name="connsiteX3" fmla="*/ 1348154 w 6260123"/>
              <a:gd name="connsiteY3" fmla="*/ 1113692 h 2741776"/>
              <a:gd name="connsiteX4" fmla="*/ 2069123 w 6260123"/>
              <a:gd name="connsiteY4" fmla="*/ 1711569 h 2741776"/>
              <a:gd name="connsiteX5" fmla="*/ 2391508 w 6260123"/>
              <a:gd name="connsiteY5" fmla="*/ 2074985 h 2741776"/>
              <a:gd name="connsiteX6" fmla="*/ 2485292 w 6260123"/>
              <a:gd name="connsiteY6" fmla="*/ 2162908 h 2741776"/>
              <a:gd name="connsiteX7" fmla="*/ 2573216 w 6260123"/>
              <a:gd name="connsiteY7" fmla="*/ 2491154 h 2741776"/>
              <a:gd name="connsiteX8" fmla="*/ 2684585 w 6260123"/>
              <a:gd name="connsiteY8" fmla="*/ 2573215 h 2741776"/>
              <a:gd name="connsiteX9" fmla="*/ 2731477 w 6260123"/>
              <a:gd name="connsiteY9" fmla="*/ 2637692 h 2741776"/>
              <a:gd name="connsiteX10" fmla="*/ 2907323 w 6260123"/>
              <a:gd name="connsiteY10" fmla="*/ 2708031 h 2741776"/>
              <a:gd name="connsiteX11" fmla="*/ 3030416 w 6260123"/>
              <a:gd name="connsiteY11" fmla="*/ 2737339 h 2741776"/>
              <a:gd name="connsiteX12" fmla="*/ 3124200 w 6260123"/>
              <a:gd name="connsiteY12" fmla="*/ 2719754 h 2741776"/>
              <a:gd name="connsiteX13" fmla="*/ 3563816 w 6260123"/>
              <a:gd name="connsiteY13" fmla="*/ 2538046 h 2741776"/>
              <a:gd name="connsiteX14" fmla="*/ 3757246 w 6260123"/>
              <a:gd name="connsiteY14" fmla="*/ 2479431 h 2741776"/>
              <a:gd name="connsiteX15" fmla="*/ 3956539 w 6260123"/>
              <a:gd name="connsiteY15" fmla="*/ 2526323 h 2741776"/>
              <a:gd name="connsiteX16" fmla="*/ 4747846 w 6260123"/>
              <a:gd name="connsiteY16" fmla="*/ 2508739 h 2741776"/>
              <a:gd name="connsiteX17" fmla="*/ 6260123 w 6260123"/>
              <a:gd name="connsiteY17" fmla="*/ 1664677 h 2741776"/>
              <a:gd name="connsiteX0" fmla="*/ 0 w 6260123"/>
              <a:gd name="connsiteY0" fmla="*/ 0 h 2741776"/>
              <a:gd name="connsiteX1" fmla="*/ 381000 w 6260123"/>
              <a:gd name="connsiteY1" fmla="*/ 615462 h 2741776"/>
              <a:gd name="connsiteX2" fmla="*/ 1090246 w 6260123"/>
              <a:gd name="connsiteY2" fmla="*/ 955431 h 2741776"/>
              <a:gd name="connsiteX3" fmla="*/ 1348154 w 6260123"/>
              <a:gd name="connsiteY3" fmla="*/ 1113692 h 2741776"/>
              <a:gd name="connsiteX4" fmla="*/ 2069123 w 6260123"/>
              <a:gd name="connsiteY4" fmla="*/ 1711569 h 2741776"/>
              <a:gd name="connsiteX5" fmla="*/ 2391508 w 6260123"/>
              <a:gd name="connsiteY5" fmla="*/ 2074985 h 2741776"/>
              <a:gd name="connsiteX6" fmla="*/ 2485292 w 6260123"/>
              <a:gd name="connsiteY6" fmla="*/ 2162908 h 2741776"/>
              <a:gd name="connsiteX7" fmla="*/ 2573216 w 6260123"/>
              <a:gd name="connsiteY7" fmla="*/ 2491154 h 2741776"/>
              <a:gd name="connsiteX8" fmla="*/ 2684585 w 6260123"/>
              <a:gd name="connsiteY8" fmla="*/ 2573215 h 2741776"/>
              <a:gd name="connsiteX9" fmla="*/ 2731477 w 6260123"/>
              <a:gd name="connsiteY9" fmla="*/ 2637692 h 2741776"/>
              <a:gd name="connsiteX10" fmla="*/ 2907323 w 6260123"/>
              <a:gd name="connsiteY10" fmla="*/ 2708031 h 2741776"/>
              <a:gd name="connsiteX11" fmla="*/ 3030416 w 6260123"/>
              <a:gd name="connsiteY11" fmla="*/ 2737339 h 2741776"/>
              <a:gd name="connsiteX12" fmla="*/ 3124200 w 6260123"/>
              <a:gd name="connsiteY12" fmla="*/ 2719754 h 2741776"/>
              <a:gd name="connsiteX13" fmla="*/ 3563816 w 6260123"/>
              <a:gd name="connsiteY13" fmla="*/ 2538046 h 2741776"/>
              <a:gd name="connsiteX14" fmla="*/ 3757246 w 6260123"/>
              <a:gd name="connsiteY14" fmla="*/ 2479431 h 2741776"/>
              <a:gd name="connsiteX15" fmla="*/ 3956539 w 6260123"/>
              <a:gd name="connsiteY15" fmla="*/ 2526323 h 2741776"/>
              <a:gd name="connsiteX16" fmla="*/ 4741984 w 6260123"/>
              <a:gd name="connsiteY16" fmla="*/ 2467708 h 2741776"/>
              <a:gd name="connsiteX17" fmla="*/ 6260123 w 6260123"/>
              <a:gd name="connsiteY17" fmla="*/ 1664677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90246 w 6559061"/>
              <a:gd name="connsiteY2" fmla="*/ 955431 h 2741776"/>
              <a:gd name="connsiteX3" fmla="*/ 1348154 w 6559061"/>
              <a:gd name="connsiteY3" fmla="*/ 1113692 h 2741776"/>
              <a:gd name="connsiteX4" fmla="*/ 2069123 w 6559061"/>
              <a:gd name="connsiteY4" fmla="*/ 1711569 h 2741776"/>
              <a:gd name="connsiteX5" fmla="*/ 2391508 w 6559061"/>
              <a:gd name="connsiteY5" fmla="*/ 2074985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41984 w 6559061"/>
              <a:gd name="connsiteY16" fmla="*/ 2467708 h 2741776"/>
              <a:gd name="connsiteX17" fmla="*/ 6559061 w 6559061"/>
              <a:gd name="connsiteY17" fmla="*/ 1705708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90246 w 6559061"/>
              <a:gd name="connsiteY2" fmla="*/ 955431 h 2741776"/>
              <a:gd name="connsiteX3" fmla="*/ 1348154 w 6559061"/>
              <a:gd name="connsiteY3" fmla="*/ 1113692 h 2741776"/>
              <a:gd name="connsiteX4" fmla="*/ 2069123 w 6559061"/>
              <a:gd name="connsiteY4" fmla="*/ 1711569 h 2741776"/>
              <a:gd name="connsiteX5" fmla="*/ 2391508 w 6559061"/>
              <a:gd name="connsiteY5" fmla="*/ 2074985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41984 w 6559061"/>
              <a:gd name="connsiteY16" fmla="*/ 2467708 h 2741776"/>
              <a:gd name="connsiteX17" fmla="*/ 6559061 w 6559061"/>
              <a:gd name="connsiteY17" fmla="*/ 1705708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90246 w 6559061"/>
              <a:gd name="connsiteY2" fmla="*/ 955431 h 2741776"/>
              <a:gd name="connsiteX3" fmla="*/ 1348154 w 6559061"/>
              <a:gd name="connsiteY3" fmla="*/ 1113692 h 2741776"/>
              <a:gd name="connsiteX4" fmla="*/ 2069123 w 6559061"/>
              <a:gd name="connsiteY4" fmla="*/ 1711569 h 2741776"/>
              <a:gd name="connsiteX5" fmla="*/ 2391508 w 6559061"/>
              <a:gd name="connsiteY5" fmla="*/ 2074985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24399 w 6559061"/>
              <a:gd name="connsiteY16" fmla="*/ 2479431 h 2741776"/>
              <a:gd name="connsiteX17" fmla="*/ 6559061 w 6559061"/>
              <a:gd name="connsiteY17" fmla="*/ 1705708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90246 w 6559061"/>
              <a:gd name="connsiteY2" fmla="*/ 955431 h 2741776"/>
              <a:gd name="connsiteX3" fmla="*/ 1348154 w 6559061"/>
              <a:gd name="connsiteY3" fmla="*/ 1113692 h 2741776"/>
              <a:gd name="connsiteX4" fmla="*/ 2069123 w 6559061"/>
              <a:gd name="connsiteY4" fmla="*/ 1711569 h 2741776"/>
              <a:gd name="connsiteX5" fmla="*/ 2391508 w 6559061"/>
              <a:gd name="connsiteY5" fmla="*/ 2074985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24399 w 6559061"/>
              <a:gd name="connsiteY16" fmla="*/ 2479431 h 2741776"/>
              <a:gd name="connsiteX17" fmla="*/ 4947139 w 6559061"/>
              <a:gd name="connsiteY17" fmla="*/ 1951892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90246 w 6559061"/>
              <a:gd name="connsiteY2" fmla="*/ 955431 h 2741776"/>
              <a:gd name="connsiteX3" fmla="*/ 1348154 w 6559061"/>
              <a:gd name="connsiteY3" fmla="*/ 1113692 h 2741776"/>
              <a:gd name="connsiteX4" fmla="*/ 2069123 w 6559061"/>
              <a:gd name="connsiteY4" fmla="*/ 1711569 h 2741776"/>
              <a:gd name="connsiteX5" fmla="*/ 2391508 w 6559061"/>
              <a:gd name="connsiteY5" fmla="*/ 2074985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24399 w 6559061"/>
              <a:gd name="connsiteY16" fmla="*/ 2479431 h 2741776"/>
              <a:gd name="connsiteX17" fmla="*/ 5369170 w 6559061"/>
              <a:gd name="connsiteY17" fmla="*/ 1992923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90246 w 6559061"/>
              <a:gd name="connsiteY2" fmla="*/ 955431 h 2741776"/>
              <a:gd name="connsiteX3" fmla="*/ 1348154 w 6559061"/>
              <a:gd name="connsiteY3" fmla="*/ 1113692 h 2741776"/>
              <a:gd name="connsiteX4" fmla="*/ 2069123 w 6559061"/>
              <a:gd name="connsiteY4" fmla="*/ 1711569 h 2741776"/>
              <a:gd name="connsiteX5" fmla="*/ 2391508 w 6559061"/>
              <a:gd name="connsiteY5" fmla="*/ 2074985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369170 w 6559061"/>
              <a:gd name="connsiteY17" fmla="*/ 1992923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90246 w 6559061"/>
              <a:gd name="connsiteY2" fmla="*/ 955431 h 2741776"/>
              <a:gd name="connsiteX3" fmla="*/ 1348154 w 6559061"/>
              <a:gd name="connsiteY3" fmla="*/ 1113692 h 2741776"/>
              <a:gd name="connsiteX4" fmla="*/ 2069123 w 6559061"/>
              <a:gd name="connsiteY4" fmla="*/ 1711569 h 2741776"/>
              <a:gd name="connsiteX5" fmla="*/ 2391508 w 6559061"/>
              <a:gd name="connsiteY5" fmla="*/ 2074985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90246 w 6559061"/>
              <a:gd name="connsiteY2" fmla="*/ 955431 h 2741776"/>
              <a:gd name="connsiteX3" fmla="*/ 1348154 w 6559061"/>
              <a:gd name="connsiteY3" fmla="*/ 1113692 h 2741776"/>
              <a:gd name="connsiteX4" fmla="*/ 2069123 w 6559061"/>
              <a:gd name="connsiteY4" fmla="*/ 1711569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90246 w 6559061"/>
              <a:gd name="connsiteY2" fmla="*/ 955431 h 2741776"/>
              <a:gd name="connsiteX3" fmla="*/ 1348154 w 6559061"/>
              <a:gd name="connsiteY3" fmla="*/ 1113692 h 2741776"/>
              <a:gd name="connsiteX4" fmla="*/ 2027242 w 6559061"/>
              <a:gd name="connsiteY4" fmla="*/ 1733413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90246 w 6559061"/>
              <a:gd name="connsiteY2" fmla="*/ 955431 h 2741776"/>
              <a:gd name="connsiteX3" fmla="*/ 1327214 w 6559061"/>
              <a:gd name="connsiteY3" fmla="*/ 1128256 h 2741776"/>
              <a:gd name="connsiteX4" fmla="*/ 2027242 w 6559061"/>
              <a:gd name="connsiteY4" fmla="*/ 1733413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97226 w 6559061"/>
              <a:gd name="connsiteY2" fmla="*/ 977276 h 2741776"/>
              <a:gd name="connsiteX3" fmla="*/ 1327214 w 6559061"/>
              <a:gd name="connsiteY3" fmla="*/ 1128256 h 2741776"/>
              <a:gd name="connsiteX4" fmla="*/ 2027242 w 6559061"/>
              <a:gd name="connsiteY4" fmla="*/ 1733413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90246 w 6559061"/>
              <a:gd name="connsiteY2" fmla="*/ 969993 h 2741776"/>
              <a:gd name="connsiteX3" fmla="*/ 1327214 w 6559061"/>
              <a:gd name="connsiteY3" fmla="*/ 1128256 h 2741776"/>
              <a:gd name="connsiteX4" fmla="*/ 2027242 w 6559061"/>
              <a:gd name="connsiteY4" fmla="*/ 1733413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81000 w 6559061"/>
              <a:gd name="connsiteY1" fmla="*/ 615462 h 2741776"/>
              <a:gd name="connsiteX2" fmla="*/ 1041385 w 6559061"/>
              <a:gd name="connsiteY2" fmla="*/ 955430 h 2741776"/>
              <a:gd name="connsiteX3" fmla="*/ 1327214 w 6559061"/>
              <a:gd name="connsiteY3" fmla="*/ 1128256 h 2741776"/>
              <a:gd name="connsiteX4" fmla="*/ 2027242 w 6559061"/>
              <a:gd name="connsiteY4" fmla="*/ 1733413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429861 w 6559061"/>
              <a:gd name="connsiteY1" fmla="*/ 630026 h 2741776"/>
              <a:gd name="connsiteX2" fmla="*/ 1041385 w 6559061"/>
              <a:gd name="connsiteY2" fmla="*/ 955430 h 2741776"/>
              <a:gd name="connsiteX3" fmla="*/ 1327214 w 6559061"/>
              <a:gd name="connsiteY3" fmla="*/ 1128256 h 2741776"/>
              <a:gd name="connsiteX4" fmla="*/ 2027242 w 6559061"/>
              <a:gd name="connsiteY4" fmla="*/ 1733413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94960 w 6559061"/>
              <a:gd name="connsiteY1" fmla="*/ 630026 h 2741776"/>
              <a:gd name="connsiteX2" fmla="*/ 1041385 w 6559061"/>
              <a:gd name="connsiteY2" fmla="*/ 955430 h 2741776"/>
              <a:gd name="connsiteX3" fmla="*/ 1327214 w 6559061"/>
              <a:gd name="connsiteY3" fmla="*/ 1128256 h 2741776"/>
              <a:gd name="connsiteX4" fmla="*/ 2027242 w 6559061"/>
              <a:gd name="connsiteY4" fmla="*/ 1733413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94960 w 6559061"/>
              <a:gd name="connsiteY1" fmla="*/ 630026 h 2741776"/>
              <a:gd name="connsiteX2" fmla="*/ 1041385 w 6559061"/>
              <a:gd name="connsiteY2" fmla="*/ 955430 h 2741776"/>
              <a:gd name="connsiteX3" fmla="*/ 1313253 w 6559061"/>
              <a:gd name="connsiteY3" fmla="*/ 1164665 h 2741776"/>
              <a:gd name="connsiteX4" fmla="*/ 2027242 w 6559061"/>
              <a:gd name="connsiteY4" fmla="*/ 1733413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94960 w 6559061"/>
              <a:gd name="connsiteY1" fmla="*/ 630026 h 2741776"/>
              <a:gd name="connsiteX2" fmla="*/ 1041385 w 6559061"/>
              <a:gd name="connsiteY2" fmla="*/ 955430 h 2741776"/>
              <a:gd name="connsiteX3" fmla="*/ 1327214 w 6559061"/>
              <a:gd name="connsiteY3" fmla="*/ 1135537 h 2741776"/>
              <a:gd name="connsiteX4" fmla="*/ 2027242 w 6559061"/>
              <a:gd name="connsiteY4" fmla="*/ 1733413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94960 w 6559061"/>
              <a:gd name="connsiteY1" fmla="*/ 630026 h 2741776"/>
              <a:gd name="connsiteX2" fmla="*/ 1041385 w 6559061"/>
              <a:gd name="connsiteY2" fmla="*/ 955430 h 2741776"/>
              <a:gd name="connsiteX3" fmla="*/ 1313254 w 6559061"/>
              <a:gd name="connsiteY3" fmla="*/ 1164665 h 2741776"/>
              <a:gd name="connsiteX4" fmla="*/ 2027242 w 6559061"/>
              <a:gd name="connsiteY4" fmla="*/ 1733413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94960 w 6559061"/>
              <a:gd name="connsiteY1" fmla="*/ 630026 h 2741776"/>
              <a:gd name="connsiteX2" fmla="*/ 1041385 w 6559061"/>
              <a:gd name="connsiteY2" fmla="*/ 955430 h 2741776"/>
              <a:gd name="connsiteX3" fmla="*/ 1348155 w 6559061"/>
              <a:gd name="connsiteY3" fmla="*/ 1157383 h 2741776"/>
              <a:gd name="connsiteX4" fmla="*/ 2027242 w 6559061"/>
              <a:gd name="connsiteY4" fmla="*/ 1733413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1776"/>
              <a:gd name="connsiteX1" fmla="*/ 394960 w 6559061"/>
              <a:gd name="connsiteY1" fmla="*/ 630026 h 2741776"/>
              <a:gd name="connsiteX2" fmla="*/ 1041385 w 6559061"/>
              <a:gd name="connsiteY2" fmla="*/ 955430 h 2741776"/>
              <a:gd name="connsiteX3" fmla="*/ 1348155 w 6559061"/>
              <a:gd name="connsiteY3" fmla="*/ 1157383 h 2741776"/>
              <a:gd name="connsiteX4" fmla="*/ 2041203 w 6559061"/>
              <a:gd name="connsiteY4" fmla="*/ 1740696 h 2741776"/>
              <a:gd name="connsiteX5" fmla="*/ 2363588 w 6559061"/>
              <a:gd name="connsiteY5" fmla="*/ 2104113 h 2741776"/>
              <a:gd name="connsiteX6" fmla="*/ 2485292 w 6559061"/>
              <a:gd name="connsiteY6" fmla="*/ 2162908 h 2741776"/>
              <a:gd name="connsiteX7" fmla="*/ 2573216 w 6559061"/>
              <a:gd name="connsiteY7" fmla="*/ 2491154 h 2741776"/>
              <a:gd name="connsiteX8" fmla="*/ 2684585 w 6559061"/>
              <a:gd name="connsiteY8" fmla="*/ 2573215 h 2741776"/>
              <a:gd name="connsiteX9" fmla="*/ 2731477 w 6559061"/>
              <a:gd name="connsiteY9" fmla="*/ 2637692 h 2741776"/>
              <a:gd name="connsiteX10" fmla="*/ 2907323 w 6559061"/>
              <a:gd name="connsiteY10" fmla="*/ 2708031 h 2741776"/>
              <a:gd name="connsiteX11" fmla="*/ 3030416 w 6559061"/>
              <a:gd name="connsiteY11" fmla="*/ 2737339 h 2741776"/>
              <a:gd name="connsiteX12" fmla="*/ 3124200 w 6559061"/>
              <a:gd name="connsiteY12" fmla="*/ 2719754 h 2741776"/>
              <a:gd name="connsiteX13" fmla="*/ 3563816 w 6559061"/>
              <a:gd name="connsiteY13" fmla="*/ 2538046 h 2741776"/>
              <a:gd name="connsiteX14" fmla="*/ 3757246 w 6559061"/>
              <a:gd name="connsiteY14" fmla="*/ 2479431 h 2741776"/>
              <a:gd name="connsiteX15" fmla="*/ 3956539 w 6559061"/>
              <a:gd name="connsiteY15" fmla="*/ 2526323 h 2741776"/>
              <a:gd name="connsiteX16" fmla="*/ 4794738 w 6559061"/>
              <a:gd name="connsiteY16" fmla="*/ 2508739 h 2741776"/>
              <a:gd name="connsiteX17" fmla="*/ 5105401 w 6559061"/>
              <a:gd name="connsiteY17" fmla="*/ 1975338 h 2741776"/>
              <a:gd name="connsiteX18" fmla="*/ 6559061 w 6559061"/>
              <a:gd name="connsiteY18" fmla="*/ 1705708 h 2741776"/>
              <a:gd name="connsiteX0" fmla="*/ 0 w 6559061"/>
              <a:gd name="connsiteY0" fmla="*/ 0 h 2740831"/>
              <a:gd name="connsiteX1" fmla="*/ 394960 w 6559061"/>
              <a:gd name="connsiteY1" fmla="*/ 630026 h 2740831"/>
              <a:gd name="connsiteX2" fmla="*/ 1041385 w 6559061"/>
              <a:gd name="connsiteY2" fmla="*/ 955430 h 2740831"/>
              <a:gd name="connsiteX3" fmla="*/ 1348155 w 6559061"/>
              <a:gd name="connsiteY3" fmla="*/ 1157383 h 2740831"/>
              <a:gd name="connsiteX4" fmla="*/ 2041203 w 6559061"/>
              <a:gd name="connsiteY4" fmla="*/ 1740696 h 2740831"/>
              <a:gd name="connsiteX5" fmla="*/ 2363588 w 6559061"/>
              <a:gd name="connsiteY5" fmla="*/ 2104113 h 2740831"/>
              <a:gd name="connsiteX6" fmla="*/ 2485292 w 6559061"/>
              <a:gd name="connsiteY6" fmla="*/ 2162908 h 2740831"/>
              <a:gd name="connsiteX7" fmla="*/ 2573216 w 6559061"/>
              <a:gd name="connsiteY7" fmla="*/ 2491154 h 2740831"/>
              <a:gd name="connsiteX8" fmla="*/ 2684585 w 6559061"/>
              <a:gd name="connsiteY8" fmla="*/ 2573215 h 2740831"/>
              <a:gd name="connsiteX9" fmla="*/ 2731477 w 6559061"/>
              <a:gd name="connsiteY9" fmla="*/ 2637692 h 2740831"/>
              <a:gd name="connsiteX10" fmla="*/ 2900343 w 6559061"/>
              <a:gd name="connsiteY10" fmla="*/ 2722594 h 2740831"/>
              <a:gd name="connsiteX11" fmla="*/ 3030416 w 6559061"/>
              <a:gd name="connsiteY11" fmla="*/ 2737339 h 2740831"/>
              <a:gd name="connsiteX12" fmla="*/ 3124200 w 6559061"/>
              <a:gd name="connsiteY12" fmla="*/ 2719754 h 2740831"/>
              <a:gd name="connsiteX13" fmla="*/ 3563816 w 6559061"/>
              <a:gd name="connsiteY13" fmla="*/ 2538046 h 2740831"/>
              <a:gd name="connsiteX14" fmla="*/ 3757246 w 6559061"/>
              <a:gd name="connsiteY14" fmla="*/ 2479431 h 2740831"/>
              <a:gd name="connsiteX15" fmla="*/ 3956539 w 6559061"/>
              <a:gd name="connsiteY15" fmla="*/ 2526323 h 2740831"/>
              <a:gd name="connsiteX16" fmla="*/ 4794738 w 6559061"/>
              <a:gd name="connsiteY16" fmla="*/ 2508739 h 2740831"/>
              <a:gd name="connsiteX17" fmla="*/ 5105401 w 6559061"/>
              <a:gd name="connsiteY17" fmla="*/ 1975338 h 2740831"/>
              <a:gd name="connsiteX18" fmla="*/ 6559061 w 6559061"/>
              <a:gd name="connsiteY18" fmla="*/ 1705708 h 2740831"/>
              <a:gd name="connsiteX0" fmla="*/ 0 w 6559061"/>
              <a:gd name="connsiteY0" fmla="*/ 0 h 2740831"/>
              <a:gd name="connsiteX1" fmla="*/ 394960 w 6559061"/>
              <a:gd name="connsiteY1" fmla="*/ 630026 h 2740831"/>
              <a:gd name="connsiteX2" fmla="*/ 1041385 w 6559061"/>
              <a:gd name="connsiteY2" fmla="*/ 955430 h 2740831"/>
              <a:gd name="connsiteX3" fmla="*/ 1348155 w 6559061"/>
              <a:gd name="connsiteY3" fmla="*/ 1157383 h 2740831"/>
              <a:gd name="connsiteX4" fmla="*/ 2041203 w 6559061"/>
              <a:gd name="connsiteY4" fmla="*/ 1740696 h 2740831"/>
              <a:gd name="connsiteX5" fmla="*/ 2363588 w 6559061"/>
              <a:gd name="connsiteY5" fmla="*/ 2104113 h 2740831"/>
              <a:gd name="connsiteX6" fmla="*/ 2485292 w 6559061"/>
              <a:gd name="connsiteY6" fmla="*/ 2162908 h 2740831"/>
              <a:gd name="connsiteX7" fmla="*/ 2573216 w 6559061"/>
              <a:gd name="connsiteY7" fmla="*/ 2491154 h 2740831"/>
              <a:gd name="connsiteX8" fmla="*/ 2684585 w 6559061"/>
              <a:gd name="connsiteY8" fmla="*/ 2573215 h 2740831"/>
              <a:gd name="connsiteX9" fmla="*/ 2731477 w 6559061"/>
              <a:gd name="connsiteY9" fmla="*/ 2637692 h 2740831"/>
              <a:gd name="connsiteX10" fmla="*/ 2900343 w 6559061"/>
              <a:gd name="connsiteY10" fmla="*/ 2722594 h 2740831"/>
              <a:gd name="connsiteX11" fmla="*/ 3030416 w 6559061"/>
              <a:gd name="connsiteY11" fmla="*/ 2737339 h 2740831"/>
              <a:gd name="connsiteX12" fmla="*/ 3124200 w 6559061"/>
              <a:gd name="connsiteY12" fmla="*/ 2719754 h 2740831"/>
              <a:gd name="connsiteX13" fmla="*/ 3563816 w 6559061"/>
              <a:gd name="connsiteY13" fmla="*/ 2538046 h 2740831"/>
              <a:gd name="connsiteX14" fmla="*/ 3771206 w 6559061"/>
              <a:gd name="connsiteY14" fmla="*/ 2493994 h 2740831"/>
              <a:gd name="connsiteX15" fmla="*/ 3956539 w 6559061"/>
              <a:gd name="connsiteY15" fmla="*/ 2526323 h 2740831"/>
              <a:gd name="connsiteX16" fmla="*/ 4794738 w 6559061"/>
              <a:gd name="connsiteY16" fmla="*/ 2508739 h 2740831"/>
              <a:gd name="connsiteX17" fmla="*/ 5105401 w 6559061"/>
              <a:gd name="connsiteY17" fmla="*/ 1975338 h 2740831"/>
              <a:gd name="connsiteX18" fmla="*/ 6559061 w 6559061"/>
              <a:gd name="connsiteY18" fmla="*/ 1705708 h 2740831"/>
              <a:gd name="connsiteX0" fmla="*/ 0 w 6559061"/>
              <a:gd name="connsiteY0" fmla="*/ 0 h 2740831"/>
              <a:gd name="connsiteX1" fmla="*/ 394960 w 6559061"/>
              <a:gd name="connsiteY1" fmla="*/ 630026 h 2740831"/>
              <a:gd name="connsiteX2" fmla="*/ 1041385 w 6559061"/>
              <a:gd name="connsiteY2" fmla="*/ 955430 h 2740831"/>
              <a:gd name="connsiteX3" fmla="*/ 1348155 w 6559061"/>
              <a:gd name="connsiteY3" fmla="*/ 1157383 h 2740831"/>
              <a:gd name="connsiteX4" fmla="*/ 2041203 w 6559061"/>
              <a:gd name="connsiteY4" fmla="*/ 1740696 h 2740831"/>
              <a:gd name="connsiteX5" fmla="*/ 2363588 w 6559061"/>
              <a:gd name="connsiteY5" fmla="*/ 2104113 h 2740831"/>
              <a:gd name="connsiteX6" fmla="*/ 2485292 w 6559061"/>
              <a:gd name="connsiteY6" fmla="*/ 2162908 h 2740831"/>
              <a:gd name="connsiteX7" fmla="*/ 2573216 w 6559061"/>
              <a:gd name="connsiteY7" fmla="*/ 2491154 h 2740831"/>
              <a:gd name="connsiteX8" fmla="*/ 2684585 w 6559061"/>
              <a:gd name="connsiteY8" fmla="*/ 2573215 h 2740831"/>
              <a:gd name="connsiteX9" fmla="*/ 2731477 w 6559061"/>
              <a:gd name="connsiteY9" fmla="*/ 2637692 h 2740831"/>
              <a:gd name="connsiteX10" fmla="*/ 2900343 w 6559061"/>
              <a:gd name="connsiteY10" fmla="*/ 2722594 h 2740831"/>
              <a:gd name="connsiteX11" fmla="*/ 3030416 w 6559061"/>
              <a:gd name="connsiteY11" fmla="*/ 2737339 h 2740831"/>
              <a:gd name="connsiteX12" fmla="*/ 3124200 w 6559061"/>
              <a:gd name="connsiteY12" fmla="*/ 2719754 h 2740831"/>
              <a:gd name="connsiteX13" fmla="*/ 3563816 w 6559061"/>
              <a:gd name="connsiteY13" fmla="*/ 2538046 h 2740831"/>
              <a:gd name="connsiteX14" fmla="*/ 3764226 w 6559061"/>
              <a:gd name="connsiteY14" fmla="*/ 2486712 h 2740831"/>
              <a:gd name="connsiteX15" fmla="*/ 3956539 w 6559061"/>
              <a:gd name="connsiteY15" fmla="*/ 2526323 h 2740831"/>
              <a:gd name="connsiteX16" fmla="*/ 4794738 w 6559061"/>
              <a:gd name="connsiteY16" fmla="*/ 2508739 h 2740831"/>
              <a:gd name="connsiteX17" fmla="*/ 5105401 w 6559061"/>
              <a:gd name="connsiteY17" fmla="*/ 1975338 h 2740831"/>
              <a:gd name="connsiteX18" fmla="*/ 6559061 w 6559061"/>
              <a:gd name="connsiteY18" fmla="*/ 1705708 h 2740831"/>
              <a:gd name="connsiteX0" fmla="*/ 0 w 6559061"/>
              <a:gd name="connsiteY0" fmla="*/ 0 h 2740831"/>
              <a:gd name="connsiteX1" fmla="*/ 394960 w 6559061"/>
              <a:gd name="connsiteY1" fmla="*/ 630026 h 2740831"/>
              <a:gd name="connsiteX2" fmla="*/ 1041385 w 6559061"/>
              <a:gd name="connsiteY2" fmla="*/ 955430 h 2740831"/>
              <a:gd name="connsiteX3" fmla="*/ 1348155 w 6559061"/>
              <a:gd name="connsiteY3" fmla="*/ 1157383 h 2740831"/>
              <a:gd name="connsiteX4" fmla="*/ 2041203 w 6559061"/>
              <a:gd name="connsiteY4" fmla="*/ 1740696 h 2740831"/>
              <a:gd name="connsiteX5" fmla="*/ 2363588 w 6559061"/>
              <a:gd name="connsiteY5" fmla="*/ 2104113 h 2740831"/>
              <a:gd name="connsiteX6" fmla="*/ 2485292 w 6559061"/>
              <a:gd name="connsiteY6" fmla="*/ 2162908 h 2740831"/>
              <a:gd name="connsiteX7" fmla="*/ 2573216 w 6559061"/>
              <a:gd name="connsiteY7" fmla="*/ 2491154 h 2740831"/>
              <a:gd name="connsiteX8" fmla="*/ 2684585 w 6559061"/>
              <a:gd name="connsiteY8" fmla="*/ 2573215 h 2740831"/>
              <a:gd name="connsiteX9" fmla="*/ 2731477 w 6559061"/>
              <a:gd name="connsiteY9" fmla="*/ 2637692 h 2740831"/>
              <a:gd name="connsiteX10" fmla="*/ 2900343 w 6559061"/>
              <a:gd name="connsiteY10" fmla="*/ 2722594 h 2740831"/>
              <a:gd name="connsiteX11" fmla="*/ 3030416 w 6559061"/>
              <a:gd name="connsiteY11" fmla="*/ 2737339 h 2740831"/>
              <a:gd name="connsiteX12" fmla="*/ 3124200 w 6559061"/>
              <a:gd name="connsiteY12" fmla="*/ 2719754 h 2740831"/>
              <a:gd name="connsiteX13" fmla="*/ 3563816 w 6559061"/>
              <a:gd name="connsiteY13" fmla="*/ 2538046 h 2740831"/>
              <a:gd name="connsiteX14" fmla="*/ 3764226 w 6559061"/>
              <a:gd name="connsiteY14" fmla="*/ 2486712 h 2740831"/>
              <a:gd name="connsiteX15" fmla="*/ 3949558 w 6559061"/>
              <a:gd name="connsiteY15" fmla="*/ 2555450 h 2740831"/>
              <a:gd name="connsiteX16" fmla="*/ 4794738 w 6559061"/>
              <a:gd name="connsiteY16" fmla="*/ 2508739 h 2740831"/>
              <a:gd name="connsiteX17" fmla="*/ 5105401 w 6559061"/>
              <a:gd name="connsiteY17" fmla="*/ 1975338 h 2740831"/>
              <a:gd name="connsiteX18" fmla="*/ 6559061 w 6559061"/>
              <a:gd name="connsiteY18" fmla="*/ 1705708 h 2740831"/>
              <a:gd name="connsiteX0" fmla="*/ 0 w 6559061"/>
              <a:gd name="connsiteY0" fmla="*/ 0 h 2740831"/>
              <a:gd name="connsiteX1" fmla="*/ 394960 w 6559061"/>
              <a:gd name="connsiteY1" fmla="*/ 630026 h 2740831"/>
              <a:gd name="connsiteX2" fmla="*/ 1041385 w 6559061"/>
              <a:gd name="connsiteY2" fmla="*/ 955430 h 2740831"/>
              <a:gd name="connsiteX3" fmla="*/ 1348155 w 6559061"/>
              <a:gd name="connsiteY3" fmla="*/ 1157383 h 2740831"/>
              <a:gd name="connsiteX4" fmla="*/ 2041203 w 6559061"/>
              <a:gd name="connsiteY4" fmla="*/ 1740696 h 2740831"/>
              <a:gd name="connsiteX5" fmla="*/ 2363588 w 6559061"/>
              <a:gd name="connsiteY5" fmla="*/ 2104113 h 2740831"/>
              <a:gd name="connsiteX6" fmla="*/ 2485292 w 6559061"/>
              <a:gd name="connsiteY6" fmla="*/ 2162908 h 2740831"/>
              <a:gd name="connsiteX7" fmla="*/ 2573216 w 6559061"/>
              <a:gd name="connsiteY7" fmla="*/ 2491154 h 2740831"/>
              <a:gd name="connsiteX8" fmla="*/ 2684585 w 6559061"/>
              <a:gd name="connsiteY8" fmla="*/ 2573215 h 2740831"/>
              <a:gd name="connsiteX9" fmla="*/ 2731477 w 6559061"/>
              <a:gd name="connsiteY9" fmla="*/ 2637692 h 2740831"/>
              <a:gd name="connsiteX10" fmla="*/ 2900343 w 6559061"/>
              <a:gd name="connsiteY10" fmla="*/ 2722594 h 2740831"/>
              <a:gd name="connsiteX11" fmla="*/ 3030416 w 6559061"/>
              <a:gd name="connsiteY11" fmla="*/ 2737339 h 2740831"/>
              <a:gd name="connsiteX12" fmla="*/ 3124200 w 6559061"/>
              <a:gd name="connsiteY12" fmla="*/ 2719754 h 2740831"/>
              <a:gd name="connsiteX13" fmla="*/ 3563816 w 6559061"/>
              <a:gd name="connsiteY13" fmla="*/ 2538046 h 2740831"/>
              <a:gd name="connsiteX14" fmla="*/ 3799127 w 6559061"/>
              <a:gd name="connsiteY14" fmla="*/ 2493994 h 2740831"/>
              <a:gd name="connsiteX15" fmla="*/ 3949558 w 6559061"/>
              <a:gd name="connsiteY15" fmla="*/ 2555450 h 2740831"/>
              <a:gd name="connsiteX16" fmla="*/ 4794738 w 6559061"/>
              <a:gd name="connsiteY16" fmla="*/ 2508739 h 2740831"/>
              <a:gd name="connsiteX17" fmla="*/ 5105401 w 6559061"/>
              <a:gd name="connsiteY17" fmla="*/ 1975338 h 2740831"/>
              <a:gd name="connsiteX18" fmla="*/ 6559061 w 6559061"/>
              <a:gd name="connsiteY18" fmla="*/ 1705708 h 2740831"/>
              <a:gd name="connsiteX0" fmla="*/ 0 w 6559061"/>
              <a:gd name="connsiteY0" fmla="*/ 0 h 2740831"/>
              <a:gd name="connsiteX1" fmla="*/ 394960 w 6559061"/>
              <a:gd name="connsiteY1" fmla="*/ 630026 h 2740831"/>
              <a:gd name="connsiteX2" fmla="*/ 1041385 w 6559061"/>
              <a:gd name="connsiteY2" fmla="*/ 955430 h 2740831"/>
              <a:gd name="connsiteX3" fmla="*/ 1348155 w 6559061"/>
              <a:gd name="connsiteY3" fmla="*/ 1157383 h 2740831"/>
              <a:gd name="connsiteX4" fmla="*/ 2041203 w 6559061"/>
              <a:gd name="connsiteY4" fmla="*/ 1740696 h 2740831"/>
              <a:gd name="connsiteX5" fmla="*/ 2363588 w 6559061"/>
              <a:gd name="connsiteY5" fmla="*/ 2104113 h 2740831"/>
              <a:gd name="connsiteX6" fmla="*/ 2485292 w 6559061"/>
              <a:gd name="connsiteY6" fmla="*/ 2162908 h 2740831"/>
              <a:gd name="connsiteX7" fmla="*/ 2573216 w 6559061"/>
              <a:gd name="connsiteY7" fmla="*/ 2491154 h 2740831"/>
              <a:gd name="connsiteX8" fmla="*/ 2684585 w 6559061"/>
              <a:gd name="connsiteY8" fmla="*/ 2573215 h 2740831"/>
              <a:gd name="connsiteX9" fmla="*/ 2731477 w 6559061"/>
              <a:gd name="connsiteY9" fmla="*/ 2637692 h 2740831"/>
              <a:gd name="connsiteX10" fmla="*/ 2900343 w 6559061"/>
              <a:gd name="connsiteY10" fmla="*/ 2722594 h 2740831"/>
              <a:gd name="connsiteX11" fmla="*/ 3030416 w 6559061"/>
              <a:gd name="connsiteY11" fmla="*/ 2737339 h 2740831"/>
              <a:gd name="connsiteX12" fmla="*/ 3124200 w 6559061"/>
              <a:gd name="connsiteY12" fmla="*/ 2719754 h 2740831"/>
              <a:gd name="connsiteX13" fmla="*/ 3563816 w 6559061"/>
              <a:gd name="connsiteY13" fmla="*/ 2538046 h 2740831"/>
              <a:gd name="connsiteX14" fmla="*/ 3806107 w 6559061"/>
              <a:gd name="connsiteY14" fmla="*/ 2486712 h 2740831"/>
              <a:gd name="connsiteX15" fmla="*/ 3949558 w 6559061"/>
              <a:gd name="connsiteY15" fmla="*/ 2555450 h 2740831"/>
              <a:gd name="connsiteX16" fmla="*/ 4794738 w 6559061"/>
              <a:gd name="connsiteY16" fmla="*/ 2508739 h 2740831"/>
              <a:gd name="connsiteX17" fmla="*/ 5105401 w 6559061"/>
              <a:gd name="connsiteY17" fmla="*/ 1975338 h 2740831"/>
              <a:gd name="connsiteX18" fmla="*/ 6559061 w 6559061"/>
              <a:gd name="connsiteY18" fmla="*/ 1705708 h 2740831"/>
              <a:gd name="connsiteX0" fmla="*/ 0 w 6559061"/>
              <a:gd name="connsiteY0" fmla="*/ 0 h 2740831"/>
              <a:gd name="connsiteX1" fmla="*/ 394960 w 6559061"/>
              <a:gd name="connsiteY1" fmla="*/ 630026 h 2740831"/>
              <a:gd name="connsiteX2" fmla="*/ 1041385 w 6559061"/>
              <a:gd name="connsiteY2" fmla="*/ 955430 h 2740831"/>
              <a:gd name="connsiteX3" fmla="*/ 1348155 w 6559061"/>
              <a:gd name="connsiteY3" fmla="*/ 1157383 h 2740831"/>
              <a:gd name="connsiteX4" fmla="*/ 2041203 w 6559061"/>
              <a:gd name="connsiteY4" fmla="*/ 1740696 h 2740831"/>
              <a:gd name="connsiteX5" fmla="*/ 2363588 w 6559061"/>
              <a:gd name="connsiteY5" fmla="*/ 2104113 h 2740831"/>
              <a:gd name="connsiteX6" fmla="*/ 2485292 w 6559061"/>
              <a:gd name="connsiteY6" fmla="*/ 2162908 h 2740831"/>
              <a:gd name="connsiteX7" fmla="*/ 2573216 w 6559061"/>
              <a:gd name="connsiteY7" fmla="*/ 2491154 h 2740831"/>
              <a:gd name="connsiteX8" fmla="*/ 2684585 w 6559061"/>
              <a:gd name="connsiteY8" fmla="*/ 2573215 h 2740831"/>
              <a:gd name="connsiteX9" fmla="*/ 2731477 w 6559061"/>
              <a:gd name="connsiteY9" fmla="*/ 2637692 h 2740831"/>
              <a:gd name="connsiteX10" fmla="*/ 2900343 w 6559061"/>
              <a:gd name="connsiteY10" fmla="*/ 2722594 h 2740831"/>
              <a:gd name="connsiteX11" fmla="*/ 3030416 w 6559061"/>
              <a:gd name="connsiteY11" fmla="*/ 2737339 h 2740831"/>
              <a:gd name="connsiteX12" fmla="*/ 3124200 w 6559061"/>
              <a:gd name="connsiteY12" fmla="*/ 2719754 h 2740831"/>
              <a:gd name="connsiteX13" fmla="*/ 3563816 w 6559061"/>
              <a:gd name="connsiteY13" fmla="*/ 2538046 h 2740831"/>
              <a:gd name="connsiteX14" fmla="*/ 3806107 w 6559061"/>
              <a:gd name="connsiteY14" fmla="*/ 2486712 h 2740831"/>
              <a:gd name="connsiteX15" fmla="*/ 3970499 w 6559061"/>
              <a:gd name="connsiteY15" fmla="*/ 2548169 h 2740831"/>
              <a:gd name="connsiteX16" fmla="*/ 4794738 w 6559061"/>
              <a:gd name="connsiteY16" fmla="*/ 2508739 h 2740831"/>
              <a:gd name="connsiteX17" fmla="*/ 5105401 w 6559061"/>
              <a:gd name="connsiteY17" fmla="*/ 1975338 h 2740831"/>
              <a:gd name="connsiteX18" fmla="*/ 6559061 w 6559061"/>
              <a:gd name="connsiteY18" fmla="*/ 1705708 h 2740831"/>
              <a:gd name="connsiteX0" fmla="*/ 0 w 6559061"/>
              <a:gd name="connsiteY0" fmla="*/ 0 h 2740392"/>
              <a:gd name="connsiteX1" fmla="*/ 394960 w 6559061"/>
              <a:gd name="connsiteY1" fmla="*/ 630026 h 2740392"/>
              <a:gd name="connsiteX2" fmla="*/ 1041385 w 6559061"/>
              <a:gd name="connsiteY2" fmla="*/ 955430 h 2740392"/>
              <a:gd name="connsiteX3" fmla="*/ 1348155 w 6559061"/>
              <a:gd name="connsiteY3" fmla="*/ 1157383 h 2740392"/>
              <a:gd name="connsiteX4" fmla="*/ 2041203 w 6559061"/>
              <a:gd name="connsiteY4" fmla="*/ 1740696 h 2740392"/>
              <a:gd name="connsiteX5" fmla="*/ 2363588 w 6559061"/>
              <a:gd name="connsiteY5" fmla="*/ 2104113 h 2740392"/>
              <a:gd name="connsiteX6" fmla="*/ 2485292 w 6559061"/>
              <a:gd name="connsiteY6" fmla="*/ 2162908 h 2740392"/>
              <a:gd name="connsiteX7" fmla="*/ 2573216 w 6559061"/>
              <a:gd name="connsiteY7" fmla="*/ 2491154 h 2740392"/>
              <a:gd name="connsiteX8" fmla="*/ 2684585 w 6559061"/>
              <a:gd name="connsiteY8" fmla="*/ 2573215 h 2740392"/>
              <a:gd name="connsiteX9" fmla="*/ 2731477 w 6559061"/>
              <a:gd name="connsiteY9" fmla="*/ 2637692 h 2740392"/>
              <a:gd name="connsiteX10" fmla="*/ 2900343 w 6559061"/>
              <a:gd name="connsiteY10" fmla="*/ 2722594 h 2740392"/>
              <a:gd name="connsiteX11" fmla="*/ 3030416 w 6559061"/>
              <a:gd name="connsiteY11" fmla="*/ 2737339 h 2740392"/>
              <a:gd name="connsiteX12" fmla="*/ 3124200 w 6559061"/>
              <a:gd name="connsiteY12" fmla="*/ 2719754 h 2740392"/>
              <a:gd name="connsiteX13" fmla="*/ 3570797 w 6559061"/>
              <a:gd name="connsiteY13" fmla="*/ 2545328 h 2740392"/>
              <a:gd name="connsiteX14" fmla="*/ 3806107 w 6559061"/>
              <a:gd name="connsiteY14" fmla="*/ 2486712 h 2740392"/>
              <a:gd name="connsiteX15" fmla="*/ 3970499 w 6559061"/>
              <a:gd name="connsiteY15" fmla="*/ 2548169 h 2740392"/>
              <a:gd name="connsiteX16" fmla="*/ 4794738 w 6559061"/>
              <a:gd name="connsiteY16" fmla="*/ 2508739 h 2740392"/>
              <a:gd name="connsiteX17" fmla="*/ 5105401 w 6559061"/>
              <a:gd name="connsiteY17" fmla="*/ 1975338 h 2740392"/>
              <a:gd name="connsiteX18" fmla="*/ 6559061 w 6559061"/>
              <a:gd name="connsiteY18" fmla="*/ 1705708 h 2740392"/>
              <a:gd name="connsiteX0" fmla="*/ 0 w 6559061"/>
              <a:gd name="connsiteY0" fmla="*/ 0 h 2740392"/>
              <a:gd name="connsiteX1" fmla="*/ 394960 w 6559061"/>
              <a:gd name="connsiteY1" fmla="*/ 630026 h 2740392"/>
              <a:gd name="connsiteX2" fmla="*/ 1062326 w 6559061"/>
              <a:gd name="connsiteY2" fmla="*/ 948149 h 2740392"/>
              <a:gd name="connsiteX3" fmla="*/ 1348155 w 6559061"/>
              <a:gd name="connsiteY3" fmla="*/ 1157383 h 2740392"/>
              <a:gd name="connsiteX4" fmla="*/ 2041203 w 6559061"/>
              <a:gd name="connsiteY4" fmla="*/ 1740696 h 2740392"/>
              <a:gd name="connsiteX5" fmla="*/ 2363588 w 6559061"/>
              <a:gd name="connsiteY5" fmla="*/ 2104113 h 2740392"/>
              <a:gd name="connsiteX6" fmla="*/ 2485292 w 6559061"/>
              <a:gd name="connsiteY6" fmla="*/ 2162908 h 2740392"/>
              <a:gd name="connsiteX7" fmla="*/ 2573216 w 6559061"/>
              <a:gd name="connsiteY7" fmla="*/ 2491154 h 2740392"/>
              <a:gd name="connsiteX8" fmla="*/ 2684585 w 6559061"/>
              <a:gd name="connsiteY8" fmla="*/ 2573215 h 2740392"/>
              <a:gd name="connsiteX9" fmla="*/ 2731477 w 6559061"/>
              <a:gd name="connsiteY9" fmla="*/ 2637692 h 2740392"/>
              <a:gd name="connsiteX10" fmla="*/ 2900343 w 6559061"/>
              <a:gd name="connsiteY10" fmla="*/ 2722594 h 2740392"/>
              <a:gd name="connsiteX11" fmla="*/ 3030416 w 6559061"/>
              <a:gd name="connsiteY11" fmla="*/ 2737339 h 2740392"/>
              <a:gd name="connsiteX12" fmla="*/ 3124200 w 6559061"/>
              <a:gd name="connsiteY12" fmla="*/ 2719754 h 2740392"/>
              <a:gd name="connsiteX13" fmla="*/ 3570797 w 6559061"/>
              <a:gd name="connsiteY13" fmla="*/ 2545328 h 2740392"/>
              <a:gd name="connsiteX14" fmla="*/ 3806107 w 6559061"/>
              <a:gd name="connsiteY14" fmla="*/ 2486712 h 2740392"/>
              <a:gd name="connsiteX15" fmla="*/ 3970499 w 6559061"/>
              <a:gd name="connsiteY15" fmla="*/ 2548169 h 2740392"/>
              <a:gd name="connsiteX16" fmla="*/ 4794738 w 6559061"/>
              <a:gd name="connsiteY16" fmla="*/ 2508739 h 2740392"/>
              <a:gd name="connsiteX17" fmla="*/ 5105401 w 6559061"/>
              <a:gd name="connsiteY17" fmla="*/ 1975338 h 2740392"/>
              <a:gd name="connsiteX18" fmla="*/ 6559061 w 6559061"/>
              <a:gd name="connsiteY18" fmla="*/ 1705708 h 2740392"/>
              <a:gd name="connsiteX0" fmla="*/ 0 w 6559061"/>
              <a:gd name="connsiteY0" fmla="*/ 0 h 2740392"/>
              <a:gd name="connsiteX1" fmla="*/ 422880 w 6559061"/>
              <a:gd name="connsiteY1" fmla="*/ 637308 h 2740392"/>
              <a:gd name="connsiteX2" fmla="*/ 1062326 w 6559061"/>
              <a:gd name="connsiteY2" fmla="*/ 948149 h 2740392"/>
              <a:gd name="connsiteX3" fmla="*/ 1348155 w 6559061"/>
              <a:gd name="connsiteY3" fmla="*/ 1157383 h 2740392"/>
              <a:gd name="connsiteX4" fmla="*/ 2041203 w 6559061"/>
              <a:gd name="connsiteY4" fmla="*/ 1740696 h 2740392"/>
              <a:gd name="connsiteX5" fmla="*/ 2363588 w 6559061"/>
              <a:gd name="connsiteY5" fmla="*/ 2104113 h 2740392"/>
              <a:gd name="connsiteX6" fmla="*/ 2485292 w 6559061"/>
              <a:gd name="connsiteY6" fmla="*/ 2162908 h 2740392"/>
              <a:gd name="connsiteX7" fmla="*/ 2573216 w 6559061"/>
              <a:gd name="connsiteY7" fmla="*/ 2491154 h 2740392"/>
              <a:gd name="connsiteX8" fmla="*/ 2684585 w 6559061"/>
              <a:gd name="connsiteY8" fmla="*/ 2573215 h 2740392"/>
              <a:gd name="connsiteX9" fmla="*/ 2731477 w 6559061"/>
              <a:gd name="connsiteY9" fmla="*/ 2637692 h 2740392"/>
              <a:gd name="connsiteX10" fmla="*/ 2900343 w 6559061"/>
              <a:gd name="connsiteY10" fmla="*/ 2722594 h 2740392"/>
              <a:gd name="connsiteX11" fmla="*/ 3030416 w 6559061"/>
              <a:gd name="connsiteY11" fmla="*/ 2737339 h 2740392"/>
              <a:gd name="connsiteX12" fmla="*/ 3124200 w 6559061"/>
              <a:gd name="connsiteY12" fmla="*/ 2719754 h 2740392"/>
              <a:gd name="connsiteX13" fmla="*/ 3570797 w 6559061"/>
              <a:gd name="connsiteY13" fmla="*/ 2545328 h 2740392"/>
              <a:gd name="connsiteX14" fmla="*/ 3806107 w 6559061"/>
              <a:gd name="connsiteY14" fmla="*/ 2486712 h 2740392"/>
              <a:gd name="connsiteX15" fmla="*/ 3970499 w 6559061"/>
              <a:gd name="connsiteY15" fmla="*/ 2548169 h 2740392"/>
              <a:gd name="connsiteX16" fmla="*/ 4794738 w 6559061"/>
              <a:gd name="connsiteY16" fmla="*/ 2508739 h 2740392"/>
              <a:gd name="connsiteX17" fmla="*/ 5105401 w 6559061"/>
              <a:gd name="connsiteY17" fmla="*/ 1975338 h 2740392"/>
              <a:gd name="connsiteX18" fmla="*/ 6559061 w 6559061"/>
              <a:gd name="connsiteY18" fmla="*/ 1705708 h 2740392"/>
              <a:gd name="connsiteX0" fmla="*/ 0 w 6559061"/>
              <a:gd name="connsiteY0" fmla="*/ 0 h 2740392"/>
              <a:gd name="connsiteX1" fmla="*/ 422880 w 6559061"/>
              <a:gd name="connsiteY1" fmla="*/ 637308 h 2740392"/>
              <a:gd name="connsiteX2" fmla="*/ 1062326 w 6559061"/>
              <a:gd name="connsiteY2" fmla="*/ 948149 h 2740392"/>
              <a:gd name="connsiteX3" fmla="*/ 1348155 w 6559061"/>
              <a:gd name="connsiteY3" fmla="*/ 1157383 h 2740392"/>
              <a:gd name="connsiteX4" fmla="*/ 2041203 w 6559061"/>
              <a:gd name="connsiteY4" fmla="*/ 1740696 h 2740392"/>
              <a:gd name="connsiteX5" fmla="*/ 2363588 w 6559061"/>
              <a:gd name="connsiteY5" fmla="*/ 2104113 h 2740392"/>
              <a:gd name="connsiteX6" fmla="*/ 2485292 w 6559061"/>
              <a:gd name="connsiteY6" fmla="*/ 2162908 h 2740392"/>
              <a:gd name="connsiteX7" fmla="*/ 2650026 w 6559061"/>
              <a:gd name="connsiteY7" fmla="*/ 2491154 h 2740392"/>
              <a:gd name="connsiteX8" fmla="*/ 2684585 w 6559061"/>
              <a:gd name="connsiteY8" fmla="*/ 2573215 h 2740392"/>
              <a:gd name="connsiteX9" fmla="*/ 2731477 w 6559061"/>
              <a:gd name="connsiteY9" fmla="*/ 2637692 h 2740392"/>
              <a:gd name="connsiteX10" fmla="*/ 2900343 w 6559061"/>
              <a:gd name="connsiteY10" fmla="*/ 2722594 h 2740392"/>
              <a:gd name="connsiteX11" fmla="*/ 3030416 w 6559061"/>
              <a:gd name="connsiteY11" fmla="*/ 2737339 h 2740392"/>
              <a:gd name="connsiteX12" fmla="*/ 3124200 w 6559061"/>
              <a:gd name="connsiteY12" fmla="*/ 2719754 h 2740392"/>
              <a:gd name="connsiteX13" fmla="*/ 3570797 w 6559061"/>
              <a:gd name="connsiteY13" fmla="*/ 2545328 h 2740392"/>
              <a:gd name="connsiteX14" fmla="*/ 3806107 w 6559061"/>
              <a:gd name="connsiteY14" fmla="*/ 2486712 h 2740392"/>
              <a:gd name="connsiteX15" fmla="*/ 3970499 w 6559061"/>
              <a:gd name="connsiteY15" fmla="*/ 2548169 h 2740392"/>
              <a:gd name="connsiteX16" fmla="*/ 4794738 w 6559061"/>
              <a:gd name="connsiteY16" fmla="*/ 2508739 h 2740392"/>
              <a:gd name="connsiteX17" fmla="*/ 5105401 w 6559061"/>
              <a:gd name="connsiteY17" fmla="*/ 1975338 h 2740392"/>
              <a:gd name="connsiteX18" fmla="*/ 6559061 w 6559061"/>
              <a:gd name="connsiteY18" fmla="*/ 1705708 h 2740392"/>
              <a:gd name="connsiteX0" fmla="*/ 0 w 6559061"/>
              <a:gd name="connsiteY0" fmla="*/ 0 h 2740392"/>
              <a:gd name="connsiteX1" fmla="*/ 422880 w 6559061"/>
              <a:gd name="connsiteY1" fmla="*/ 637308 h 2740392"/>
              <a:gd name="connsiteX2" fmla="*/ 1062326 w 6559061"/>
              <a:gd name="connsiteY2" fmla="*/ 948149 h 2740392"/>
              <a:gd name="connsiteX3" fmla="*/ 1348155 w 6559061"/>
              <a:gd name="connsiteY3" fmla="*/ 1157383 h 2740392"/>
              <a:gd name="connsiteX4" fmla="*/ 2041203 w 6559061"/>
              <a:gd name="connsiteY4" fmla="*/ 1740696 h 2740392"/>
              <a:gd name="connsiteX5" fmla="*/ 2363588 w 6559061"/>
              <a:gd name="connsiteY5" fmla="*/ 2104113 h 2740392"/>
              <a:gd name="connsiteX6" fmla="*/ 2518210 w 6559061"/>
              <a:gd name="connsiteY6" fmla="*/ 2166723 h 2740392"/>
              <a:gd name="connsiteX7" fmla="*/ 2650026 w 6559061"/>
              <a:gd name="connsiteY7" fmla="*/ 2491154 h 2740392"/>
              <a:gd name="connsiteX8" fmla="*/ 2684585 w 6559061"/>
              <a:gd name="connsiteY8" fmla="*/ 2573215 h 2740392"/>
              <a:gd name="connsiteX9" fmla="*/ 2731477 w 6559061"/>
              <a:gd name="connsiteY9" fmla="*/ 2637692 h 2740392"/>
              <a:gd name="connsiteX10" fmla="*/ 2900343 w 6559061"/>
              <a:gd name="connsiteY10" fmla="*/ 2722594 h 2740392"/>
              <a:gd name="connsiteX11" fmla="*/ 3030416 w 6559061"/>
              <a:gd name="connsiteY11" fmla="*/ 2737339 h 2740392"/>
              <a:gd name="connsiteX12" fmla="*/ 3124200 w 6559061"/>
              <a:gd name="connsiteY12" fmla="*/ 2719754 h 2740392"/>
              <a:gd name="connsiteX13" fmla="*/ 3570797 w 6559061"/>
              <a:gd name="connsiteY13" fmla="*/ 2545328 h 2740392"/>
              <a:gd name="connsiteX14" fmla="*/ 3806107 w 6559061"/>
              <a:gd name="connsiteY14" fmla="*/ 2486712 h 2740392"/>
              <a:gd name="connsiteX15" fmla="*/ 3970499 w 6559061"/>
              <a:gd name="connsiteY15" fmla="*/ 2548169 h 2740392"/>
              <a:gd name="connsiteX16" fmla="*/ 4794738 w 6559061"/>
              <a:gd name="connsiteY16" fmla="*/ 2508739 h 2740392"/>
              <a:gd name="connsiteX17" fmla="*/ 5105401 w 6559061"/>
              <a:gd name="connsiteY17" fmla="*/ 1975338 h 2740392"/>
              <a:gd name="connsiteX18" fmla="*/ 6559061 w 6559061"/>
              <a:gd name="connsiteY18" fmla="*/ 1705708 h 2740392"/>
              <a:gd name="connsiteX0" fmla="*/ 0 w 6559061"/>
              <a:gd name="connsiteY0" fmla="*/ 0 h 2740392"/>
              <a:gd name="connsiteX1" fmla="*/ 422880 w 6559061"/>
              <a:gd name="connsiteY1" fmla="*/ 637308 h 2740392"/>
              <a:gd name="connsiteX2" fmla="*/ 1062326 w 6559061"/>
              <a:gd name="connsiteY2" fmla="*/ 948149 h 2740392"/>
              <a:gd name="connsiteX3" fmla="*/ 1348155 w 6559061"/>
              <a:gd name="connsiteY3" fmla="*/ 1157383 h 2740392"/>
              <a:gd name="connsiteX4" fmla="*/ 2041203 w 6559061"/>
              <a:gd name="connsiteY4" fmla="*/ 1740696 h 2740392"/>
              <a:gd name="connsiteX5" fmla="*/ 2363588 w 6559061"/>
              <a:gd name="connsiteY5" fmla="*/ 2104113 h 2740392"/>
              <a:gd name="connsiteX6" fmla="*/ 2543813 w 6559061"/>
              <a:gd name="connsiteY6" fmla="*/ 2170540 h 2740392"/>
              <a:gd name="connsiteX7" fmla="*/ 2650026 w 6559061"/>
              <a:gd name="connsiteY7" fmla="*/ 2491154 h 2740392"/>
              <a:gd name="connsiteX8" fmla="*/ 2684585 w 6559061"/>
              <a:gd name="connsiteY8" fmla="*/ 2573215 h 2740392"/>
              <a:gd name="connsiteX9" fmla="*/ 2731477 w 6559061"/>
              <a:gd name="connsiteY9" fmla="*/ 2637692 h 2740392"/>
              <a:gd name="connsiteX10" fmla="*/ 2900343 w 6559061"/>
              <a:gd name="connsiteY10" fmla="*/ 2722594 h 2740392"/>
              <a:gd name="connsiteX11" fmla="*/ 3030416 w 6559061"/>
              <a:gd name="connsiteY11" fmla="*/ 2737339 h 2740392"/>
              <a:gd name="connsiteX12" fmla="*/ 3124200 w 6559061"/>
              <a:gd name="connsiteY12" fmla="*/ 2719754 h 2740392"/>
              <a:gd name="connsiteX13" fmla="*/ 3570797 w 6559061"/>
              <a:gd name="connsiteY13" fmla="*/ 2545328 h 2740392"/>
              <a:gd name="connsiteX14" fmla="*/ 3806107 w 6559061"/>
              <a:gd name="connsiteY14" fmla="*/ 2486712 h 2740392"/>
              <a:gd name="connsiteX15" fmla="*/ 3970499 w 6559061"/>
              <a:gd name="connsiteY15" fmla="*/ 2548169 h 2740392"/>
              <a:gd name="connsiteX16" fmla="*/ 4794738 w 6559061"/>
              <a:gd name="connsiteY16" fmla="*/ 2508739 h 2740392"/>
              <a:gd name="connsiteX17" fmla="*/ 5105401 w 6559061"/>
              <a:gd name="connsiteY17" fmla="*/ 1975338 h 2740392"/>
              <a:gd name="connsiteX18" fmla="*/ 6559061 w 6559061"/>
              <a:gd name="connsiteY18" fmla="*/ 1705708 h 2740392"/>
              <a:gd name="connsiteX0" fmla="*/ 0 w 6559061"/>
              <a:gd name="connsiteY0" fmla="*/ 0 h 2740392"/>
              <a:gd name="connsiteX1" fmla="*/ 422880 w 6559061"/>
              <a:gd name="connsiteY1" fmla="*/ 637308 h 2740392"/>
              <a:gd name="connsiteX2" fmla="*/ 1062326 w 6559061"/>
              <a:gd name="connsiteY2" fmla="*/ 948149 h 2740392"/>
              <a:gd name="connsiteX3" fmla="*/ 1348155 w 6559061"/>
              <a:gd name="connsiteY3" fmla="*/ 1157383 h 2740392"/>
              <a:gd name="connsiteX4" fmla="*/ 2041203 w 6559061"/>
              <a:gd name="connsiteY4" fmla="*/ 1740696 h 2740392"/>
              <a:gd name="connsiteX5" fmla="*/ 2363588 w 6559061"/>
              <a:gd name="connsiteY5" fmla="*/ 2104113 h 2740392"/>
              <a:gd name="connsiteX6" fmla="*/ 2540155 w 6559061"/>
              <a:gd name="connsiteY6" fmla="*/ 2185804 h 2740392"/>
              <a:gd name="connsiteX7" fmla="*/ 2650026 w 6559061"/>
              <a:gd name="connsiteY7" fmla="*/ 2491154 h 2740392"/>
              <a:gd name="connsiteX8" fmla="*/ 2684585 w 6559061"/>
              <a:gd name="connsiteY8" fmla="*/ 2573215 h 2740392"/>
              <a:gd name="connsiteX9" fmla="*/ 2731477 w 6559061"/>
              <a:gd name="connsiteY9" fmla="*/ 2637692 h 2740392"/>
              <a:gd name="connsiteX10" fmla="*/ 2900343 w 6559061"/>
              <a:gd name="connsiteY10" fmla="*/ 2722594 h 2740392"/>
              <a:gd name="connsiteX11" fmla="*/ 3030416 w 6559061"/>
              <a:gd name="connsiteY11" fmla="*/ 2737339 h 2740392"/>
              <a:gd name="connsiteX12" fmla="*/ 3124200 w 6559061"/>
              <a:gd name="connsiteY12" fmla="*/ 2719754 h 2740392"/>
              <a:gd name="connsiteX13" fmla="*/ 3570797 w 6559061"/>
              <a:gd name="connsiteY13" fmla="*/ 2545328 h 2740392"/>
              <a:gd name="connsiteX14" fmla="*/ 3806107 w 6559061"/>
              <a:gd name="connsiteY14" fmla="*/ 2486712 h 2740392"/>
              <a:gd name="connsiteX15" fmla="*/ 3970499 w 6559061"/>
              <a:gd name="connsiteY15" fmla="*/ 2548169 h 2740392"/>
              <a:gd name="connsiteX16" fmla="*/ 4794738 w 6559061"/>
              <a:gd name="connsiteY16" fmla="*/ 2508739 h 2740392"/>
              <a:gd name="connsiteX17" fmla="*/ 5105401 w 6559061"/>
              <a:gd name="connsiteY17" fmla="*/ 1975338 h 2740392"/>
              <a:gd name="connsiteX18" fmla="*/ 6559061 w 6559061"/>
              <a:gd name="connsiteY18" fmla="*/ 1705708 h 2740392"/>
              <a:gd name="connsiteX0" fmla="*/ 0 w 6559061"/>
              <a:gd name="connsiteY0" fmla="*/ 0 h 2740392"/>
              <a:gd name="connsiteX1" fmla="*/ 422880 w 6559061"/>
              <a:gd name="connsiteY1" fmla="*/ 637308 h 2740392"/>
              <a:gd name="connsiteX2" fmla="*/ 1062326 w 6559061"/>
              <a:gd name="connsiteY2" fmla="*/ 948149 h 2740392"/>
              <a:gd name="connsiteX3" fmla="*/ 1348155 w 6559061"/>
              <a:gd name="connsiteY3" fmla="*/ 1157383 h 2740392"/>
              <a:gd name="connsiteX4" fmla="*/ 2041203 w 6559061"/>
              <a:gd name="connsiteY4" fmla="*/ 1740696 h 2740392"/>
              <a:gd name="connsiteX5" fmla="*/ 2363588 w 6559061"/>
              <a:gd name="connsiteY5" fmla="*/ 2104113 h 2740392"/>
              <a:gd name="connsiteX6" fmla="*/ 2540155 w 6559061"/>
              <a:gd name="connsiteY6" fmla="*/ 2185804 h 2740392"/>
              <a:gd name="connsiteX7" fmla="*/ 2650026 w 6559061"/>
              <a:gd name="connsiteY7" fmla="*/ 2491154 h 2740392"/>
              <a:gd name="connsiteX8" fmla="*/ 2662640 w 6559061"/>
              <a:gd name="connsiteY8" fmla="*/ 2577031 h 2740392"/>
              <a:gd name="connsiteX9" fmla="*/ 2731477 w 6559061"/>
              <a:gd name="connsiteY9" fmla="*/ 2637692 h 2740392"/>
              <a:gd name="connsiteX10" fmla="*/ 2900343 w 6559061"/>
              <a:gd name="connsiteY10" fmla="*/ 2722594 h 2740392"/>
              <a:gd name="connsiteX11" fmla="*/ 3030416 w 6559061"/>
              <a:gd name="connsiteY11" fmla="*/ 2737339 h 2740392"/>
              <a:gd name="connsiteX12" fmla="*/ 3124200 w 6559061"/>
              <a:gd name="connsiteY12" fmla="*/ 2719754 h 2740392"/>
              <a:gd name="connsiteX13" fmla="*/ 3570797 w 6559061"/>
              <a:gd name="connsiteY13" fmla="*/ 2545328 h 2740392"/>
              <a:gd name="connsiteX14" fmla="*/ 3806107 w 6559061"/>
              <a:gd name="connsiteY14" fmla="*/ 2486712 h 2740392"/>
              <a:gd name="connsiteX15" fmla="*/ 3970499 w 6559061"/>
              <a:gd name="connsiteY15" fmla="*/ 2548169 h 2740392"/>
              <a:gd name="connsiteX16" fmla="*/ 4794738 w 6559061"/>
              <a:gd name="connsiteY16" fmla="*/ 2508739 h 2740392"/>
              <a:gd name="connsiteX17" fmla="*/ 5105401 w 6559061"/>
              <a:gd name="connsiteY17" fmla="*/ 1975338 h 2740392"/>
              <a:gd name="connsiteX18" fmla="*/ 6559061 w 6559061"/>
              <a:gd name="connsiteY18" fmla="*/ 1705708 h 2740392"/>
              <a:gd name="connsiteX0" fmla="*/ 0 w 6559061"/>
              <a:gd name="connsiteY0" fmla="*/ 0 h 2740392"/>
              <a:gd name="connsiteX1" fmla="*/ 422880 w 6559061"/>
              <a:gd name="connsiteY1" fmla="*/ 637308 h 2740392"/>
              <a:gd name="connsiteX2" fmla="*/ 1062326 w 6559061"/>
              <a:gd name="connsiteY2" fmla="*/ 948149 h 2740392"/>
              <a:gd name="connsiteX3" fmla="*/ 1348155 w 6559061"/>
              <a:gd name="connsiteY3" fmla="*/ 1157383 h 2740392"/>
              <a:gd name="connsiteX4" fmla="*/ 2041203 w 6559061"/>
              <a:gd name="connsiteY4" fmla="*/ 1740696 h 2740392"/>
              <a:gd name="connsiteX5" fmla="*/ 2363588 w 6559061"/>
              <a:gd name="connsiteY5" fmla="*/ 2104113 h 2740392"/>
              <a:gd name="connsiteX6" fmla="*/ 2540155 w 6559061"/>
              <a:gd name="connsiteY6" fmla="*/ 2185804 h 2740392"/>
              <a:gd name="connsiteX7" fmla="*/ 2650026 w 6559061"/>
              <a:gd name="connsiteY7" fmla="*/ 2491154 h 2740392"/>
              <a:gd name="connsiteX8" fmla="*/ 2662640 w 6559061"/>
              <a:gd name="connsiteY8" fmla="*/ 2577031 h 2740392"/>
              <a:gd name="connsiteX9" fmla="*/ 2749765 w 6559061"/>
              <a:gd name="connsiteY9" fmla="*/ 2622429 h 2740392"/>
              <a:gd name="connsiteX10" fmla="*/ 2900343 w 6559061"/>
              <a:gd name="connsiteY10" fmla="*/ 2722594 h 2740392"/>
              <a:gd name="connsiteX11" fmla="*/ 3030416 w 6559061"/>
              <a:gd name="connsiteY11" fmla="*/ 2737339 h 2740392"/>
              <a:gd name="connsiteX12" fmla="*/ 3124200 w 6559061"/>
              <a:gd name="connsiteY12" fmla="*/ 2719754 h 2740392"/>
              <a:gd name="connsiteX13" fmla="*/ 3570797 w 6559061"/>
              <a:gd name="connsiteY13" fmla="*/ 2545328 h 2740392"/>
              <a:gd name="connsiteX14" fmla="*/ 3806107 w 6559061"/>
              <a:gd name="connsiteY14" fmla="*/ 2486712 h 2740392"/>
              <a:gd name="connsiteX15" fmla="*/ 3970499 w 6559061"/>
              <a:gd name="connsiteY15" fmla="*/ 2548169 h 2740392"/>
              <a:gd name="connsiteX16" fmla="*/ 4794738 w 6559061"/>
              <a:gd name="connsiteY16" fmla="*/ 2508739 h 2740392"/>
              <a:gd name="connsiteX17" fmla="*/ 5105401 w 6559061"/>
              <a:gd name="connsiteY17" fmla="*/ 1975338 h 2740392"/>
              <a:gd name="connsiteX18" fmla="*/ 6559061 w 6559061"/>
              <a:gd name="connsiteY18" fmla="*/ 1705708 h 2740392"/>
              <a:gd name="connsiteX0" fmla="*/ 0 w 6136181"/>
              <a:gd name="connsiteY0" fmla="*/ 0 h 2103084"/>
              <a:gd name="connsiteX1" fmla="*/ 639446 w 6136181"/>
              <a:gd name="connsiteY1" fmla="*/ 310841 h 2103084"/>
              <a:gd name="connsiteX2" fmla="*/ 925275 w 6136181"/>
              <a:gd name="connsiteY2" fmla="*/ 520075 h 2103084"/>
              <a:gd name="connsiteX3" fmla="*/ 1618323 w 6136181"/>
              <a:gd name="connsiteY3" fmla="*/ 1103388 h 2103084"/>
              <a:gd name="connsiteX4" fmla="*/ 1940708 w 6136181"/>
              <a:gd name="connsiteY4" fmla="*/ 1466805 h 2103084"/>
              <a:gd name="connsiteX5" fmla="*/ 2117275 w 6136181"/>
              <a:gd name="connsiteY5" fmla="*/ 1548496 h 2103084"/>
              <a:gd name="connsiteX6" fmla="*/ 2227146 w 6136181"/>
              <a:gd name="connsiteY6" fmla="*/ 1853846 h 2103084"/>
              <a:gd name="connsiteX7" fmla="*/ 2239760 w 6136181"/>
              <a:gd name="connsiteY7" fmla="*/ 1939723 h 2103084"/>
              <a:gd name="connsiteX8" fmla="*/ 2326885 w 6136181"/>
              <a:gd name="connsiteY8" fmla="*/ 1985121 h 2103084"/>
              <a:gd name="connsiteX9" fmla="*/ 2477463 w 6136181"/>
              <a:gd name="connsiteY9" fmla="*/ 2085286 h 2103084"/>
              <a:gd name="connsiteX10" fmla="*/ 2607536 w 6136181"/>
              <a:gd name="connsiteY10" fmla="*/ 2100031 h 2103084"/>
              <a:gd name="connsiteX11" fmla="*/ 2701320 w 6136181"/>
              <a:gd name="connsiteY11" fmla="*/ 2082446 h 2103084"/>
              <a:gd name="connsiteX12" fmla="*/ 3147917 w 6136181"/>
              <a:gd name="connsiteY12" fmla="*/ 1908020 h 2103084"/>
              <a:gd name="connsiteX13" fmla="*/ 3383227 w 6136181"/>
              <a:gd name="connsiteY13" fmla="*/ 1849404 h 2103084"/>
              <a:gd name="connsiteX14" fmla="*/ 3547619 w 6136181"/>
              <a:gd name="connsiteY14" fmla="*/ 1910861 h 2103084"/>
              <a:gd name="connsiteX15" fmla="*/ 4371858 w 6136181"/>
              <a:gd name="connsiteY15" fmla="*/ 1871431 h 2103084"/>
              <a:gd name="connsiteX16" fmla="*/ 4682521 w 6136181"/>
              <a:gd name="connsiteY16" fmla="*/ 1338030 h 2103084"/>
              <a:gd name="connsiteX17" fmla="*/ 6136181 w 6136181"/>
              <a:gd name="connsiteY17" fmla="*/ 1068400 h 2103084"/>
              <a:gd name="connsiteX0" fmla="*/ 0 w 5496735"/>
              <a:gd name="connsiteY0" fmla="*/ 0 h 1792243"/>
              <a:gd name="connsiteX1" fmla="*/ 285829 w 5496735"/>
              <a:gd name="connsiteY1" fmla="*/ 209234 h 1792243"/>
              <a:gd name="connsiteX2" fmla="*/ 978877 w 5496735"/>
              <a:gd name="connsiteY2" fmla="*/ 792547 h 1792243"/>
              <a:gd name="connsiteX3" fmla="*/ 1301262 w 5496735"/>
              <a:gd name="connsiteY3" fmla="*/ 1155964 h 1792243"/>
              <a:gd name="connsiteX4" fmla="*/ 1477829 w 5496735"/>
              <a:gd name="connsiteY4" fmla="*/ 1237655 h 1792243"/>
              <a:gd name="connsiteX5" fmla="*/ 1587700 w 5496735"/>
              <a:gd name="connsiteY5" fmla="*/ 1543005 h 1792243"/>
              <a:gd name="connsiteX6" fmla="*/ 1600314 w 5496735"/>
              <a:gd name="connsiteY6" fmla="*/ 1628882 h 1792243"/>
              <a:gd name="connsiteX7" fmla="*/ 1687439 w 5496735"/>
              <a:gd name="connsiteY7" fmla="*/ 1674280 h 1792243"/>
              <a:gd name="connsiteX8" fmla="*/ 1838017 w 5496735"/>
              <a:gd name="connsiteY8" fmla="*/ 1774445 h 1792243"/>
              <a:gd name="connsiteX9" fmla="*/ 1968090 w 5496735"/>
              <a:gd name="connsiteY9" fmla="*/ 1789190 h 1792243"/>
              <a:gd name="connsiteX10" fmla="*/ 2061874 w 5496735"/>
              <a:gd name="connsiteY10" fmla="*/ 1771605 h 1792243"/>
              <a:gd name="connsiteX11" fmla="*/ 2508471 w 5496735"/>
              <a:gd name="connsiteY11" fmla="*/ 1597179 h 1792243"/>
              <a:gd name="connsiteX12" fmla="*/ 2743781 w 5496735"/>
              <a:gd name="connsiteY12" fmla="*/ 1538563 h 1792243"/>
              <a:gd name="connsiteX13" fmla="*/ 2908173 w 5496735"/>
              <a:gd name="connsiteY13" fmla="*/ 1600020 h 1792243"/>
              <a:gd name="connsiteX14" fmla="*/ 3732412 w 5496735"/>
              <a:gd name="connsiteY14" fmla="*/ 1560590 h 1792243"/>
              <a:gd name="connsiteX15" fmla="*/ 4043075 w 5496735"/>
              <a:gd name="connsiteY15" fmla="*/ 1027189 h 1792243"/>
              <a:gd name="connsiteX16" fmla="*/ 5496735 w 5496735"/>
              <a:gd name="connsiteY16" fmla="*/ 757559 h 1792243"/>
              <a:gd name="connsiteX0" fmla="*/ 0 w 5210906"/>
              <a:gd name="connsiteY0" fmla="*/ 1 h 1583010"/>
              <a:gd name="connsiteX1" fmla="*/ 693048 w 5210906"/>
              <a:gd name="connsiteY1" fmla="*/ 583314 h 1583010"/>
              <a:gd name="connsiteX2" fmla="*/ 1015433 w 5210906"/>
              <a:gd name="connsiteY2" fmla="*/ 946731 h 1583010"/>
              <a:gd name="connsiteX3" fmla="*/ 1192000 w 5210906"/>
              <a:gd name="connsiteY3" fmla="*/ 1028422 h 1583010"/>
              <a:gd name="connsiteX4" fmla="*/ 1301871 w 5210906"/>
              <a:gd name="connsiteY4" fmla="*/ 1333772 h 1583010"/>
              <a:gd name="connsiteX5" fmla="*/ 1314485 w 5210906"/>
              <a:gd name="connsiteY5" fmla="*/ 1419649 h 1583010"/>
              <a:gd name="connsiteX6" fmla="*/ 1401610 w 5210906"/>
              <a:gd name="connsiteY6" fmla="*/ 1465047 h 1583010"/>
              <a:gd name="connsiteX7" fmla="*/ 1552188 w 5210906"/>
              <a:gd name="connsiteY7" fmla="*/ 1565212 h 1583010"/>
              <a:gd name="connsiteX8" fmla="*/ 1682261 w 5210906"/>
              <a:gd name="connsiteY8" fmla="*/ 1579957 h 1583010"/>
              <a:gd name="connsiteX9" fmla="*/ 1776045 w 5210906"/>
              <a:gd name="connsiteY9" fmla="*/ 1562372 h 1583010"/>
              <a:gd name="connsiteX10" fmla="*/ 2222642 w 5210906"/>
              <a:gd name="connsiteY10" fmla="*/ 1387946 h 1583010"/>
              <a:gd name="connsiteX11" fmla="*/ 2457952 w 5210906"/>
              <a:gd name="connsiteY11" fmla="*/ 1329330 h 1583010"/>
              <a:gd name="connsiteX12" fmla="*/ 2622344 w 5210906"/>
              <a:gd name="connsiteY12" fmla="*/ 1390787 h 1583010"/>
              <a:gd name="connsiteX13" fmla="*/ 3446583 w 5210906"/>
              <a:gd name="connsiteY13" fmla="*/ 1351357 h 1583010"/>
              <a:gd name="connsiteX14" fmla="*/ 3757246 w 5210906"/>
              <a:gd name="connsiteY14" fmla="*/ 817956 h 1583010"/>
              <a:gd name="connsiteX15" fmla="*/ 5210906 w 5210906"/>
              <a:gd name="connsiteY15" fmla="*/ 548326 h 1583010"/>
              <a:gd name="connsiteX0" fmla="*/ 0 w 4517858"/>
              <a:gd name="connsiteY0" fmla="*/ 34988 h 1034684"/>
              <a:gd name="connsiteX1" fmla="*/ 322385 w 4517858"/>
              <a:gd name="connsiteY1" fmla="*/ 398405 h 1034684"/>
              <a:gd name="connsiteX2" fmla="*/ 498952 w 4517858"/>
              <a:gd name="connsiteY2" fmla="*/ 480096 h 1034684"/>
              <a:gd name="connsiteX3" fmla="*/ 608823 w 4517858"/>
              <a:gd name="connsiteY3" fmla="*/ 785446 h 1034684"/>
              <a:gd name="connsiteX4" fmla="*/ 621437 w 4517858"/>
              <a:gd name="connsiteY4" fmla="*/ 871323 h 1034684"/>
              <a:gd name="connsiteX5" fmla="*/ 708562 w 4517858"/>
              <a:gd name="connsiteY5" fmla="*/ 916721 h 1034684"/>
              <a:gd name="connsiteX6" fmla="*/ 859140 w 4517858"/>
              <a:gd name="connsiteY6" fmla="*/ 1016886 h 1034684"/>
              <a:gd name="connsiteX7" fmla="*/ 989213 w 4517858"/>
              <a:gd name="connsiteY7" fmla="*/ 1031631 h 1034684"/>
              <a:gd name="connsiteX8" fmla="*/ 1082997 w 4517858"/>
              <a:gd name="connsiteY8" fmla="*/ 1014046 h 1034684"/>
              <a:gd name="connsiteX9" fmla="*/ 1529594 w 4517858"/>
              <a:gd name="connsiteY9" fmla="*/ 839620 h 1034684"/>
              <a:gd name="connsiteX10" fmla="*/ 1764904 w 4517858"/>
              <a:gd name="connsiteY10" fmla="*/ 781004 h 1034684"/>
              <a:gd name="connsiteX11" fmla="*/ 1929296 w 4517858"/>
              <a:gd name="connsiteY11" fmla="*/ 842461 h 1034684"/>
              <a:gd name="connsiteX12" fmla="*/ 2753535 w 4517858"/>
              <a:gd name="connsiteY12" fmla="*/ 803031 h 1034684"/>
              <a:gd name="connsiteX13" fmla="*/ 3064198 w 4517858"/>
              <a:gd name="connsiteY13" fmla="*/ 269630 h 1034684"/>
              <a:gd name="connsiteX14" fmla="*/ 4517858 w 4517858"/>
              <a:gd name="connsiteY14" fmla="*/ 0 h 1034684"/>
              <a:gd name="connsiteX0" fmla="*/ 0 w 4195473"/>
              <a:gd name="connsiteY0" fmla="*/ 398405 h 1034684"/>
              <a:gd name="connsiteX1" fmla="*/ 176567 w 4195473"/>
              <a:gd name="connsiteY1" fmla="*/ 480096 h 1034684"/>
              <a:gd name="connsiteX2" fmla="*/ 286438 w 4195473"/>
              <a:gd name="connsiteY2" fmla="*/ 785446 h 1034684"/>
              <a:gd name="connsiteX3" fmla="*/ 299052 w 4195473"/>
              <a:gd name="connsiteY3" fmla="*/ 871323 h 1034684"/>
              <a:gd name="connsiteX4" fmla="*/ 386177 w 4195473"/>
              <a:gd name="connsiteY4" fmla="*/ 916721 h 1034684"/>
              <a:gd name="connsiteX5" fmla="*/ 536755 w 4195473"/>
              <a:gd name="connsiteY5" fmla="*/ 1016886 h 1034684"/>
              <a:gd name="connsiteX6" fmla="*/ 666828 w 4195473"/>
              <a:gd name="connsiteY6" fmla="*/ 1031631 h 1034684"/>
              <a:gd name="connsiteX7" fmla="*/ 760612 w 4195473"/>
              <a:gd name="connsiteY7" fmla="*/ 1014046 h 1034684"/>
              <a:gd name="connsiteX8" fmla="*/ 1207209 w 4195473"/>
              <a:gd name="connsiteY8" fmla="*/ 839620 h 1034684"/>
              <a:gd name="connsiteX9" fmla="*/ 1442519 w 4195473"/>
              <a:gd name="connsiteY9" fmla="*/ 781004 h 1034684"/>
              <a:gd name="connsiteX10" fmla="*/ 1606911 w 4195473"/>
              <a:gd name="connsiteY10" fmla="*/ 842461 h 1034684"/>
              <a:gd name="connsiteX11" fmla="*/ 2431150 w 4195473"/>
              <a:gd name="connsiteY11" fmla="*/ 803031 h 1034684"/>
              <a:gd name="connsiteX12" fmla="*/ 2741813 w 4195473"/>
              <a:gd name="connsiteY12" fmla="*/ 269630 h 1034684"/>
              <a:gd name="connsiteX13" fmla="*/ 4195473 w 4195473"/>
              <a:gd name="connsiteY13" fmla="*/ 0 h 1034684"/>
              <a:gd name="connsiteX0" fmla="*/ 0 w 4018906"/>
              <a:gd name="connsiteY0" fmla="*/ 480096 h 1034684"/>
              <a:gd name="connsiteX1" fmla="*/ 109871 w 4018906"/>
              <a:gd name="connsiteY1" fmla="*/ 785446 h 1034684"/>
              <a:gd name="connsiteX2" fmla="*/ 122485 w 4018906"/>
              <a:gd name="connsiteY2" fmla="*/ 871323 h 1034684"/>
              <a:gd name="connsiteX3" fmla="*/ 209610 w 4018906"/>
              <a:gd name="connsiteY3" fmla="*/ 916721 h 1034684"/>
              <a:gd name="connsiteX4" fmla="*/ 360188 w 4018906"/>
              <a:gd name="connsiteY4" fmla="*/ 1016886 h 1034684"/>
              <a:gd name="connsiteX5" fmla="*/ 490261 w 4018906"/>
              <a:gd name="connsiteY5" fmla="*/ 1031631 h 1034684"/>
              <a:gd name="connsiteX6" fmla="*/ 584045 w 4018906"/>
              <a:gd name="connsiteY6" fmla="*/ 1014046 h 1034684"/>
              <a:gd name="connsiteX7" fmla="*/ 1030642 w 4018906"/>
              <a:gd name="connsiteY7" fmla="*/ 839620 h 1034684"/>
              <a:gd name="connsiteX8" fmla="*/ 1265952 w 4018906"/>
              <a:gd name="connsiteY8" fmla="*/ 781004 h 1034684"/>
              <a:gd name="connsiteX9" fmla="*/ 1430344 w 4018906"/>
              <a:gd name="connsiteY9" fmla="*/ 842461 h 1034684"/>
              <a:gd name="connsiteX10" fmla="*/ 2254583 w 4018906"/>
              <a:gd name="connsiteY10" fmla="*/ 803031 h 1034684"/>
              <a:gd name="connsiteX11" fmla="*/ 2565246 w 4018906"/>
              <a:gd name="connsiteY11" fmla="*/ 269630 h 1034684"/>
              <a:gd name="connsiteX12" fmla="*/ 4018906 w 4018906"/>
              <a:gd name="connsiteY12" fmla="*/ 0 h 1034684"/>
              <a:gd name="connsiteX0" fmla="*/ 0 w 4026401"/>
              <a:gd name="connsiteY0" fmla="*/ 511371 h 1034684"/>
              <a:gd name="connsiteX1" fmla="*/ 117366 w 4026401"/>
              <a:gd name="connsiteY1" fmla="*/ 785446 h 1034684"/>
              <a:gd name="connsiteX2" fmla="*/ 129980 w 4026401"/>
              <a:gd name="connsiteY2" fmla="*/ 871323 h 1034684"/>
              <a:gd name="connsiteX3" fmla="*/ 217105 w 4026401"/>
              <a:gd name="connsiteY3" fmla="*/ 916721 h 1034684"/>
              <a:gd name="connsiteX4" fmla="*/ 367683 w 4026401"/>
              <a:gd name="connsiteY4" fmla="*/ 1016886 h 1034684"/>
              <a:gd name="connsiteX5" fmla="*/ 497756 w 4026401"/>
              <a:gd name="connsiteY5" fmla="*/ 1031631 h 1034684"/>
              <a:gd name="connsiteX6" fmla="*/ 591540 w 4026401"/>
              <a:gd name="connsiteY6" fmla="*/ 1014046 h 1034684"/>
              <a:gd name="connsiteX7" fmla="*/ 1038137 w 4026401"/>
              <a:gd name="connsiteY7" fmla="*/ 839620 h 1034684"/>
              <a:gd name="connsiteX8" fmla="*/ 1273447 w 4026401"/>
              <a:gd name="connsiteY8" fmla="*/ 781004 h 1034684"/>
              <a:gd name="connsiteX9" fmla="*/ 1437839 w 4026401"/>
              <a:gd name="connsiteY9" fmla="*/ 842461 h 1034684"/>
              <a:gd name="connsiteX10" fmla="*/ 2262078 w 4026401"/>
              <a:gd name="connsiteY10" fmla="*/ 803031 h 1034684"/>
              <a:gd name="connsiteX11" fmla="*/ 2572741 w 4026401"/>
              <a:gd name="connsiteY11" fmla="*/ 269630 h 1034684"/>
              <a:gd name="connsiteX12" fmla="*/ 4026401 w 4026401"/>
              <a:gd name="connsiteY12" fmla="*/ 0 h 1034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26401" h="1034684">
                <a:moveTo>
                  <a:pt x="0" y="511371"/>
                </a:moveTo>
                <a:cubicBezTo>
                  <a:pt x="47740" y="575878"/>
                  <a:pt x="95703" y="725454"/>
                  <a:pt x="117366" y="785446"/>
                </a:cubicBezTo>
                <a:cubicBezTo>
                  <a:pt x="139029" y="845438"/>
                  <a:pt x="113357" y="849444"/>
                  <a:pt x="129980" y="871323"/>
                </a:cubicBezTo>
                <a:cubicBezTo>
                  <a:pt x="146603" y="893202"/>
                  <a:pt x="177488" y="892461"/>
                  <a:pt x="217105" y="916721"/>
                </a:cubicBezTo>
                <a:cubicBezTo>
                  <a:pt x="256722" y="940981"/>
                  <a:pt x="320908" y="997734"/>
                  <a:pt x="367683" y="1016886"/>
                </a:cubicBezTo>
                <a:cubicBezTo>
                  <a:pt x="414458" y="1036038"/>
                  <a:pt x="460447" y="1032104"/>
                  <a:pt x="497756" y="1031631"/>
                </a:cubicBezTo>
                <a:cubicBezTo>
                  <a:pt x="535065" y="1031158"/>
                  <a:pt x="501477" y="1046048"/>
                  <a:pt x="591540" y="1014046"/>
                </a:cubicBezTo>
                <a:cubicBezTo>
                  <a:pt x="681603" y="982044"/>
                  <a:pt x="924486" y="878460"/>
                  <a:pt x="1038137" y="839620"/>
                </a:cubicBezTo>
                <a:cubicBezTo>
                  <a:pt x="1151788" y="800780"/>
                  <a:pt x="1206830" y="780531"/>
                  <a:pt x="1273447" y="781004"/>
                </a:cubicBezTo>
                <a:cubicBezTo>
                  <a:pt x="1340064" y="781478"/>
                  <a:pt x="1273067" y="838790"/>
                  <a:pt x="1437839" y="842461"/>
                </a:cubicBezTo>
                <a:cubicBezTo>
                  <a:pt x="1602611" y="846132"/>
                  <a:pt x="2072928" y="898503"/>
                  <a:pt x="2262078" y="803031"/>
                </a:cubicBezTo>
                <a:cubicBezTo>
                  <a:pt x="2451228" y="707559"/>
                  <a:pt x="2266964" y="398584"/>
                  <a:pt x="2572741" y="269630"/>
                </a:cubicBezTo>
                <a:cubicBezTo>
                  <a:pt x="2878518" y="140676"/>
                  <a:pt x="3833947" y="82061"/>
                  <a:pt x="4026401" y="0"/>
                </a:cubicBezTo>
              </a:path>
            </a:pathLst>
          </a:custGeom>
          <a:noFill/>
          <a:ln w="50800" cmpd="dbl">
            <a:solidFill>
              <a:srgbClr val="EE352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7B37EBEE-7BC5-9441-8D37-E14DF52420AF}"/>
              </a:ext>
            </a:extLst>
          </p:cNvPr>
          <p:cNvSpPr/>
          <p:nvPr/>
        </p:nvSpPr>
        <p:spPr>
          <a:xfrm>
            <a:off x="3300248" y="3262013"/>
            <a:ext cx="1061622" cy="2529329"/>
          </a:xfrm>
          <a:custGeom>
            <a:avLst/>
            <a:gdLst>
              <a:gd name="connsiteX0" fmla="*/ 1095662 w 1095662"/>
              <a:gd name="connsiteY0" fmla="*/ 2672316 h 2672316"/>
              <a:gd name="connsiteX1" fmla="*/ 868834 w 1095662"/>
              <a:gd name="connsiteY1" fmla="*/ 2254102 h 2672316"/>
              <a:gd name="connsiteX2" fmla="*/ 450620 w 1095662"/>
              <a:gd name="connsiteY2" fmla="*/ 2161954 h 2672316"/>
              <a:gd name="connsiteX3" fmla="*/ 25318 w 1095662"/>
              <a:gd name="connsiteY3" fmla="*/ 1304261 h 2672316"/>
              <a:gd name="connsiteX4" fmla="*/ 60760 w 1095662"/>
              <a:gd name="connsiteY4" fmla="*/ 864782 h 2672316"/>
              <a:gd name="connsiteX5" fmla="*/ 159997 w 1095662"/>
              <a:gd name="connsiteY5" fmla="*/ 687572 h 2672316"/>
              <a:gd name="connsiteX6" fmla="*/ 273411 w 1095662"/>
              <a:gd name="connsiteY6" fmla="*/ 489098 h 2672316"/>
              <a:gd name="connsiteX7" fmla="*/ 280499 w 1095662"/>
              <a:gd name="connsiteY7" fmla="*/ 255182 h 2672316"/>
              <a:gd name="connsiteX8" fmla="*/ 167085 w 1095662"/>
              <a:gd name="connsiteY8" fmla="*/ 56707 h 2672316"/>
              <a:gd name="connsiteX9" fmla="*/ 96202 w 1095662"/>
              <a:gd name="connsiteY9" fmla="*/ 0 h 2672316"/>
              <a:gd name="connsiteX0" fmla="*/ 1095662 w 1095662"/>
              <a:gd name="connsiteY0" fmla="*/ 2672316 h 2672316"/>
              <a:gd name="connsiteX1" fmla="*/ 868834 w 1095662"/>
              <a:gd name="connsiteY1" fmla="*/ 2254102 h 2672316"/>
              <a:gd name="connsiteX2" fmla="*/ 450620 w 1095662"/>
              <a:gd name="connsiteY2" fmla="*/ 2161954 h 2672316"/>
              <a:gd name="connsiteX3" fmla="*/ 25318 w 1095662"/>
              <a:gd name="connsiteY3" fmla="*/ 1304261 h 2672316"/>
              <a:gd name="connsiteX4" fmla="*/ 60760 w 1095662"/>
              <a:gd name="connsiteY4" fmla="*/ 864782 h 2672316"/>
              <a:gd name="connsiteX5" fmla="*/ 159997 w 1095662"/>
              <a:gd name="connsiteY5" fmla="*/ 687572 h 2672316"/>
              <a:gd name="connsiteX6" fmla="*/ 273411 w 1095662"/>
              <a:gd name="connsiteY6" fmla="*/ 489098 h 2672316"/>
              <a:gd name="connsiteX7" fmla="*/ 280499 w 1095662"/>
              <a:gd name="connsiteY7" fmla="*/ 255182 h 2672316"/>
              <a:gd name="connsiteX8" fmla="*/ 167085 w 1095662"/>
              <a:gd name="connsiteY8" fmla="*/ 56707 h 2672316"/>
              <a:gd name="connsiteX9" fmla="*/ 81454 w 1095662"/>
              <a:gd name="connsiteY9" fmla="*/ 0 h 2672316"/>
              <a:gd name="connsiteX0" fmla="*/ 1095662 w 1095662"/>
              <a:gd name="connsiteY0" fmla="*/ 2657567 h 2657567"/>
              <a:gd name="connsiteX1" fmla="*/ 868834 w 1095662"/>
              <a:gd name="connsiteY1" fmla="*/ 2239353 h 2657567"/>
              <a:gd name="connsiteX2" fmla="*/ 450620 w 1095662"/>
              <a:gd name="connsiteY2" fmla="*/ 2147205 h 2657567"/>
              <a:gd name="connsiteX3" fmla="*/ 25318 w 1095662"/>
              <a:gd name="connsiteY3" fmla="*/ 1289512 h 2657567"/>
              <a:gd name="connsiteX4" fmla="*/ 60760 w 1095662"/>
              <a:gd name="connsiteY4" fmla="*/ 850033 h 2657567"/>
              <a:gd name="connsiteX5" fmla="*/ 159997 w 1095662"/>
              <a:gd name="connsiteY5" fmla="*/ 672823 h 2657567"/>
              <a:gd name="connsiteX6" fmla="*/ 273411 w 1095662"/>
              <a:gd name="connsiteY6" fmla="*/ 474349 h 2657567"/>
              <a:gd name="connsiteX7" fmla="*/ 280499 w 1095662"/>
              <a:gd name="connsiteY7" fmla="*/ 240433 h 2657567"/>
              <a:gd name="connsiteX8" fmla="*/ 167085 w 1095662"/>
              <a:gd name="connsiteY8" fmla="*/ 41958 h 2657567"/>
              <a:gd name="connsiteX9" fmla="*/ 106034 w 1095662"/>
              <a:gd name="connsiteY9" fmla="*/ 0 h 2657567"/>
              <a:gd name="connsiteX0" fmla="*/ 1095662 w 1095662"/>
              <a:gd name="connsiteY0" fmla="*/ 2657567 h 2657567"/>
              <a:gd name="connsiteX1" fmla="*/ 868834 w 1095662"/>
              <a:gd name="connsiteY1" fmla="*/ 2239353 h 2657567"/>
              <a:gd name="connsiteX2" fmla="*/ 450620 w 1095662"/>
              <a:gd name="connsiteY2" fmla="*/ 2147205 h 2657567"/>
              <a:gd name="connsiteX3" fmla="*/ 25318 w 1095662"/>
              <a:gd name="connsiteY3" fmla="*/ 1289512 h 2657567"/>
              <a:gd name="connsiteX4" fmla="*/ 60760 w 1095662"/>
              <a:gd name="connsiteY4" fmla="*/ 850033 h 2657567"/>
              <a:gd name="connsiteX5" fmla="*/ 159997 w 1095662"/>
              <a:gd name="connsiteY5" fmla="*/ 672823 h 2657567"/>
              <a:gd name="connsiteX6" fmla="*/ 273411 w 1095662"/>
              <a:gd name="connsiteY6" fmla="*/ 474349 h 2657567"/>
              <a:gd name="connsiteX7" fmla="*/ 280499 w 1095662"/>
              <a:gd name="connsiteY7" fmla="*/ 240433 h 2657567"/>
              <a:gd name="connsiteX8" fmla="*/ 167085 w 1095662"/>
              <a:gd name="connsiteY8" fmla="*/ 41958 h 2657567"/>
              <a:gd name="connsiteX9" fmla="*/ 125699 w 1095662"/>
              <a:gd name="connsiteY9" fmla="*/ 0 h 2657567"/>
              <a:gd name="connsiteX0" fmla="*/ 1087949 w 1087949"/>
              <a:gd name="connsiteY0" fmla="*/ 2657567 h 2657567"/>
              <a:gd name="connsiteX1" fmla="*/ 861121 w 1087949"/>
              <a:gd name="connsiteY1" fmla="*/ 2239353 h 2657567"/>
              <a:gd name="connsiteX2" fmla="*/ 442907 w 1087949"/>
              <a:gd name="connsiteY2" fmla="*/ 2147205 h 2657567"/>
              <a:gd name="connsiteX3" fmla="*/ 17605 w 1087949"/>
              <a:gd name="connsiteY3" fmla="*/ 1289512 h 2657567"/>
              <a:gd name="connsiteX4" fmla="*/ 87947 w 1087949"/>
              <a:gd name="connsiteY4" fmla="*/ 891914 h 2657567"/>
              <a:gd name="connsiteX5" fmla="*/ 152284 w 1087949"/>
              <a:gd name="connsiteY5" fmla="*/ 672823 h 2657567"/>
              <a:gd name="connsiteX6" fmla="*/ 265698 w 1087949"/>
              <a:gd name="connsiteY6" fmla="*/ 474349 h 2657567"/>
              <a:gd name="connsiteX7" fmla="*/ 272786 w 1087949"/>
              <a:gd name="connsiteY7" fmla="*/ 240433 h 2657567"/>
              <a:gd name="connsiteX8" fmla="*/ 159372 w 1087949"/>
              <a:gd name="connsiteY8" fmla="*/ 41958 h 2657567"/>
              <a:gd name="connsiteX9" fmla="*/ 117986 w 1087949"/>
              <a:gd name="connsiteY9" fmla="*/ 0 h 2657567"/>
              <a:gd name="connsiteX0" fmla="*/ 1088850 w 1088850"/>
              <a:gd name="connsiteY0" fmla="*/ 2657567 h 2657567"/>
              <a:gd name="connsiteX1" fmla="*/ 862022 w 1088850"/>
              <a:gd name="connsiteY1" fmla="*/ 2239353 h 2657567"/>
              <a:gd name="connsiteX2" fmla="*/ 443808 w 1088850"/>
              <a:gd name="connsiteY2" fmla="*/ 2147205 h 2657567"/>
              <a:gd name="connsiteX3" fmla="*/ 18506 w 1088850"/>
              <a:gd name="connsiteY3" fmla="*/ 1289512 h 2657567"/>
              <a:gd name="connsiteX4" fmla="*/ 88848 w 1088850"/>
              <a:gd name="connsiteY4" fmla="*/ 891914 h 2657567"/>
              <a:gd name="connsiteX5" fmla="*/ 202046 w 1088850"/>
              <a:gd name="connsiteY5" fmla="*/ 707724 h 2657567"/>
              <a:gd name="connsiteX6" fmla="*/ 266599 w 1088850"/>
              <a:gd name="connsiteY6" fmla="*/ 474349 h 2657567"/>
              <a:gd name="connsiteX7" fmla="*/ 273687 w 1088850"/>
              <a:gd name="connsiteY7" fmla="*/ 240433 h 2657567"/>
              <a:gd name="connsiteX8" fmla="*/ 160273 w 1088850"/>
              <a:gd name="connsiteY8" fmla="*/ 41958 h 2657567"/>
              <a:gd name="connsiteX9" fmla="*/ 118887 w 1088850"/>
              <a:gd name="connsiteY9" fmla="*/ 0 h 2657567"/>
              <a:gd name="connsiteX0" fmla="*/ 1088850 w 1088850"/>
              <a:gd name="connsiteY0" fmla="*/ 2657567 h 2657567"/>
              <a:gd name="connsiteX1" fmla="*/ 862022 w 1088850"/>
              <a:gd name="connsiteY1" fmla="*/ 2239353 h 2657567"/>
              <a:gd name="connsiteX2" fmla="*/ 443808 w 1088850"/>
              <a:gd name="connsiteY2" fmla="*/ 2147205 h 2657567"/>
              <a:gd name="connsiteX3" fmla="*/ 18506 w 1088850"/>
              <a:gd name="connsiteY3" fmla="*/ 1289512 h 2657567"/>
              <a:gd name="connsiteX4" fmla="*/ 88848 w 1088850"/>
              <a:gd name="connsiteY4" fmla="*/ 891914 h 2657567"/>
              <a:gd name="connsiteX5" fmla="*/ 202046 w 1088850"/>
              <a:gd name="connsiteY5" fmla="*/ 707724 h 2657567"/>
              <a:gd name="connsiteX6" fmla="*/ 343380 w 1088850"/>
              <a:gd name="connsiteY6" fmla="*/ 474349 h 2657567"/>
              <a:gd name="connsiteX7" fmla="*/ 273687 w 1088850"/>
              <a:gd name="connsiteY7" fmla="*/ 240433 h 2657567"/>
              <a:gd name="connsiteX8" fmla="*/ 160273 w 1088850"/>
              <a:gd name="connsiteY8" fmla="*/ 41958 h 2657567"/>
              <a:gd name="connsiteX9" fmla="*/ 118887 w 1088850"/>
              <a:gd name="connsiteY9" fmla="*/ 0 h 2657567"/>
              <a:gd name="connsiteX0" fmla="*/ 1088850 w 1088850"/>
              <a:gd name="connsiteY0" fmla="*/ 2657567 h 2657567"/>
              <a:gd name="connsiteX1" fmla="*/ 862022 w 1088850"/>
              <a:gd name="connsiteY1" fmla="*/ 2239353 h 2657567"/>
              <a:gd name="connsiteX2" fmla="*/ 443808 w 1088850"/>
              <a:gd name="connsiteY2" fmla="*/ 2147205 h 2657567"/>
              <a:gd name="connsiteX3" fmla="*/ 18506 w 1088850"/>
              <a:gd name="connsiteY3" fmla="*/ 1289512 h 2657567"/>
              <a:gd name="connsiteX4" fmla="*/ 88848 w 1088850"/>
              <a:gd name="connsiteY4" fmla="*/ 891914 h 2657567"/>
              <a:gd name="connsiteX5" fmla="*/ 202046 w 1088850"/>
              <a:gd name="connsiteY5" fmla="*/ 707724 h 2657567"/>
              <a:gd name="connsiteX6" fmla="*/ 343380 w 1088850"/>
              <a:gd name="connsiteY6" fmla="*/ 474349 h 2657567"/>
              <a:gd name="connsiteX7" fmla="*/ 329528 w 1088850"/>
              <a:gd name="connsiteY7" fmla="*/ 219493 h 2657567"/>
              <a:gd name="connsiteX8" fmla="*/ 160273 w 1088850"/>
              <a:gd name="connsiteY8" fmla="*/ 41958 h 2657567"/>
              <a:gd name="connsiteX9" fmla="*/ 118887 w 1088850"/>
              <a:gd name="connsiteY9" fmla="*/ 0 h 2657567"/>
              <a:gd name="connsiteX0" fmla="*/ 1088850 w 1088850"/>
              <a:gd name="connsiteY0" fmla="*/ 2662233 h 2662233"/>
              <a:gd name="connsiteX1" fmla="*/ 862022 w 1088850"/>
              <a:gd name="connsiteY1" fmla="*/ 2244019 h 2662233"/>
              <a:gd name="connsiteX2" fmla="*/ 443808 w 1088850"/>
              <a:gd name="connsiteY2" fmla="*/ 2151871 h 2662233"/>
              <a:gd name="connsiteX3" fmla="*/ 18506 w 1088850"/>
              <a:gd name="connsiteY3" fmla="*/ 1294178 h 2662233"/>
              <a:gd name="connsiteX4" fmla="*/ 88848 w 1088850"/>
              <a:gd name="connsiteY4" fmla="*/ 896580 h 2662233"/>
              <a:gd name="connsiteX5" fmla="*/ 202046 w 1088850"/>
              <a:gd name="connsiteY5" fmla="*/ 712390 h 2662233"/>
              <a:gd name="connsiteX6" fmla="*/ 343380 w 1088850"/>
              <a:gd name="connsiteY6" fmla="*/ 479015 h 2662233"/>
              <a:gd name="connsiteX7" fmla="*/ 329528 w 1088850"/>
              <a:gd name="connsiteY7" fmla="*/ 224159 h 2662233"/>
              <a:gd name="connsiteX8" fmla="*/ 271955 w 1088850"/>
              <a:gd name="connsiteY8" fmla="*/ 18703 h 2662233"/>
              <a:gd name="connsiteX9" fmla="*/ 118887 w 1088850"/>
              <a:gd name="connsiteY9" fmla="*/ 4666 h 2662233"/>
              <a:gd name="connsiteX0" fmla="*/ 1088850 w 1088850"/>
              <a:gd name="connsiteY0" fmla="*/ 2762269 h 2762269"/>
              <a:gd name="connsiteX1" fmla="*/ 862022 w 1088850"/>
              <a:gd name="connsiteY1" fmla="*/ 2344055 h 2762269"/>
              <a:gd name="connsiteX2" fmla="*/ 443808 w 1088850"/>
              <a:gd name="connsiteY2" fmla="*/ 2251907 h 2762269"/>
              <a:gd name="connsiteX3" fmla="*/ 18506 w 1088850"/>
              <a:gd name="connsiteY3" fmla="*/ 1394214 h 2762269"/>
              <a:gd name="connsiteX4" fmla="*/ 88848 w 1088850"/>
              <a:gd name="connsiteY4" fmla="*/ 996616 h 2762269"/>
              <a:gd name="connsiteX5" fmla="*/ 202046 w 1088850"/>
              <a:gd name="connsiteY5" fmla="*/ 812426 h 2762269"/>
              <a:gd name="connsiteX6" fmla="*/ 343380 w 1088850"/>
              <a:gd name="connsiteY6" fmla="*/ 579051 h 2762269"/>
              <a:gd name="connsiteX7" fmla="*/ 329528 w 1088850"/>
              <a:gd name="connsiteY7" fmla="*/ 324195 h 2762269"/>
              <a:gd name="connsiteX8" fmla="*/ 271955 w 1088850"/>
              <a:gd name="connsiteY8" fmla="*/ 118739 h 2762269"/>
              <a:gd name="connsiteX9" fmla="*/ 139828 w 1088850"/>
              <a:gd name="connsiteY9" fmla="*/ 0 h 2762269"/>
              <a:gd name="connsiteX0" fmla="*/ 1088850 w 1088850"/>
              <a:gd name="connsiteY0" fmla="*/ 2762269 h 2762269"/>
              <a:gd name="connsiteX1" fmla="*/ 862022 w 1088850"/>
              <a:gd name="connsiteY1" fmla="*/ 2344055 h 2762269"/>
              <a:gd name="connsiteX2" fmla="*/ 443808 w 1088850"/>
              <a:gd name="connsiteY2" fmla="*/ 2251907 h 2762269"/>
              <a:gd name="connsiteX3" fmla="*/ 18506 w 1088850"/>
              <a:gd name="connsiteY3" fmla="*/ 1394214 h 2762269"/>
              <a:gd name="connsiteX4" fmla="*/ 88848 w 1088850"/>
              <a:gd name="connsiteY4" fmla="*/ 996616 h 2762269"/>
              <a:gd name="connsiteX5" fmla="*/ 202046 w 1088850"/>
              <a:gd name="connsiteY5" fmla="*/ 812426 h 2762269"/>
              <a:gd name="connsiteX6" fmla="*/ 343380 w 1088850"/>
              <a:gd name="connsiteY6" fmla="*/ 579051 h 2762269"/>
              <a:gd name="connsiteX7" fmla="*/ 329528 w 1088850"/>
              <a:gd name="connsiteY7" fmla="*/ 324195 h 2762269"/>
              <a:gd name="connsiteX8" fmla="*/ 264975 w 1088850"/>
              <a:gd name="connsiteY8" fmla="*/ 146659 h 2762269"/>
              <a:gd name="connsiteX9" fmla="*/ 139828 w 1088850"/>
              <a:gd name="connsiteY9" fmla="*/ 0 h 2762269"/>
              <a:gd name="connsiteX0" fmla="*/ 1088850 w 1088850"/>
              <a:gd name="connsiteY0" fmla="*/ 2762269 h 2762269"/>
              <a:gd name="connsiteX1" fmla="*/ 862022 w 1088850"/>
              <a:gd name="connsiteY1" fmla="*/ 2344055 h 2762269"/>
              <a:gd name="connsiteX2" fmla="*/ 443808 w 1088850"/>
              <a:gd name="connsiteY2" fmla="*/ 2251907 h 2762269"/>
              <a:gd name="connsiteX3" fmla="*/ 18506 w 1088850"/>
              <a:gd name="connsiteY3" fmla="*/ 1394214 h 2762269"/>
              <a:gd name="connsiteX4" fmla="*/ 88848 w 1088850"/>
              <a:gd name="connsiteY4" fmla="*/ 996616 h 2762269"/>
              <a:gd name="connsiteX5" fmla="*/ 202046 w 1088850"/>
              <a:gd name="connsiteY5" fmla="*/ 812426 h 2762269"/>
              <a:gd name="connsiteX6" fmla="*/ 343380 w 1088850"/>
              <a:gd name="connsiteY6" fmla="*/ 579051 h 2762269"/>
              <a:gd name="connsiteX7" fmla="*/ 357449 w 1088850"/>
              <a:gd name="connsiteY7" fmla="*/ 331175 h 2762269"/>
              <a:gd name="connsiteX8" fmla="*/ 264975 w 1088850"/>
              <a:gd name="connsiteY8" fmla="*/ 146659 h 2762269"/>
              <a:gd name="connsiteX9" fmla="*/ 139828 w 1088850"/>
              <a:gd name="connsiteY9" fmla="*/ 0 h 2762269"/>
              <a:gd name="connsiteX0" fmla="*/ 1088850 w 1088850"/>
              <a:gd name="connsiteY0" fmla="*/ 2762269 h 2762269"/>
              <a:gd name="connsiteX1" fmla="*/ 862022 w 1088850"/>
              <a:gd name="connsiteY1" fmla="*/ 2344055 h 2762269"/>
              <a:gd name="connsiteX2" fmla="*/ 443808 w 1088850"/>
              <a:gd name="connsiteY2" fmla="*/ 2251907 h 2762269"/>
              <a:gd name="connsiteX3" fmla="*/ 18506 w 1088850"/>
              <a:gd name="connsiteY3" fmla="*/ 1394214 h 2762269"/>
              <a:gd name="connsiteX4" fmla="*/ 88848 w 1088850"/>
              <a:gd name="connsiteY4" fmla="*/ 996616 h 2762269"/>
              <a:gd name="connsiteX5" fmla="*/ 202046 w 1088850"/>
              <a:gd name="connsiteY5" fmla="*/ 812426 h 2762269"/>
              <a:gd name="connsiteX6" fmla="*/ 378281 w 1088850"/>
              <a:gd name="connsiteY6" fmla="*/ 593011 h 2762269"/>
              <a:gd name="connsiteX7" fmla="*/ 357449 w 1088850"/>
              <a:gd name="connsiteY7" fmla="*/ 331175 h 2762269"/>
              <a:gd name="connsiteX8" fmla="*/ 264975 w 1088850"/>
              <a:gd name="connsiteY8" fmla="*/ 146659 h 2762269"/>
              <a:gd name="connsiteX9" fmla="*/ 139828 w 1088850"/>
              <a:gd name="connsiteY9" fmla="*/ 0 h 2762269"/>
              <a:gd name="connsiteX0" fmla="*/ 1088850 w 1088850"/>
              <a:gd name="connsiteY0" fmla="*/ 2762269 h 2762269"/>
              <a:gd name="connsiteX1" fmla="*/ 862022 w 1088850"/>
              <a:gd name="connsiteY1" fmla="*/ 2344055 h 2762269"/>
              <a:gd name="connsiteX2" fmla="*/ 443808 w 1088850"/>
              <a:gd name="connsiteY2" fmla="*/ 2251907 h 2762269"/>
              <a:gd name="connsiteX3" fmla="*/ 18506 w 1088850"/>
              <a:gd name="connsiteY3" fmla="*/ 1394214 h 2762269"/>
              <a:gd name="connsiteX4" fmla="*/ 88848 w 1088850"/>
              <a:gd name="connsiteY4" fmla="*/ 996616 h 2762269"/>
              <a:gd name="connsiteX5" fmla="*/ 202046 w 1088850"/>
              <a:gd name="connsiteY5" fmla="*/ 812426 h 2762269"/>
              <a:gd name="connsiteX6" fmla="*/ 329420 w 1088850"/>
              <a:gd name="connsiteY6" fmla="*/ 606971 h 2762269"/>
              <a:gd name="connsiteX7" fmla="*/ 357449 w 1088850"/>
              <a:gd name="connsiteY7" fmla="*/ 331175 h 2762269"/>
              <a:gd name="connsiteX8" fmla="*/ 264975 w 1088850"/>
              <a:gd name="connsiteY8" fmla="*/ 146659 h 2762269"/>
              <a:gd name="connsiteX9" fmla="*/ 139828 w 1088850"/>
              <a:gd name="connsiteY9" fmla="*/ 0 h 2762269"/>
              <a:gd name="connsiteX0" fmla="*/ 1085215 w 1085215"/>
              <a:gd name="connsiteY0" fmla="*/ 2762269 h 2762269"/>
              <a:gd name="connsiteX1" fmla="*/ 858387 w 1085215"/>
              <a:gd name="connsiteY1" fmla="*/ 2344055 h 2762269"/>
              <a:gd name="connsiteX2" fmla="*/ 440173 w 1085215"/>
              <a:gd name="connsiteY2" fmla="*/ 2251907 h 2762269"/>
              <a:gd name="connsiteX3" fmla="*/ 14871 w 1085215"/>
              <a:gd name="connsiteY3" fmla="*/ 1394214 h 2762269"/>
              <a:gd name="connsiteX4" fmla="*/ 106153 w 1085215"/>
              <a:gd name="connsiteY4" fmla="*/ 996616 h 2762269"/>
              <a:gd name="connsiteX5" fmla="*/ 198411 w 1085215"/>
              <a:gd name="connsiteY5" fmla="*/ 812426 h 2762269"/>
              <a:gd name="connsiteX6" fmla="*/ 325785 w 1085215"/>
              <a:gd name="connsiteY6" fmla="*/ 606971 h 2762269"/>
              <a:gd name="connsiteX7" fmla="*/ 353814 w 1085215"/>
              <a:gd name="connsiteY7" fmla="*/ 331175 h 2762269"/>
              <a:gd name="connsiteX8" fmla="*/ 261340 w 1085215"/>
              <a:gd name="connsiteY8" fmla="*/ 146659 h 2762269"/>
              <a:gd name="connsiteX9" fmla="*/ 136193 w 1085215"/>
              <a:gd name="connsiteY9" fmla="*/ 0 h 2762269"/>
              <a:gd name="connsiteX0" fmla="*/ 1085521 w 1085521"/>
              <a:gd name="connsiteY0" fmla="*/ 2762269 h 2762269"/>
              <a:gd name="connsiteX1" fmla="*/ 858693 w 1085521"/>
              <a:gd name="connsiteY1" fmla="*/ 2344055 h 2762269"/>
              <a:gd name="connsiteX2" fmla="*/ 440479 w 1085521"/>
              <a:gd name="connsiteY2" fmla="*/ 2251907 h 2762269"/>
              <a:gd name="connsiteX3" fmla="*/ 15177 w 1085521"/>
              <a:gd name="connsiteY3" fmla="*/ 1394214 h 2762269"/>
              <a:gd name="connsiteX4" fmla="*/ 106459 w 1085521"/>
              <a:gd name="connsiteY4" fmla="*/ 996616 h 2762269"/>
              <a:gd name="connsiteX5" fmla="*/ 219658 w 1085521"/>
              <a:gd name="connsiteY5" fmla="*/ 819407 h 2762269"/>
              <a:gd name="connsiteX6" fmla="*/ 326091 w 1085521"/>
              <a:gd name="connsiteY6" fmla="*/ 606971 h 2762269"/>
              <a:gd name="connsiteX7" fmla="*/ 354120 w 1085521"/>
              <a:gd name="connsiteY7" fmla="*/ 331175 h 2762269"/>
              <a:gd name="connsiteX8" fmla="*/ 261646 w 1085521"/>
              <a:gd name="connsiteY8" fmla="*/ 146659 h 2762269"/>
              <a:gd name="connsiteX9" fmla="*/ 136499 w 1085521"/>
              <a:gd name="connsiteY9" fmla="*/ 0 h 2762269"/>
              <a:gd name="connsiteX0" fmla="*/ 1085521 w 1085521"/>
              <a:gd name="connsiteY0" fmla="*/ 2762269 h 2762269"/>
              <a:gd name="connsiteX1" fmla="*/ 858693 w 1085521"/>
              <a:gd name="connsiteY1" fmla="*/ 2344055 h 2762269"/>
              <a:gd name="connsiteX2" fmla="*/ 440479 w 1085521"/>
              <a:gd name="connsiteY2" fmla="*/ 2251907 h 2762269"/>
              <a:gd name="connsiteX3" fmla="*/ 15177 w 1085521"/>
              <a:gd name="connsiteY3" fmla="*/ 1394214 h 2762269"/>
              <a:gd name="connsiteX4" fmla="*/ 106459 w 1085521"/>
              <a:gd name="connsiteY4" fmla="*/ 996616 h 2762269"/>
              <a:gd name="connsiteX5" fmla="*/ 219658 w 1085521"/>
              <a:gd name="connsiteY5" fmla="*/ 819407 h 2762269"/>
              <a:gd name="connsiteX6" fmla="*/ 347032 w 1085521"/>
              <a:gd name="connsiteY6" fmla="*/ 606971 h 2762269"/>
              <a:gd name="connsiteX7" fmla="*/ 354120 w 1085521"/>
              <a:gd name="connsiteY7" fmla="*/ 331175 h 2762269"/>
              <a:gd name="connsiteX8" fmla="*/ 261646 w 1085521"/>
              <a:gd name="connsiteY8" fmla="*/ 146659 h 2762269"/>
              <a:gd name="connsiteX9" fmla="*/ 136499 w 1085521"/>
              <a:gd name="connsiteY9" fmla="*/ 0 h 2762269"/>
              <a:gd name="connsiteX0" fmla="*/ 1085521 w 1085521"/>
              <a:gd name="connsiteY0" fmla="*/ 2762269 h 2762269"/>
              <a:gd name="connsiteX1" fmla="*/ 858693 w 1085521"/>
              <a:gd name="connsiteY1" fmla="*/ 2344055 h 2762269"/>
              <a:gd name="connsiteX2" fmla="*/ 440479 w 1085521"/>
              <a:gd name="connsiteY2" fmla="*/ 2251907 h 2762269"/>
              <a:gd name="connsiteX3" fmla="*/ 15177 w 1085521"/>
              <a:gd name="connsiteY3" fmla="*/ 1394214 h 2762269"/>
              <a:gd name="connsiteX4" fmla="*/ 106459 w 1085521"/>
              <a:gd name="connsiteY4" fmla="*/ 996616 h 2762269"/>
              <a:gd name="connsiteX5" fmla="*/ 219658 w 1085521"/>
              <a:gd name="connsiteY5" fmla="*/ 819407 h 2762269"/>
              <a:gd name="connsiteX6" fmla="*/ 347032 w 1085521"/>
              <a:gd name="connsiteY6" fmla="*/ 606971 h 2762269"/>
              <a:gd name="connsiteX7" fmla="*/ 347140 w 1085521"/>
              <a:gd name="connsiteY7" fmla="*/ 345135 h 2762269"/>
              <a:gd name="connsiteX8" fmla="*/ 261646 w 1085521"/>
              <a:gd name="connsiteY8" fmla="*/ 146659 h 2762269"/>
              <a:gd name="connsiteX9" fmla="*/ 136499 w 1085521"/>
              <a:gd name="connsiteY9" fmla="*/ 0 h 2762269"/>
              <a:gd name="connsiteX0" fmla="*/ 1084632 w 1084632"/>
              <a:gd name="connsiteY0" fmla="*/ 2762269 h 2762269"/>
              <a:gd name="connsiteX1" fmla="*/ 857804 w 1084632"/>
              <a:gd name="connsiteY1" fmla="*/ 2344055 h 2762269"/>
              <a:gd name="connsiteX2" fmla="*/ 439590 w 1084632"/>
              <a:gd name="connsiteY2" fmla="*/ 2251907 h 2762269"/>
              <a:gd name="connsiteX3" fmla="*/ 14288 w 1084632"/>
              <a:gd name="connsiteY3" fmla="*/ 1394214 h 2762269"/>
              <a:gd name="connsiteX4" fmla="*/ 105570 w 1084632"/>
              <a:gd name="connsiteY4" fmla="*/ 996616 h 2762269"/>
              <a:gd name="connsiteX5" fmla="*/ 155948 w 1084632"/>
              <a:gd name="connsiteY5" fmla="*/ 889209 h 2762269"/>
              <a:gd name="connsiteX6" fmla="*/ 346143 w 1084632"/>
              <a:gd name="connsiteY6" fmla="*/ 606971 h 2762269"/>
              <a:gd name="connsiteX7" fmla="*/ 346251 w 1084632"/>
              <a:gd name="connsiteY7" fmla="*/ 345135 h 2762269"/>
              <a:gd name="connsiteX8" fmla="*/ 260757 w 1084632"/>
              <a:gd name="connsiteY8" fmla="*/ 146659 h 2762269"/>
              <a:gd name="connsiteX9" fmla="*/ 135610 w 1084632"/>
              <a:gd name="connsiteY9" fmla="*/ 0 h 2762269"/>
              <a:gd name="connsiteX0" fmla="*/ 1081855 w 1081855"/>
              <a:gd name="connsiteY0" fmla="*/ 2762269 h 2762269"/>
              <a:gd name="connsiteX1" fmla="*/ 855027 w 1081855"/>
              <a:gd name="connsiteY1" fmla="*/ 2344055 h 2762269"/>
              <a:gd name="connsiteX2" fmla="*/ 436813 w 1081855"/>
              <a:gd name="connsiteY2" fmla="*/ 2251907 h 2762269"/>
              <a:gd name="connsiteX3" fmla="*/ 11511 w 1081855"/>
              <a:gd name="connsiteY3" fmla="*/ 1394214 h 2762269"/>
              <a:gd name="connsiteX4" fmla="*/ 123733 w 1081855"/>
              <a:gd name="connsiteY4" fmla="*/ 1024537 h 2762269"/>
              <a:gd name="connsiteX5" fmla="*/ 153171 w 1081855"/>
              <a:gd name="connsiteY5" fmla="*/ 889209 h 2762269"/>
              <a:gd name="connsiteX6" fmla="*/ 343366 w 1081855"/>
              <a:gd name="connsiteY6" fmla="*/ 606971 h 2762269"/>
              <a:gd name="connsiteX7" fmla="*/ 343474 w 1081855"/>
              <a:gd name="connsiteY7" fmla="*/ 345135 h 2762269"/>
              <a:gd name="connsiteX8" fmla="*/ 257980 w 1081855"/>
              <a:gd name="connsiteY8" fmla="*/ 146659 h 2762269"/>
              <a:gd name="connsiteX9" fmla="*/ 132833 w 1081855"/>
              <a:gd name="connsiteY9" fmla="*/ 0 h 2762269"/>
              <a:gd name="connsiteX0" fmla="*/ 1111512 w 1111512"/>
              <a:gd name="connsiteY0" fmla="*/ 2762269 h 2762269"/>
              <a:gd name="connsiteX1" fmla="*/ 884684 w 1111512"/>
              <a:gd name="connsiteY1" fmla="*/ 2344055 h 2762269"/>
              <a:gd name="connsiteX2" fmla="*/ 466470 w 1111512"/>
              <a:gd name="connsiteY2" fmla="*/ 2251907 h 2762269"/>
              <a:gd name="connsiteX3" fmla="*/ 41168 w 1111512"/>
              <a:gd name="connsiteY3" fmla="*/ 1394214 h 2762269"/>
              <a:gd name="connsiteX4" fmla="*/ 29263 w 1111512"/>
              <a:gd name="connsiteY4" fmla="*/ 1156997 h 2762269"/>
              <a:gd name="connsiteX5" fmla="*/ 153390 w 1111512"/>
              <a:gd name="connsiteY5" fmla="*/ 1024537 h 2762269"/>
              <a:gd name="connsiteX6" fmla="*/ 182828 w 1111512"/>
              <a:gd name="connsiteY6" fmla="*/ 889209 h 2762269"/>
              <a:gd name="connsiteX7" fmla="*/ 373023 w 1111512"/>
              <a:gd name="connsiteY7" fmla="*/ 606971 h 2762269"/>
              <a:gd name="connsiteX8" fmla="*/ 373131 w 1111512"/>
              <a:gd name="connsiteY8" fmla="*/ 345135 h 2762269"/>
              <a:gd name="connsiteX9" fmla="*/ 287637 w 1111512"/>
              <a:gd name="connsiteY9" fmla="*/ 146659 h 2762269"/>
              <a:gd name="connsiteX10" fmla="*/ 162490 w 1111512"/>
              <a:gd name="connsiteY10" fmla="*/ 0 h 2762269"/>
              <a:gd name="connsiteX0" fmla="*/ 1111512 w 1111512"/>
              <a:gd name="connsiteY0" fmla="*/ 2762269 h 2762269"/>
              <a:gd name="connsiteX1" fmla="*/ 884684 w 1111512"/>
              <a:gd name="connsiteY1" fmla="*/ 2344055 h 2762269"/>
              <a:gd name="connsiteX2" fmla="*/ 466470 w 1111512"/>
              <a:gd name="connsiteY2" fmla="*/ 2251907 h 2762269"/>
              <a:gd name="connsiteX3" fmla="*/ 41168 w 1111512"/>
              <a:gd name="connsiteY3" fmla="*/ 1394214 h 2762269"/>
              <a:gd name="connsiteX4" fmla="*/ 29263 w 1111512"/>
              <a:gd name="connsiteY4" fmla="*/ 1156997 h 2762269"/>
              <a:gd name="connsiteX5" fmla="*/ 125470 w 1111512"/>
              <a:gd name="connsiteY5" fmla="*/ 1045478 h 2762269"/>
              <a:gd name="connsiteX6" fmla="*/ 182828 w 1111512"/>
              <a:gd name="connsiteY6" fmla="*/ 889209 h 2762269"/>
              <a:gd name="connsiteX7" fmla="*/ 373023 w 1111512"/>
              <a:gd name="connsiteY7" fmla="*/ 606971 h 2762269"/>
              <a:gd name="connsiteX8" fmla="*/ 373131 w 1111512"/>
              <a:gd name="connsiteY8" fmla="*/ 345135 h 2762269"/>
              <a:gd name="connsiteX9" fmla="*/ 287637 w 1111512"/>
              <a:gd name="connsiteY9" fmla="*/ 146659 h 2762269"/>
              <a:gd name="connsiteX10" fmla="*/ 162490 w 1111512"/>
              <a:gd name="connsiteY10" fmla="*/ 0 h 2762269"/>
              <a:gd name="connsiteX0" fmla="*/ 1111512 w 1111512"/>
              <a:gd name="connsiteY0" fmla="*/ 2762269 h 2762269"/>
              <a:gd name="connsiteX1" fmla="*/ 884684 w 1111512"/>
              <a:gd name="connsiteY1" fmla="*/ 2344055 h 2762269"/>
              <a:gd name="connsiteX2" fmla="*/ 466470 w 1111512"/>
              <a:gd name="connsiteY2" fmla="*/ 2251907 h 2762269"/>
              <a:gd name="connsiteX3" fmla="*/ 41168 w 1111512"/>
              <a:gd name="connsiteY3" fmla="*/ 1394214 h 2762269"/>
              <a:gd name="connsiteX4" fmla="*/ 29263 w 1111512"/>
              <a:gd name="connsiteY4" fmla="*/ 1156997 h 2762269"/>
              <a:gd name="connsiteX5" fmla="*/ 125470 w 1111512"/>
              <a:gd name="connsiteY5" fmla="*/ 1045478 h 2762269"/>
              <a:gd name="connsiteX6" fmla="*/ 161888 w 1111512"/>
              <a:gd name="connsiteY6" fmla="*/ 924110 h 2762269"/>
              <a:gd name="connsiteX7" fmla="*/ 373023 w 1111512"/>
              <a:gd name="connsiteY7" fmla="*/ 606971 h 2762269"/>
              <a:gd name="connsiteX8" fmla="*/ 373131 w 1111512"/>
              <a:gd name="connsiteY8" fmla="*/ 345135 h 2762269"/>
              <a:gd name="connsiteX9" fmla="*/ 287637 w 1111512"/>
              <a:gd name="connsiteY9" fmla="*/ 146659 h 2762269"/>
              <a:gd name="connsiteX10" fmla="*/ 162490 w 1111512"/>
              <a:gd name="connsiteY10" fmla="*/ 0 h 2762269"/>
              <a:gd name="connsiteX0" fmla="*/ 1111512 w 1111512"/>
              <a:gd name="connsiteY0" fmla="*/ 2762269 h 2762269"/>
              <a:gd name="connsiteX1" fmla="*/ 884684 w 1111512"/>
              <a:gd name="connsiteY1" fmla="*/ 2344055 h 2762269"/>
              <a:gd name="connsiteX2" fmla="*/ 466470 w 1111512"/>
              <a:gd name="connsiteY2" fmla="*/ 2251907 h 2762269"/>
              <a:gd name="connsiteX3" fmla="*/ 41168 w 1111512"/>
              <a:gd name="connsiteY3" fmla="*/ 1394214 h 2762269"/>
              <a:gd name="connsiteX4" fmla="*/ 29263 w 1111512"/>
              <a:gd name="connsiteY4" fmla="*/ 1156997 h 2762269"/>
              <a:gd name="connsiteX5" fmla="*/ 90570 w 1111512"/>
              <a:gd name="connsiteY5" fmla="*/ 1059438 h 2762269"/>
              <a:gd name="connsiteX6" fmla="*/ 161888 w 1111512"/>
              <a:gd name="connsiteY6" fmla="*/ 924110 h 2762269"/>
              <a:gd name="connsiteX7" fmla="*/ 373023 w 1111512"/>
              <a:gd name="connsiteY7" fmla="*/ 606971 h 2762269"/>
              <a:gd name="connsiteX8" fmla="*/ 373131 w 1111512"/>
              <a:gd name="connsiteY8" fmla="*/ 345135 h 2762269"/>
              <a:gd name="connsiteX9" fmla="*/ 287637 w 1111512"/>
              <a:gd name="connsiteY9" fmla="*/ 146659 h 2762269"/>
              <a:gd name="connsiteX10" fmla="*/ 162490 w 1111512"/>
              <a:gd name="connsiteY10" fmla="*/ 0 h 2762269"/>
              <a:gd name="connsiteX0" fmla="*/ 1111512 w 1111512"/>
              <a:gd name="connsiteY0" fmla="*/ 2762269 h 2762269"/>
              <a:gd name="connsiteX1" fmla="*/ 884684 w 1111512"/>
              <a:gd name="connsiteY1" fmla="*/ 2344055 h 2762269"/>
              <a:gd name="connsiteX2" fmla="*/ 466470 w 1111512"/>
              <a:gd name="connsiteY2" fmla="*/ 2251907 h 2762269"/>
              <a:gd name="connsiteX3" fmla="*/ 41168 w 1111512"/>
              <a:gd name="connsiteY3" fmla="*/ 1394214 h 2762269"/>
              <a:gd name="connsiteX4" fmla="*/ 29263 w 1111512"/>
              <a:gd name="connsiteY4" fmla="*/ 1156997 h 2762269"/>
              <a:gd name="connsiteX5" fmla="*/ 90570 w 1111512"/>
              <a:gd name="connsiteY5" fmla="*/ 1059438 h 2762269"/>
              <a:gd name="connsiteX6" fmla="*/ 161888 w 1111512"/>
              <a:gd name="connsiteY6" fmla="*/ 924110 h 2762269"/>
              <a:gd name="connsiteX7" fmla="*/ 366043 w 1111512"/>
              <a:gd name="connsiteY7" fmla="*/ 641872 h 2762269"/>
              <a:gd name="connsiteX8" fmla="*/ 373131 w 1111512"/>
              <a:gd name="connsiteY8" fmla="*/ 345135 h 2762269"/>
              <a:gd name="connsiteX9" fmla="*/ 287637 w 1111512"/>
              <a:gd name="connsiteY9" fmla="*/ 146659 h 2762269"/>
              <a:gd name="connsiteX10" fmla="*/ 162490 w 1111512"/>
              <a:gd name="connsiteY10" fmla="*/ 0 h 2762269"/>
              <a:gd name="connsiteX0" fmla="*/ 1111512 w 1111512"/>
              <a:gd name="connsiteY0" fmla="*/ 2762269 h 2762269"/>
              <a:gd name="connsiteX1" fmla="*/ 884684 w 1111512"/>
              <a:gd name="connsiteY1" fmla="*/ 2344055 h 2762269"/>
              <a:gd name="connsiteX2" fmla="*/ 466470 w 1111512"/>
              <a:gd name="connsiteY2" fmla="*/ 2251907 h 2762269"/>
              <a:gd name="connsiteX3" fmla="*/ 41168 w 1111512"/>
              <a:gd name="connsiteY3" fmla="*/ 1394214 h 2762269"/>
              <a:gd name="connsiteX4" fmla="*/ 29263 w 1111512"/>
              <a:gd name="connsiteY4" fmla="*/ 1156997 h 2762269"/>
              <a:gd name="connsiteX5" fmla="*/ 90570 w 1111512"/>
              <a:gd name="connsiteY5" fmla="*/ 1059438 h 2762269"/>
              <a:gd name="connsiteX6" fmla="*/ 161888 w 1111512"/>
              <a:gd name="connsiteY6" fmla="*/ 924110 h 2762269"/>
              <a:gd name="connsiteX7" fmla="*/ 338122 w 1111512"/>
              <a:gd name="connsiteY7" fmla="*/ 641872 h 2762269"/>
              <a:gd name="connsiteX8" fmla="*/ 373131 w 1111512"/>
              <a:gd name="connsiteY8" fmla="*/ 345135 h 2762269"/>
              <a:gd name="connsiteX9" fmla="*/ 287637 w 1111512"/>
              <a:gd name="connsiteY9" fmla="*/ 146659 h 2762269"/>
              <a:gd name="connsiteX10" fmla="*/ 162490 w 1111512"/>
              <a:gd name="connsiteY10" fmla="*/ 0 h 2762269"/>
              <a:gd name="connsiteX0" fmla="*/ 1111512 w 1111512"/>
              <a:gd name="connsiteY0" fmla="*/ 2762269 h 2762269"/>
              <a:gd name="connsiteX1" fmla="*/ 884684 w 1111512"/>
              <a:gd name="connsiteY1" fmla="*/ 2344055 h 2762269"/>
              <a:gd name="connsiteX2" fmla="*/ 466470 w 1111512"/>
              <a:gd name="connsiteY2" fmla="*/ 2251907 h 2762269"/>
              <a:gd name="connsiteX3" fmla="*/ 41168 w 1111512"/>
              <a:gd name="connsiteY3" fmla="*/ 1394214 h 2762269"/>
              <a:gd name="connsiteX4" fmla="*/ 29263 w 1111512"/>
              <a:gd name="connsiteY4" fmla="*/ 1156997 h 2762269"/>
              <a:gd name="connsiteX5" fmla="*/ 90570 w 1111512"/>
              <a:gd name="connsiteY5" fmla="*/ 1059438 h 2762269"/>
              <a:gd name="connsiteX6" fmla="*/ 161888 w 1111512"/>
              <a:gd name="connsiteY6" fmla="*/ 924110 h 2762269"/>
              <a:gd name="connsiteX7" fmla="*/ 352082 w 1111512"/>
              <a:gd name="connsiteY7" fmla="*/ 648852 h 2762269"/>
              <a:gd name="connsiteX8" fmla="*/ 373131 w 1111512"/>
              <a:gd name="connsiteY8" fmla="*/ 345135 h 2762269"/>
              <a:gd name="connsiteX9" fmla="*/ 287637 w 1111512"/>
              <a:gd name="connsiteY9" fmla="*/ 146659 h 2762269"/>
              <a:gd name="connsiteX10" fmla="*/ 162490 w 1111512"/>
              <a:gd name="connsiteY10" fmla="*/ 0 h 2762269"/>
              <a:gd name="connsiteX0" fmla="*/ 1111512 w 1111512"/>
              <a:gd name="connsiteY0" fmla="*/ 2734348 h 2734348"/>
              <a:gd name="connsiteX1" fmla="*/ 884684 w 1111512"/>
              <a:gd name="connsiteY1" fmla="*/ 2316134 h 2734348"/>
              <a:gd name="connsiteX2" fmla="*/ 466470 w 1111512"/>
              <a:gd name="connsiteY2" fmla="*/ 2223986 h 2734348"/>
              <a:gd name="connsiteX3" fmla="*/ 41168 w 1111512"/>
              <a:gd name="connsiteY3" fmla="*/ 1366293 h 2734348"/>
              <a:gd name="connsiteX4" fmla="*/ 29263 w 1111512"/>
              <a:gd name="connsiteY4" fmla="*/ 1129076 h 2734348"/>
              <a:gd name="connsiteX5" fmla="*/ 90570 w 1111512"/>
              <a:gd name="connsiteY5" fmla="*/ 1031517 h 2734348"/>
              <a:gd name="connsiteX6" fmla="*/ 161888 w 1111512"/>
              <a:gd name="connsiteY6" fmla="*/ 896189 h 2734348"/>
              <a:gd name="connsiteX7" fmla="*/ 352082 w 1111512"/>
              <a:gd name="connsiteY7" fmla="*/ 620931 h 2734348"/>
              <a:gd name="connsiteX8" fmla="*/ 373131 w 1111512"/>
              <a:gd name="connsiteY8" fmla="*/ 317214 h 2734348"/>
              <a:gd name="connsiteX9" fmla="*/ 287637 w 1111512"/>
              <a:gd name="connsiteY9" fmla="*/ 118738 h 2734348"/>
              <a:gd name="connsiteX10" fmla="*/ 183430 w 1111512"/>
              <a:gd name="connsiteY10" fmla="*/ 0 h 2734348"/>
              <a:gd name="connsiteX0" fmla="*/ 1111512 w 1111512"/>
              <a:gd name="connsiteY0" fmla="*/ 2720388 h 2720388"/>
              <a:gd name="connsiteX1" fmla="*/ 884684 w 1111512"/>
              <a:gd name="connsiteY1" fmla="*/ 2302174 h 2720388"/>
              <a:gd name="connsiteX2" fmla="*/ 466470 w 1111512"/>
              <a:gd name="connsiteY2" fmla="*/ 2210026 h 2720388"/>
              <a:gd name="connsiteX3" fmla="*/ 41168 w 1111512"/>
              <a:gd name="connsiteY3" fmla="*/ 1352333 h 2720388"/>
              <a:gd name="connsiteX4" fmla="*/ 29263 w 1111512"/>
              <a:gd name="connsiteY4" fmla="*/ 1115116 h 2720388"/>
              <a:gd name="connsiteX5" fmla="*/ 90570 w 1111512"/>
              <a:gd name="connsiteY5" fmla="*/ 1017557 h 2720388"/>
              <a:gd name="connsiteX6" fmla="*/ 161888 w 1111512"/>
              <a:gd name="connsiteY6" fmla="*/ 882229 h 2720388"/>
              <a:gd name="connsiteX7" fmla="*/ 352082 w 1111512"/>
              <a:gd name="connsiteY7" fmla="*/ 606971 h 2720388"/>
              <a:gd name="connsiteX8" fmla="*/ 373131 w 1111512"/>
              <a:gd name="connsiteY8" fmla="*/ 303254 h 2720388"/>
              <a:gd name="connsiteX9" fmla="*/ 287637 w 1111512"/>
              <a:gd name="connsiteY9" fmla="*/ 104778 h 2720388"/>
              <a:gd name="connsiteX10" fmla="*/ 190410 w 1111512"/>
              <a:gd name="connsiteY10" fmla="*/ 0 h 2720388"/>
              <a:gd name="connsiteX0" fmla="*/ 1111512 w 1111512"/>
              <a:gd name="connsiteY0" fmla="*/ 2755289 h 2755289"/>
              <a:gd name="connsiteX1" fmla="*/ 884684 w 1111512"/>
              <a:gd name="connsiteY1" fmla="*/ 2337075 h 2755289"/>
              <a:gd name="connsiteX2" fmla="*/ 466470 w 1111512"/>
              <a:gd name="connsiteY2" fmla="*/ 2244927 h 2755289"/>
              <a:gd name="connsiteX3" fmla="*/ 41168 w 1111512"/>
              <a:gd name="connsiteY3" fmla="*/ 1387234 h 2755289"/>
              <a:gd name="connsiteX4" fmla="*/ 29263 w 1111512"/>
              <a:gd name="connsiteY4" fmla="*/ 1150017 h 2755289"/>
              <a:gd name="connsiteX5" fmla="*/ 90570 w 1111512"/>
              <a:gd name="connsiteY5" fmla="*/ 1052458 h 2755289"/>
              <a:gd name="connsiteX6" fmla="*/ 161888 w 1111512"/>
              <a:gd name="connsiteY6" fmla="*/ 917130 h 2755289"/>
              <a:gd name="connsiteX7" fmla="*/ 352082 w 1111512"/>
              <a:gd name="connsiteY7" fmla="*/ 641872 h 2755289"/>
              <a:gd name="connsiteX8" fmla="*/ 373131 w 1111512"/>
              <a:gd name="connsiteY8" fmla="*/ 338155 h 2755289"/>
              <a:gd name="connsiteX9" fmla="*/ 287637 w 1111512"/>
              <a:gd name="connsiteY9" fmla="*/ 139679 h 2755289"/>
              <a:gd name="connsiteX10" fmla="*/ 141549 w 1111512"/>
              <a:gd name="connsiteY10" fmla="*/ 0 h 2755289"/>
              <a:gd name="connsiteX0" fmla="*/ 1111512 w 1111512"/>
              <a:gd name="connsiteY0" fmla="*/ 2755289 h 2755289"/>
              <a:gd name="connsiteX1" fmla="*/ 884684 w 1111512"/>
              <a:gd name="connsiteY1" fmla="*/ 2337075 h 2755289"/>
              <a:gd name="connsiteX2" fmla="*/ 466470 w 1111512"/>
              <a:gd name="connsiteY2" fmla="*/ 2244927 h 2755289"/>
              <a:gd name="connsiteX3" fmla="*/ 41168 w 1111512"/>
              <a:gd name="connsiteY3" fmla="*/ 1387234 h 2755289"/>
              <a:gd name="connsiteX4" fmla="*/ 29263 w 1111512"/>
              <a:gd name="connsiteY4" fmla="*/ 1150017 h 2755289"/>
              <a:gd name="connsiteX5" fmla="*/ 90570 w 1111512"/>
              <a:gd name="connsiteY5" fmla="*/ 1052458 h 2755289"/>
              <a:gd name="connsiteX6" fmla="*/ 161888 w 1111512"/>
              <a:gd name="connsiteY6" fmla="*/ 917130 h 2755289"/>
              <a:gd name="connsiteX7" fmla="*/ 352082 w 1111512"/>
              <a:gd name="connsiteY7" fmla="*/ 641872 h 2755289"/>
              <a:gd name="connsiteX8" fmla="*/ 373131 w 1111512"/>
              <a:gd name="connsiteY8" fmla="*/ 338155 h 2755289"/>
              <a:gd name="connsiteX9" fmla="*/ 322538 w 1111512"/>
              <a:gd name="connsiteY9" fmla="*/ 111759 h 2755289"/>
              <a:gd name="connsiteX10" fmla="*/ 141549 w 1111512"/>
              <a:gd name="connsiteY10" fmla="*/ 0 h 2755289"/>
              <a:gd name="connsiteX0" fmla="*/ 1111512 w 1111512"/>
              <a:gd name="connsiteY0" fmla="*/ 2783209 h 2783209"/>
              <a:gd name="connsiteX1" fmla="*/ 884684 w 1111512"/>
              <a:gd name="connsiteY1" fmla="*/ 2364995 h 2783209"/>
              <a:gd name="connsiteX2" fmla="*/ 466470 w 1111512"/>
              <a:gd name="connsiteY2" fmla="*/ 2272847 h 2783209"/>
              <a:gd name="connsiteX3" fmla="*/ 41168 w 1111512"/>
              <a:gd name="connsiteY3" fmla="*/ 1415154 h 2783209"/>
              <a:gd name="connsiteX4" fmla="*/ 29263 w 1111512"/>
              <a:gd name="connsiteY4" fmla="*/ 1177937 h 2783209"/>
              <a:gd name="connsiteX5" fmla="*/ 90570 w 1111512"/>
              <a:gd name="connsiteY5" fmla="*/ 1080378 h 2783209"/>
              <a:gd name="connsiteX6" fmla="*/ 161888 w 1111512"/>
              <a:gd name="connsiteY6" fmla="*/ 945050 h 2783209"/>
              <a:gd name="connsiteX7" fmla="*/ 352082 w 1111512"/>
              <a:gd name="connsiteY7" fmla="*/ 669792 h 2783209"/>
              <a:gd name="connsiteX8" fmla="*/ 373131 w 1111512"/>
              <a:gd name="connsiteY8" fmla="*/ 366075 h 2783209"/>
              <a:gd name="connsiteX9" fmla="*/ 322538 w 1111512"/>
              <a:gd name="connsiteY9" fmla="*/ 139679 h 2783209"/>
              <a:gd name="connsiteX10" fmla="*/ 120609 w 1111512"/>
              <a:gd name="connsiteY10" fmla="*/ 0 h 2783209"/>
              <a:gd name="connsiteX0" fmla="*/ 1111512 w 1111512"/>
              <a:gd name="connsiteY0" fmla="*/ 2783209 h 2783209"/>
              <a:gd name="connsiteX1" fmla="*/ 884684 w 1111512"/>
              <a:gd name="connsiteY1" fmla="*/ 2364995 h 2783209"/>
              <a:gd name="connsiteX2" fmla="*/ 466470 w 1111512"/>
              <a:gd name="connsiteY2" fmla="*/ 2272847 h 2783209"/>
              <a:gd name="connsiteX3" fmla="*/ 41168 w 1111512"/>
              <a:gd name="connsiteY3" fmla="*/ 1415154 h 2783209"/>
              <a:gd name="connsiteX4" fmla="*/ 29263 w 1111512"/>
              <a:gd name="connsiteY4" fmla="*/ 1177937 h 2783209"/>
              <a:gd name="connsiteX5" fmla="*/ 90570 w 1111512"/>
              <a:gd name="connsiteY5" fmla="*/ 1080378 h 2783209"/>
              <a:gd name="connsiteX6" fmla="*/ 161888 w 1111512"/>
              <a:gd name="connsiteY6" fmla="*/ 945050 h 2783209"/>
              <a:gd name="connsiteX7" fmla="*/ 352082 w 1111512"/>
              <a:gd name="connsiteY7" fmla="*/ 669792 h 2783209"/>
              <a:gd name="connsiteX8" fmla="*/ 373131 w 1111512"/>
              <a:gd name="connsiteY8" fmla="*/ 366075 h 2783209"/>
              <a:gd name="connsiteX9" fmla="*/ 322429 w 1111512"/>
              <a:gd name="connsiteY9" fmla="*/ 256557 h 2783209"/>
              <a:gd name="connsiteX10" fmla="*/ 322538 w 1111512"/>
              <a:gd name="connsiteY10" fmla="*/ 139679 h 2783209"/>
              <a:gd name="connsiteX11" fmla="*/ 120609 w 1111512"/>
              <a:gd name="connsiteY11" fmla="*/ 0 h 2783209"/>
              <a:gd name="connsiteX0" fmla="*/ 1111512 w 1111512"/>
              <a:gd name="connsiteY0" fmla="*/ 2783209 h 2783209"/>
              <a:gd name="connsiteX1" fmla="*/ 884684 w 1111512"/>
              <a:gd name="connsiteY1" fmla="*/ 2364995 h 2783209"/>
              <a:gd name="connsiteX2" fmla="*/ 466470 w 1111512"/>
              <a:gd name="connsiteY2" fmla="*/ 2272847 h 2783209"/>
              <a:gd name="connsiteX3" fmla="*/ 41168 w 1111512"/>
              <a:gd name="connsiteY3" fmla="*/ 1415154 h 2783209"/>
              <a:gd name="connsiteX4" fmla="*/ 29263 w 1111512"/>
              <a:gd name="connsiteY4" fmla="*/ 1177937 h 2783209"/>
              <a:gd name="connsiteX5" fmla="*/ 90570 w 1111512"/>
              <a:gd name="connsiteY5" fmla="*/ 1080378 h 2783209"/>
              <a:gd name="connsiteX6" fmla="*/ 161888 w 1111512"/>
              <a:gd name="connsiteY6" fmla="*/ 945050 h 2783209"/>
              <a:gd name="connsiteX7" fmla="*/ 352082 w 1111512"/>
              <a:gd name="connsiteY7" fmla="*/ 669792 h 2783209"/>
              <a:gd name="connsiteX8" fmla="*/ 373131 w 1111512"/>
              <a:gd name="connsiteY8" fmla="*/ 366075 h 2783209"/>
              <a:gd name="connsiteX9" fmla="*/ 322429 w 1111512"/>
              <a:gd name="connsiteY9" fmla="*/ 256557 h 2783209"/>
              <a:gd name="connsiteX10" fmla="*/ 287637 w 1111512"/>
              <a:gd name="connsiteY10" fmla="*/ 146659 h 2783209"/>
              <a:gd name="connsiteX11" fmla="*/ 120609 w 1111512"/>
              <a:gd name="connsiteY11" fmla="*/ 0 h 2783209"/>
              <a:gd name="connsiteX0" fmla="*/ 1111512 w 1111512"/>
              <a:gd name="connsiteY0" fmla="*/ 2783209 h 2783209"/>
              <a:gd name="connsiteX1" fmla="*/ 884684 w 1111512"/>
              <a:gd name="connsiteY1" fmla="*/ 2364995 h 2783209"/>
              <a:gd name="connsiteX2" fmla="*/ 466470 w 1111512"/>
              <a:gd name="connsiteY2" fmla="*/ 2272847 h 2783209"/>
              <a:gd name="connsiteX3" fmla="*/ 41168 w 1111512"/>
              <a:gd name="connsiteY3" fmla="*/ 1415154 h 2783209"/>
              <a:gd name="connsiteX4" fmla="*/ 29263 w 1111512"/>
              <a:gd name="connsiteY4" fmla="*/ 1177937 h 2783209"/>
              <a:gd name="connsiteX5" fmla="*/ 90570 w 1111512"/>
              <a:gd name="connsiteY5" fmla="*/ 1080378 h 2783209"/>
              <a:gd name="connsiteX6" fmla="*/ 161888 w 1111512"/>
              <a:gd name="connsiteY6" fmla="*/ 945050 h 2783209"/>
              <a:gd name="connsiteX7" fmla="*/ 352082 w 1111512"/>
              <a:gd name="connsiteY7" fmla="*/ 669792 h 2783209"/>
              <a:gd name="connsiteX8" fmla="*/ 373131 w 1111512"/>
              <a:gd name="connsiteY8" fmla="*/ 366075 h 2783209"/>
              <a:gd name="connsiteX9" fmla="*/ 331856 w 1111512"/>
              <a:gd name="connsiteY9" fmla="*/ 261270 h 2783209"/>
              <a:gd name="connsiteX10" fmla="*/ 287637 w 1111512"/>
              <a:gd name="connsiteY10" fmla="*/ 146659 h 2783209"/>
              <a:gd name="connsiteX11" fmla="*/ 120609 w 1111512"/>
              <a:gd name="connsiteY11" fmla="*/ 0 h 2783209"/>
              <a:gd name="connsiteX0" fmla="*/ 1111512 w 1111512"/>
              <a:gd name="connsiteY0" fmla="*/ 2783209 h 2783209"/>
              <a:gd name="connsiteX1" fmla="*/ 884684 w 1111512"/>
              <a:gd name="connsiteY1" fmla="*/ 2364995 h 2783209"/>
              <a:gd name="connsiteX2" fmla="*/ 466470 w 1111512"/>
              <a:gd name="connsiteY2" fmla="*/ 2272847 h 2783209"/>
              <a:gd name="connsiteX3" fmla="*/ 41168 w 1111512"/>
              <a:gd name="connsiteY3" fmla="*/ 1415154 h 2783209"/>
              <a:gd name="connsiteX4" fmla="*/ 29263 w 1111512"/>
              <a:gd name="connsiteY4" fmla="*/ 1177937 h 2783209"/>
              <a:gd name="connsiteX5" fmla="*/ 90570 w 1111512"/>
              <a:gd name="connsiteY5" fmla="*/ 1080378 h 2783209"/>
              <a:gd name="connsiteX6" fmla="*/ 161888 w 1111512"/>
              <a:gd name="connsiteY6" fmla="*/ 945050 h 2783209"/>
              <a:gd name="connsiteX7" fmla="*/ 352082 w 1111512"/>
              <a:gd name="connsiteY7" fmla="*/ 669792 h 2783209"/>
              <a:gd name="connsiteX8" fmla="*/ 373131 w 1111512"/>
              <a:gd name="connsiteY8" fmla="*/ 366075 h 2783209"/>
              <a:gd name="connsiteX9" fmla="*/ 331856 w 1111512"/>
              <a:gd name="connsiteY9" fmla="*/ 261270 h 2783209"/>
              <a:gd name="connsiteX10" fmla="*/ 273497 w 1111512"/>
              <a:gd name="connsiteY10" fmla="*/ 151372 h 2783209"/>
              <a:gd name="connsiteX11" fmla="*/ 120609 w 1111512"/>
              <a:gd name="connsiteY11" fmla="*/ 0 h 2783209"/>
              <a:gd name="connsiteX0" fmla="*/ 1111512 w 1111512"/>
              <a:gd name="connsiteY0" fmla="*/ 2764355 h 2764355"/>
              <a:gd name="connsiteX1" fmla="*/ 884684 w 1111512"/>
              <a:gd name="connsiteY1" fmla="*/ 2346141 h 2764355"/>
              <a:gd name="connsiteX2" fmla="*/ 466470 w 1111512"/>
              <a:gd name="connsiteY2" fmla="*/ 2253993 h 2764355"/>
              <a:gd name="connsiteX3" fmla="*/ 41168 w 1111512"/>
              <a:gd name="connsiteY3" fmla="*/ 1396300 h 2764355"/>
              <a:gd name="connsiteX4" fmla="*/ 29263 w 1111512"/>
              <a:gd name="connsiteY4" fmla="*/ 1159083 h 2764355"/>
              <a:gd name="connsiteX5" fmla="*/ 90570 w 1111512"/>
              <a:gd name="connsiteY5" fmla="*/ 1061524 h 2764355"/>
              <a:gd name="connsiteX6" fmla="*/ 161888 w 1111512"/>
              <a:gd name="connsiteY6" fmla="*/ 926196 h 2764355"/>
              <a:gd name="connsiteX7" fmla="*/ 352082 w 1111512"/>
              <a:gd name="connsiteY7" fmla="*/ 650938 h 2764355"/>
              <a:gd name="connsiteX8" fmla="*/ 373131 w 1111512"/>
              <a:gd name="connsiteY8" fmla="*/ 347221 h 2764355"/>
              <a:gd name="connsiteX9" fmla="*/ 331856 w 1111512"/>
              <a:gd name="connsiteY9" fmla="*/ 242416 h 2764355"/>
              <a:gd name="connsiteX10" fmla="*/ 273497 w 1111512"/>
              <a:gd name="connsiteY10" fmla="*/ 132518 h 2764355"/>
              <a:gd name="connsiteX11" fmla="*/ 120609 w 1111512"/>
              <a:gd name="connsiteY11" fmla="*/ 0 h 2764355"/>
              <a:gd name="connsiteX0" fmla="*/ 1111512 w 1111512"/>
              <a:gd name="connsiteY0" fmla="*/ 2764355 h 2764355"/>
              <a:gd name="connsiteX1" fmla="*/ 884684 w 1111512"/>
              <a:gd name="connsiteY1" fmla="*/ 2346141 h 2764355"/>
              <a:gd name="connsiteX2" fmla="*/ 466470 w 1111512"/>
              <a:gd name="connsiteY2" fmla="*/ 2253993 h 2764355"/>
              <a:gd name="connsiteX3" fmla="*/ 41168 w 1111512"/>
              <a:gd name="connsiteY3" fmla="*/ 1396300 h 2764355"/>
              <a:gd name="connsiteX4" fmla="*/ 29263 w 1111512"/>
              <a:gd name="connsiteY4" fmla="*/ 1159083 h 2764355"/>
              <a:gd name="connsiteX5" fmla="*/ 90570 w 1111512"/>
              <a:gd name="connsiteY5" fmla="*/ 1061524 h 2764355"/>
              <a:gd name="connsiteX6" fmla="*/ 161888 w 1111512"/>
              <a:gd name="connsiteY6" fmla="*/ 926196 h 2764355"/>
              <a:gd name="connsiteX7" fmla="*/ 352082 w 1111512"/>
              <a:gd name="connsiteY7" fmla="*/ 650938 h 2764355"/>
              <a:gd name="connsiteX8" fmla="*/ 373131 w 1111512"/>
              <a:gd name="connsiteY8" fmla="*/ 347221 h 2764355"/>
              <a:gd name="connsiteX9" fmla="*/ 331856 w 1111512"/>
              <a:gd name="connsiteY9" fmla="*/ 242416 h 2764355"/>
              <a:gd name="connsiteX10" fmla="*/ 273497 w 1111512"/>
              <a:gd name="connsiteY10" fmla="*/ 132518 h 2764355"/>
              <a:gd name="connsiteX11" fmla="*/ 120609 w 1111512"/>
              <a:gd name="connsiteY11" fmla="*/ 0 h 2764355"/>
              <a:gd name="connsiteX0" fmla="*/ 1111512 w 1111512"/>
              <a:gd name="connsiteY0" fmla="*/ 2773782 h 2773782"/>
              <a:gd name="connsiteX1" fmla="*/ 884684 w 1111512"/>
              <a:gd name="connsiteY1" fmla="*/ 2355568 h 2773782"/>
              <a:gd name="connsiteX2" fmla="*/ 466470 w 1111512"/>
              <a:gd name="connsiteY2" fmla="*/ 2263420 h 2773782"/>
              <a:gd name="connsiteX3" fmla="*/ 41168 w 1111512"/>
              <a:gd name="connsiteY3" fmla="*/ 1405727 h 2773782"/>
              <a:gd name="connsiteX4" fmla="*/ 29263 w 1111512"/>
              <a:gd name="connsiteY4" fmla="*/ 1168510 h 2773782"/>
              <a:gd name="connsiteX5" fmla="*/ 90570 w 1111512"/>
              <a:gd name="connsiteY5" fmla="*/ 1070951 h 2773782"/>
              <a:gd name="connsiteX6" fmla="*/ 161888 w 1111512"/>
              <a:gd name="connsiteY6" fmla="*/ 935623 h 2773782"/>
              <a:gd name="connsiteX7" fmla="*/ 352082 w 1111512"/>
              <a:gd name="connsiteY7" fmla="*/ 660365 h 2773782"/>
              <a:gd name="connsiteX8" fmla="*/ 373131 w 1111512"/>
              <a:gd name="connsiteY8" fmla="*/ 356648 h 2773782"/>
              <a:gd name="connsiteX9" fmla="*/ 331856 w 1111512"/>
              <a:gd name="connsiteY9" fmla="*/ 251843 h 2773782"/>
              <a:gd name="connsiteX10" fmla="*/ 273497 w 1111512"/>
              <a:gd name="connsiteY10" fmla="*/ 141945 h 2773782"/>
              <a:gd name="connsiteX11" fmla="*/ 134749 w 1111512"/>
              <a:gd name="connsiteY11" fmla="*/ 0 h 2773782"/>
              <a:gd name="connsiteX0" fmla="*/ 1111512 w 1111512"/>
              <a:gd name="connsiteY0" fmla="*/ 2773782 h 2773782"/>
              <a:gd name="connsiteX1" fmla="*/ 884684 w 1111512"/>
              <a:gd name="connsiteY1" fmla="*/ 2355568 h 2773782"/>
              <a:gd name="connsiteX2" fmla="*/ 466470 w 1111512"/>
              <a:gd name="connsiteY2" fmla="*/ 2263420 h 2773782"/>
              <a:gd name="connsiteX3" fmla="*/ 41168 w 1111512"/>
              <a:gd name="connsiteY3" fmla="*/ 1405727 h 2773782"/>
              <a:gd name="connsiteX4" fmla="*/ 29263 w 1111512"/>
              <a:gd name="connsiteY4" fmla="*/ 1168510 h 2773782"/>
              <a:gd name="connsiteX5" fmla="*/ 90570 w 1111512"/>
              <a:gd name="connsiteY5" fmla="*/ 1070951 h 2773782"/>
              <a:gd name="connsiteX6" fmla="*/ 161888 w 1111512"/>
              <a:gd name="connsiteY6" fmla="*/ 935623 h 2773782"/>
              <a:gd name="connsiteX7" fmla="*/ 352082 w 1111512"/>
              <a:gd name="connsiteY7" fmla="*/ 660365 h 2773782"/>
              <a:gd name="connsiteX8" fmla="*/ 373131 w 1111512"/>
              <a:gd name="connsiteY8" fmla="*/ 356648 h 2773782"/>
              <a:gd name="connsiteX9" fmla="*/ 331856 w 1111512"/>
              <a:gd name="connsiteY9" fmla="*/ 251843 h 2773782"/>
              <a:gd name="connsiteX10" fmla="*/ 273497 w 1111512"/>
              <a:gd name="connsiteY10" fmla="*/ 141945 h 2773782"/>
              <a:gd name="connsiteX11" fmla="*/ 134749 w 1111512"/>
              <a:gd name="connsiteY11" fmla="*/ 0 h 2773782"/>
              <a:gd name="connsiteX0" fmla="*/ 1111512 w 1111512"/>
              <a:gd name="connsiteY0" fmla="*/ 2778495 h 2778495"/>
              <a:gd name="connsiteX1" fmla="*/ 884684 w 1111512"/>
              <a:gd name="connsiteY1" fmla="*/ 2360281 h 2778495"/>
              <a:gd name="connsiteX2" fmla="*/ 466470 w 1111512"/>
              <a:gd name="connsiteY2" fmla="*/ 2268133 h 2778495"/>
              <a:gd name="connsiteX3" fmla="*/ 41168 w 1111512"/>
              <a:gd name="connsiteY3" fmla="*/ 1410440 h 2778495"/>
              <a:gd name="connsiteX4" fmla="*/ 29263 w 1111512"/>
              <a:gd name="connsiteY4" fmla="*/ 1173223 h 2778495"/>
              <a:gd name="connsiteX5" fmla="*/ 90570 w 1111512"/>
              <a:gd name="connsiteY5" fmla="*/ 1075664 h 2778495"/>
              <a:gd name="connsiteX6" fmla="*/ 161888 w 1111512"/>
              <a:gd name="connsiteY6" fmla="*/ 940336 h 2778495"/>
              <a:gd name="connsiteX7" fmla="*/ 352082 w 1111512"/>
              <a:gd name="connsiteY7" fmla="*/ 665078 h 2778495"/>
              <a:gd name="connsiteX8" fmla="*/ 373131 w 1111512"/>
              <a:gd name="connsiteY8" fmla="*/ 361361 h 2778495"/>
              <a:gd name="connsiteX9" fmla="*/ 331856 w 1111512"/>
              <a:gd name="connsiteY9" fmla="*/ 256556 h 2778495"/>
              <a:gd name="connsiteX10" fmla="*/ 273497 w 1111512"/>
              <a:gd name="connsiteY10" fmla="*/ 146658 h 2778495"/>
              <a:gd name="connsiteX11" fmla="*/ 120609 w 1111512"/>
              <a:gd name="connsiteY11" fmla="*/ 0 h 2778495"/>
              <a:gd name="connsiteX0" fmla="*/ 1111512 w 1111512"/>
              <a:gd name="connsiteY0" fmla="*/ 2778495 h 2778495"/>
              <a:gd name="connsiteX1" fmla="*/ 884684 w 1111512"/>
              <a:gd name="connsiteY1" fmla="*/ 2360281 h 2778495"/>
              <a:gd name="connsiteX2" fmla="*/ 466470 w 1111512"/>
              <a:gd name="connsiteY2" fmla="*/ 2268133 h 2778495"/>
              <a:gd name="connsiteX3" fmla="*/ 41168 w 1111512"/>
              <a:gd name="connsiteY3" fmla="*/ 1410440 h 2778495"/>
              <a:gd name="connsiteX4" fmla="*/ 29263 w 1111512"/>
              <a:gd name="connsiteY4" fmla="*/ 1173223 h 2778495"/>
              <a:gd name="connsiteX5" fmla="*/ 90570 w 1111512"/>
              <a:gd name="connsiteY5" fmla="*/ 1075664 h 2778495"/>
              <a:gd name="connsiteX6" fmla="*/ 161888 w 1111512"/>
              <a:gd name="connsiteY6" fmla="*/ 940336 h 2778495"/>
              <a:gd name="connsiteX7" fmla="*/ 352082 w 1111512"/>
              <a:gd name="connsiteY7" fmla="*/ 665078 h 2778495"/>
              <a:gd name="connsiteX8" fmla="*/ 373131 w 1111512"/>
              <a:gd name="connsiteY8" fmla="*/ 361361 h 2778495"/>
              <a:gd name="connsiteX9" fmla="*/ 331856 w 1111512"/>
              <a:gd name="connsiteY9" fmla="*/ 256556 h 2778495"/>
              <a:gd name="connsiteX10" fmla="*/ 273497 w 1111512"/>
              <a:gd name="connsiteY10" fmla="*/ 146658 h 2778495"/>
              <a:gd name="connsiteX11" fmla="*/ 120609 w 1111512"/>
              <a:gd name="connsiteY11" fmla="*/ 0 h 2778495"/>
              <a:gd name="connsiteX0" fmla="*/ 1111512 w 1111512"/>
              <a:gd name="connsiteY0" fmla="*/ 2778495 h 2778495"/>
              <a:gd name="connsiteX1" fmla="*/ 884684 w 1111512"/>
              <a:gd name="connsiteY1" fmla="*/ 2360281 h 2778495"/>
              <a:gd name="connsiteX2" fmla="*/ 466470 w 1111512"/>
              <a:gd name="connsiteY2" fmla="*/ 2268133 h 2778495"/>
              <a:gd name="connsiteX3" fmla="*/ 41168 w 1111512"/>
              <a:gd name="connsiteY3" fmla="*/ 1410440 h 2778495"/>
              <a:gd name="connsiteX4" fmla="*/ 29263 w 1111512"/>
              <a:gd name="connsiteY4" fmla="*/ 1173223 h 2778495"/>
              <a:gd name="connsiteX5" fmla="*/ 90570 w 1111512"/>
              <a:gd name="connsiteY5" fmla="*/ 1075664 h 2778495"/>
              <a:gd name="connsiteX6" fmla="*/ 161888 w 1111512"/>
              <a:gd name="connsiteY6" fmla="*/ 940336 h 2778495"/>
              <a:gd name="connsiteX7" fmla="*/ 352082 w 1111512"/>
              <a:gd name="connsiteY7" fmla="*/ 665078 h 2778495"/>
              <a:gd name="connsiteX8" fmla="*/ 373131 w 1111512"/>
              <a:gd name="connsiteY8" fmla="*/ 361361 h 2778495"/>
              <a:gd name="connsiteX9" fmla="*/ 331856 w 1111512"/>
              <a:gd name="connsiteY9" fmla="*/ 256556 h 2778495"/>
              <a:gd name="connsiteX10" fmla="*/ 273497 w 1111512"/>
              <a:gd name="connsiteY10" fmla="*/ 146658 h 2778495"/>
              <a:gd name="connsiteX11" fmla="*/ 111182 w 1111512"/>
              <a:gd name="connsiteY11" fmla="*/ 0 h 2778495"/>
              <a:gd name="connsiteX0" fmla="*/ 1111512 w 1111512"/>
              <a:gd name="connsiteY0" fmla="*/ 2804098 h 2804098"/>
              <a:gd name="connsiteX1" fmla="*/ 884684 w 1111512"/>
              <a:gd name="connsiteY1" fmla="*/ 2385884 h 2804098"/>
              <a:gd name="connsiteX2" fmla="*/ 466470 w 1111512"/>
              <a:gd name="connsiteY2" fmla="*/ 2293736 h 2804098"/>
              <a:gd name="connsiteX3" fmla="*/ 41168 w 1111512"/>
              <a:gd name="connsiteY3" fmla="*/ 1436043 h 2804098"/>
              <a:gd name="connsiteX4" fmla="*/ 29263 w 1111512"/>
              <a:gd name="connsiteY4" fmla="*/ 1198826 h 2804098"/>
              <a:gd name="connsiteX5" fmla="*/ 90570 w 1111512"/>
              <a:gd name="connsiteY5" fmla="*/ 1101267 h 2804098"/>
              <a:gd name="connsiteX6" fmla="*/ 161888 w 1111512"/>
              <a:gd name="connsiteY6" fmla="*/ 965939 h 2804098"/>
              <a:gd name="connsiteX7" fmla="*/ 352082 w 1111512"/>
              <a:gd name="connsiteY7" fmla="*/ 690681 h 2804098"/>
              <a:gd name="connsiteX8" fmla="*/ 373131 w 1111512"/>
              <a:gd name="connsiteY8" fmla="*/ 386964 h 2804098"/>
              <a:gd name="connsiteX9" fmla="*/ 331856 w 1111512"/>
              <a:gd name="connsiteY9" fmla="*/ 282159 h 2804098"/>
              <a:gd name="connsiteX10" fmla="*/ 273497 w 1111512"/>
              <a:gd name="connsiteY10" fmla="*/ 172261 h 2804098"/>
              <a:gd name="connsiteX11" fmla="*/ 118497 w 1111512"/>
              <a:gd name="connsiteY11" fmla="*/ 0 h 2804098"/>
              <a:gd name="connsiteX0" fmla="*/ 1128446 w 1128446"/>
              <a:gd name="connsiteY0" fmla="*/ 2837964 h 2837964"/>
              <a:gd name="connsiteX1" fmla="*/ 884684 w 1128446"/>
              <a:gd name="connsiteY1" fmla="*/ 2385884 h 2837964"/>
              <a:gd name="connsiteX2" fmla="*/ 466470 w 1128446"/>
              <a:gd name="connsiteY2" fmla="*/ 2293736 h 2837964"/>
              <a:gd name="connsiteX3" fmla="*/ 41168 w 1128446"/>
              <a:gd name="connsiteY3" fmla="*/ 1436043 h 2837964"/>
              <a:gd name="connsiteX4" fmla="*/ 29263 w 1128446"/>
              <a:gd name="connsiteY4" fmla="*/ 1198826 h 2837964"/>
              <a:gd name="connsiteX5" fmla="*/ 90570 w 1128446"/>
              <a:gd name="connsiteY5" fmla="*/ 1101267 h 2837964"/>
              <a:gd name="connsiteX6" fmla="*/ 161888 w 1128446"/>
              <a:gd name="connsiteY6" fmla="*/ 965939 h 2837964"/>
              <a:gd name="connsiteX7" fmla="*/ 352082 w 1128446"/>
              <a:gd name="connsiteY7" fmla="*/ 690681 h 2837964"/>
              <a:gd name="connsiteX8" fmla="*/ 373131 w 1128446"/>
              <a:gd name="connsiteY8" fmla="*/ 386964 h 2837964"/>
              <a:gd name="connsiteX9" fmla="*/ 331856 w 1128446"/>
              <a:gd name="connsiteY9" fmla="*/ 282159 h 2837964"/>
              <a:gd name="connsiteX10" fmla="*/ 273497 w 1128446"/>
              <a:gd name="connsiteY10" fmla="*/ 172261 h 2837964"/>
              <a:gd name="connsiteX11" fmla="*/ 118497 w 1128446"/>
              <a:gd name="connsiteY11" fmla="*/ 0 h 2837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28446" h="2837964">
                <a:moveTo>
                  <a:pt x="1128446" y="2837964"/>
                </a:moveTo>
                <a:cubicBezTo>
                  <a:pt x="1068785" y="2671387"/>
                  <a:pt x="995013" y="2476589"/>
                  <a:pt x="884684" y="2385884"/>
                </a:cubicBezTo>
                <a:cubicBezTo>
                  <a:pt x="774355" y="2295179"/>
                  <a:pt x="607056" y="2452043"/>
                  <a:pt x="466470" y="2293736"/>
                </a:cubicBezTo>
                <a:cubicBezTo>
                  <a:pt x="325884" y="2135429"/>
                  <a:pt x="114036" y="1618528"/>
                  <a:pt x="41168" y="1436043"/>
                </a:cubicBezTo>
                <a:cubicBezTo>
                  <a:pt x="-31700" y="1253558"/>
                  <a:pt x="10559" y="1260439"/>
                  <a:pt x="29263" y="1198826"/>
                </a:cubicBezTo>
                <a:cubicBezTo>
                  <a:pt x="47967" y="1137213"/>
                  <a:pt x="68466" y="1140081"/>
                  <a:pt x="90570" y="1101267"/>
                </a:cubicBezTo>
                <a:cubicBezTo>
                  <a:pt x="112674" y="1062453"/>
                  <a:pt x="118303" y="1034370"/>
                  <a:pt x="161888" y="965939"/>
                </a:cubicBezTo>
                <a:cubicBezTo>
                  <a:pt x="205473" y="897508"/>
                  <a:pt x="316875" y="787177"/>
                  <a:pt x="352082" y="690681"/>
                </a:cubicBezTo>
                <a:cubicBezTo>
                  <a:pt x="387289" y="594185"/>
                  <a:pt x="376502" y="455051"/>
                  <a:pt x="373131" y="386964"/>
                </a:cubicBezTo>
                <a:cubicBezTo>
                  <a:pt x="369760" y="318877"/>
                  <a:pt x="340288" y="319892"/>
                  <a:pt x="331856" y="282159"/>
                </a:cubicBezTo>
                <a:cubicBezTo>
                  <a:pt x="323424" y="244426"/>
                  <a:pt x="309057" y="219287"/>
                  <a:pt x="273497" y="172261"/>
                </a:cubicBezTo>
                <a:cubicBezTo>
                  <a:pt x="237937" y="125235"/>
                  <a:pt x="223421" y="49509"/>
                  <a:pt x="118497" y="0"/>
                </a:cubicBezTo>
              </a:path>
            </a:pathLst>
          </a:custGeom>
          <a:noFill/>
          <a:ln w="50800" cmpd="dbl">
            <a:solidFill>
              <a:srgbClr val="EE352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EF758CCD-D576-D041-90B4-8BA4C537F1A7}"/>
              </a:ext>
            </a:extLst>
          </p:cNvPr>
          <p:cNvSpPr/>
          <p:nvPr/>
        </p:nvSpPr>
        <p:spPr>
          <a:xfrm>
            <a:off x="0" y="2912983"/>
            <a:ext cx="3257794" cy="1436108"/>
          </a:xfrm>
          <a:custGeom>
            <a:avLst/>
            <a:gdLst>
              <a:gd name="connsiteX0" fmla="*/ 0 w 3354992"/>
              <a:gd name="connsiteY0" fmla="*/ 1541816 h 1556605"/>
              <a:gd name="connsiteX1" fmla="*/ 124990 w 3354992"/>
              <a:gd name="connsiteY1" fmla="*/ 1554973 h 1556605"/>
              <a:gd name="connsiteX2" fmla="*/ 421018 w 3354992"/>
              <a:gd name="connsiteY2" fmla="*/ 1508924 h 1556605"/>
              <a:gd name="connsiteX3" fmla="*/ 802566 w 3354992"/>
              <a:gd name="connsiteY3" fmla="*/ 1331307 h 1556605"/>
              <a:gd name="connsiteX4" fmla="*/ 986762 w 3354992"/>
              <a:gd name="connsiteY4" fmla="*/ 1304993 h 1556605"/>
              <a:gd name="connsiteX5" fmla="*/ 1203850 w 3354992"/>
              <a:gd name="connsiteY5" fmla="*/ 1199739 h 1556605"/>
              <a:gd name="connsiteX6" fmla="*/ 1355154 w 3354992"/>
              <a:gd name="connsiteY6" fmla="*/ 1114219 h 1556605"/>
              <a:gd name="connsiteX7" fmla="*/ 1677496 w 3354992"/>
              <a:gd name="connsiteY7" fmla="*/ 1081327 h 1556605"/>
              <a:gd name="connsiteX8" fmla="*/ 1841956 w 3354992"/>
              <a:gd name="connsiteY8" fmla="*/ 995808 h 1556605"/>
              <a:gd name="connsiteX9" fmla="*/ 1953790 w 3354992"/>
              <a:gd name="connsiteY9" fmla="*/ 969494 h 1556605"/>
              <a:gd name="connsiteX10" fmla="*/ 2065623 w 3354992"/>
              <a:gd name="connsiteY10" fmla="*/ 791877 h 1556605"/>
              <a:gd name="connsiteX11" fmla="*/ 2210348 w 3354992"/>
              <a:gd name="connsiteY11" fmla="*/ 686622 h 1556605"/>
              <a:gd name="connsiteX12" fmla="*/ 2341916 w 3354992"/>
              <a:gd name="connsiteY12" fmla="*/ 601103 h 1556605"/>
              <a:gd name="connsiteX13" fmla="*/ 2401122 w 3354992"/>
              <a:gd name="connsiteY13" fmla="*/ 601103 h 1556605"/>
              <a:gd name="connsiteX14" fmla="*/ 2532690 w 3354992"/>
              <a:gd name="connsiteY14" fmla="*/ 594524 h 1556605"/>
              <a:gd name="connsiteX15" fmla="*/ 2749778 w 3354992"/>
              <a:gd name="connsiteY15" fmla="*/ 522162 h 1556605"/>
              <a:gd name="connsiteX16" fmla="*/ 2914238 w 3354992"/>
              <a:gd name="connsiteY16" fmla="*/ 390593 h 1556605"/>
              <a:gd name="connsiteX17" fmla="*/ 2960287 w 3354992"/>
              <a:gd name="connsiteY17" fmla="*/ 265603 h 1556605"/>
              <a:gd name="connsiteX18" fmla="*/ 2999758 w 3354992"/>
              <a:gd name="connsiteY18" fmla="*/ 226133 h 1556605"/>
              <a:gd name="connsiteX19" fmla="*/ 3137905 w 3354992"/>
              <a:gd name="connsiteY19" fmla="*/ 193241 h 1556605"/>
              <a:gd name="connsiteX20" fmla="*/ 3210267 w 3354992"/>
              <a:gd name="connsiteY20" fmla="*/ 87986 h 1556605"/>
              <a:gd name="connsiteX21" fmla="*/ 3223424 w 3354992"/>
              <a:gd name="connsiteY21" fmla="*/ 9045 h 1556605"/>
              <a:gd name="connsiteX22" fmla="*/ 3302365 w 3354992"/>
              <a:gd name="connsiteY22" fmla="*/ 2467 h 1556605"/>
              <a:gd name="connsiteX23" fmla="*/ 3354992 w 3354992"/>
              <a:gd name="connsiteY23" fmla="*/ 15624 h 1556605"/>
              <a:gd name="connsiteX0" fmla="*/ 0 w 3403213"/>
              <a:gd name="connsiteY0" fmla="*/ 1552510 h 1560006"/>
              <a:gd name="connsiteX1" fmla="*/ 173211 w 3403213"/>
              <a:gd name="connsiteY1" fmla="*/ 1554973 h 1560006"/>
              <a:gd name="connsiteX2" fmla="*/ 469239 w 3403213"/>
              <a:gd name="connsiteY2" fmla="*/ 1508924 h 1560006"/>
              <a:gd name="connsiteX3" fmla="*/ 850787 w 3403213"/>
              <a:gd name="connsiteY3" fmla="*/ 1331307 h 1560006"/>
              <a:gd name="connsiteX4" fmla="*/ 1034983 w 3403213"/>
              <a:gd name="connsiteY4" fmla="*/ 1304993 h 1560006"/>
              <a:gd name="connsiteX5" fmla="*/ 1252071 w 3403213"/>
              <a:gd name="connsiteY5" fmla="*/ 1199739 h 1560006"/>
              <a:gd name="connsiteX6" fmla="*/ 1403375 w 3403213"/>
              <a:gd name="connsiteY6" fmla="*/ 1114219 h 1560006"/>
              <a:gd name="connsiteX7" fmla="*/ 1725717 w 3403213"/>
              <a:gd name="connsiteY7" fmla="*/ 1081327 h 1560006"/>
              <a:gd name="connsiteX8" fmla="*/ 1890177 w 3403213"/>
              <a:gd name="connsiteY8" fmla="*/ 995808 h 1560006"/>
              <a:gd name="connsiteX9" fmla="*/ 2002011 w 3403213"/>
              <a:gd name="connsiteY9" fmla="*/ 969494 h 1560006"/>
              <a:gd name="connsiteX10" fmla="*/ 2113844 w 3403213"/>
              <a:gd name="connsiteY10" fmla="*/ 791877 h 1560006"/>
              <a:gd name="connsiteX11" fmla="*/ 2258569 w 3403213"/>
              <a:gd name="connsiteY11" fmla="*/ 686622 h 1560006"/>
              <a:gd name="connsiteX12" fmla="*/ 2390137 w 3403213"/>
              <a:gd name="connsiteY12" fmla="*/ 601103 h 1560006"/>
              <a:gd name="connsiteX13" fmla="*/ 2449343 w 3403213"/>
              <a:gd name="connsiteY13" fmla="*/ 601103 h 1560006"/>
              <a:gd name="connsiteX14" fmla="*/ 2580911 w 3403213"/>
              <a:gd name="connsiteY14" fmla="*/ 594524 h 1560006"/>
              <a:gd name="connsiteX15" fmla="*/ 2797999 w 3403213"/>
              <a:gd name="connsiteY15" fmla="*/ 522162 h 1560006"/>
              <a:gd name="connsiteX16" fmla="*/ 2962459 w 3403213"/>
              <a:gd name="connsiteY16" fmla="*/ 390593 h 1560006"/>
              <a:gd name="connsiteX17" fmla="*/ 3008508 w 3403213"/>
              <a:gd name="connsiteY17" fmla="*/ 265603 h 1560006"/>
              <a:gd name="connsiteX18" fmla="*/ 3047979 w 3403213"/>
              <a:gd name="connsiteY18" fmla="*/ 226133 h 1560006"/>
              <a:gd name="connsiteX19" fmla="*/ 3186126 w 3403213"/>
              <a:gd name="connsiteY19" fmla="*/ 193241 h 1560006"/>
              <a:gd name="connsiteX20" fmla="*/ 3258488 w 3403213"/>
              <a:gd name="connsiteY20" fmla="*/ 87986 h 1560006"/>
              <a:gd name="connsiteX21" fmla="*/ 3271645 w 3403213"/>
              <a:gd name="connsiteY21" fmla="*/ 9045 h 1560006"/>
              <a:gd name="connsiteX22" fmla="*/ 3350586 w 3403213"/>
              <a:gd name="connsiteY22" fmla="*/ 2467 h 1560006"/>
              <a:gd name="connsiteX23" fmla="*/ 3403213 w 3403213"/>
              <a:gd name="connsiteY23" fmla="*/ 15624 h 1560006"/>
              <a:gd name="connsiteX0" fmla="*/ 0 w 3462150"/>
              <a:gd name="connsiteY0" fmla="*/ 1555777 h 1563273"/>
              <a:gd name="connsiteX1" fmla="*/ 173211 w 3462150"/>
              <a:gd name="connsiteY1" fmla="*/ 1558240 h 1563273"/>
              <a:gd name="connsiteX2" fmla="*/ 469239 w 3462150"/>
              <a:gd name="connsiteY2" fmla="*/ 1512191 h 1563273"/>
              <a:gd name="connsiteX3" fmla="*/ 850787 w 3462150"/>
              <a:gd name="connsiteY3" fmla="*/ 1334574 h 1563273"/>
              <a:gd name="connsiteX4" fmla="*/ 1034983 w 3462150"/>
              <a:gd name="connsiteY4" fmla="*/ 1308260 h 1563273"/>
              <a:gd name="connsiteX5" fmla="*/ 1252071 w 3462150"/>
              <a:gd name="connsiteY5" fmla="*/ 1203006 h 1563273"/>
              <a:gd name="connsiteX6" fmla="*/ 1403375 w 3462150"/>
              <a:gd name="connsiteY6" fmla="*/ 1117486 h 1563273"/>
              <a:gd name="connsiteX7" fmla="*/ 1725717 w 3462150"/>
              <a:gd name="connsiteY7" fmla="*/ 1084594 h 1563273"/>
              <a:gd name="connsiteX8" fmla="*/ 1890177 w 3462150"/>
              <a:gd name="connsiteY8" fmla="*/ 999075 h 1563273"/>
              <a:gd name="connsiteX9" fmla="*/ 2002011 w 3462150"/>
              <a:gd name="connsiteY9" fmla="*/ 972761 h 1563273"/>
              <a:gd name="connsiteX10" fmla="*/ 2113844 w 3462150"/>
              <a:gd name="connsiteY10" fmla="*/ 795144 h 1563273"/>
              <a:gd name="connsiteX11" fmla="*/ 2258569 w 3462150"/>
              <a:gd name="connsiteY11" fmla="*/ 689889 h 1563273"/>
              <a:gd name="connsiteX12" fmla="*/ 2390137 w 3462150"/>
              <a:gd name="connsiteY12" fmla="*/ 604370 h 1563273"/>
              <a:gd name="connsiteX13" fmla="*/ 2449343 w 3462150"/>
              <a:gd name="connsiteY13" fmla="*/ 604370 h 1563273"/>
              <a:gd name="connsiteX14" fmla="*/ 2580911 w 3462150"/>
              <a:gd name="connsiteY14" fmla="*/ 597791 h 1563273"/>
              <a:gd name="connsiteX15" fmla="*/ 2797999 w 3462150"/>
              <a:gd name="connsiteY15" fmla="*/ 525429 h 1563273"/>
              <a:gd name="connsiteX16" fmla="*/ 2962459 w 3462150"/>
              <a:gd name="connsiteY16" fmla="*/ 393860 h 1563273"/>
              <a:gd name="connsiteX17" fmla="*/ 3008508 w 3462150"/>
              <a:gd name="connsiteY17" fmla="*/ 268870 h 1563273"/>
              <a:gd name="connsiteX18" fmla="*/ 3047979 w 3462150"/>
              <a:gd name="connsiteY18" fmla="*/ 229400 h 1563273"/>
              <a:gd name="connsiteX19" fmla="*/ 3186126 w 3462150"/>
              <a:gd name="connsiteY19" fmla="*/ 196508 h 1563273"/>
              <a:gd name="connsiteX20" fmla="*/ 3258488 w 3462150"/>
              <a:gd name="connsiteY20" fmla="*/ 91253 h 1563273"/>
              <a:gd name="connsiteX21" fmla="*/ 3271645 w 3462150"/>
              <a:gd name="connsiteY21" fmla="*/ 12312 h 1563273"/>
              <a:gd name="connsiteX22" fmla="*/ 3350586 w 3462150"/>
              <a:gd name="connsiteY22" fmla="*/ 5734 h 1563273"/>
              <a:gd name="connsiteX23" fmla="*/ 3462150 w 3462150"/>
              <a:gd name="connsiteY23" fmla="*/ 67018 h 1563273"/>
              <a:gd name="connsiteX0" fmla="*/ 0 w 3462150"/>
              <a:gd name="connsiteY0" fmla="*/ 1555777 h 1563273"/>
              <a:gd name="connsiteX1" fmla="*/ 173211 w 3462150"/>
              <a:gd name="connsiteY1" fmla="*/ 1558240 h 1563273"/>
              <a:gd name="connsiteX2" fmla="*/ 469239 w 3462150"/>
              <a:gd name="connsiteY2" fmla="*/ 1512191 h 1563273"/>
              <a:gd name="connsiteX3" fmla="*/ 850787 w 3462150"/>
              <a:gd name="connsiteY3" fmla="*/ 1334574 h 1563273"/>
              <a:gd name="connsiteX4" fmla="*/ 1034983 w 3462150"/>
              <a:gd name="connsiteY4" fmla="*/ 1308260 h 1563273"/>
              <a:gd name="connsiteX5" fmla="*/ 1252071 w 3462150"/>
              <a:gd name="connsiteY5" fmla="*/ 1203006 h 1563273"/>
              <a:gd name="connsiteX6" fmla="*/ 1403375 w 3462150"/>
              <a:gd name="connsiteY6" fmla="*/ 1117486 h 1563273"/>
              <a:gd name="connsiteX7" fmla="*/ 1725717 w 3462150"/>
              <a:gd name="connsiteY7" fmla="*/ 1084594 h 1563273"/>
              <a:gd name="connsiteX8" fmla="*/ 1890177 w 3462150"/>
              <a:gd name="connsiteY8" fmla="*/ 999075 h 1563273"/>
              <a:gd name="connsiteX9" fmla="*/ 2002011 w 3462150"/>
              <a:gd name="connsiteY9" fmla="*/ 972761 h 1563273"/>
              <a:gd name="connsiteX10" fmla="*/ 2113844 w 3462150"/>
              <a:gd name="connsiteY10" fmla="*/ 795144 h 1563273"/>
              <a:gd name="connsiteX11" fmla="*/ 2258569 w 3462150"/>
              <a:gd name="connsiteY11" fmla="*/ 689889 h 1563273"/>
              <a:gd name="connsiteX12" fmla="*/ 2390137 w 3462150"/>
              <a:gd name="connsiteY12" fmla="*/ 604370 h 1563273"/>
              <a:gd name="connsiteX13" fmla="*/ 2449343 w 3462150"/>
              <a:gd name="connsiteY13" fmla="*/ 604370 h 1563273"/>
              <a:gd name="connsiteX14" fmla="*/ 2580911 w 3462150"/>
              <a:gd name="connsiteY14" fmla="*/ 597791 h 1563273"/>
              <a:gd name="connsiteX15" fmla="*/ 2797999 w 3462150"/>
              <a:gd name="connsiteY15" fmla="*/ 525429 h 1563273"/>
              <a:gd name="connsiteX16" fmla="*/ 2962459 w 3462150"/>
              <a:gd name="connsiteY16" fmla="*/ 393860 h 1563273"/>
              <a:gd name="connsiteX17" fmla="*/ 3008508 w 3462150"/>
              <a:gd name="connsiteY17" fmla="*/ 268870 h 1563273"/>
              <a:gd name="connsiteX18" fmla="*/ 3047979 w 3462150"/>
              <a:gd name="connsiteY18" fmla="*/ 229400 h 1563273"/>
              <a:gd name="connsiteX19" fmla="*/ 3186126 w 3462150"/>
              <a:gd name="connsiteY19" fmla="*/ 196508 h 1563273"/>
              <a:gd name="connsiteX20" fmla="*/ 3258488 w 3462150"/>
              <a:gd name="connsiteY20" fmla="*/ 91253 h 1563273"/>
              <a:gd name="connsiteX21" fmla="*/ 3271645 w 3462150"/>
              <a:gd name="connsiteY21" fmla="*/ 12312 h 1563273"/>
              <a:gd name="connsiteX22" fmla="*/ 3350586 w 3462150"/>
              <a:gd name="connsiteY22" fmla="*/ 5734 h 1563273"/>
              <a:gd name="connsiteX23" fmla="*/ 3462150 w 3462150"/>
              <a:gd name="connsiteY23" fmla="*/ 67018 h 1563273"/>
              <a:gd name="connsiteX0" fmla="*/ 0 w 3462150"/>
              <a:gd name="connsiteY0" fmla="*/ 1558348 h 1565844"/>
              <a:gd name="connsiteX1" fmla="*/ 173211 w 3462150"/>
              <a:gd name="connsiteY1" fmla="*/ 1560811 h 1565844"/>
              <a:gd name="connsiteX2" fmla="*/ 469239 w 3462150"/>
              <a:gd name="connsiteY2" fmla="*/ 1514762 h 1565844"/>
              <a:gd name="connsiteX3" fmla="*/ 850787 w 3462150"/>
              <a:gd name="connsiteY3" fmla="*/ 1337145 h 1565844"/>
              <a:gd name="connsiteX4" fmla="*/ 1034983 w 3462150"/>
              <a:gd name="connsiteY4" fmla="*/ 1310831 h 1565844"/>
              <a:gd name="connsiteX5" fmla="*/ 1252071 w 3462150"/>
              <a:gd name="connsiteY5" fmla="*/ 1205577 h 1565844"/>
              <a:gd name="connsiteX6" fmla="*/ 1403375 w 3462150"/>
              <a:gd name="connsiteY6" fmla="*/ 1120057 h 1565844"/>
              <a:gd name="connsiteX7" fmla="*/ 1725717 w 3462150"/>
              <a:gd name="connsiteY7" fmla="*/ 1087165 h 1565844"/>
              <a:gd name="connsiteX8" fmla="*/ 1890177 w 3462150"/>
              <a:gd name="connsiteY8" fmla="*/ 1001646 h 1565844"/>
              <a:gd name="connsiteX9" fmla="*/ 2002011 w 3462150"/>
              <a:gd name="connsiteY9" fmla="*/ 975332 h 1565844"/>
              <a:gd name="connsiteX10" fmla="*/ 2113844 w 3462150"/>
              <a:gd name="connsiteY10" fmla="*/ 797715 h 1565844"/>
              <a:gd name="connsiteX11" fmla="*/ 2258569 w 3462150"/>
              <a:gd name="connsiteY11" fmla="*/ 692460 h 1565844"/>
              <a:gd name="connsiteX12" fmla="*/ 2390137 w 3462150"/>
              <a:gd name="connsiteY12" fmla="*/ 606941 h 1565844"/>
              <a:gd name="connsiteX13" fmla="*/ 2449343 w 3462150"/>
              <a:gd name="connsiteY13" fmla="*/ 606941 h 1565844"/>
              <a:gd name="connsiteX14" fmla="*/ 2580911 w 3462150"/>
              <a:gd name="connsiteY14" fmla="*/ 600362 h 1565844"/>
              <a:gd name="connsiteX15" fmla="*/ 2797999 w 3462150"/>
              <a:gd name="connsiteY15" fmla="*/ 528000 h 1565844"/>
              <a:gd name="connsiteX16" fmla="*/ 2962459 w 3462150"/>
              <a:gd name="connsiteY16" fmla="*/ 396431 h 1565844"/>
              <a:gd name="connsiteX17" fmla="*/ 3008508 w 3462150"/>
              <a:gd name="connsiteY17" fmla="*/ 271441 h 1565844"/>
              <a:gd name="connsiteX18" fmla="*/ 3047979 w 3462150"/>
              <a:gd name="connsiteY18" fmla="*/ 231971 h 1565844"/>
              <a:gd name="connsiteX19" fmla="*/ 3186126 w 3462150"/>
              <a:gd name="connsiteY19" fmla="*/ 199079 h 1565844"/>
              <a:gd name="connsiteX20" fmla="*/ 3258488 w 3462150"/>
              <a:gd name="connsiteY20" fmla="*/ 93824 h 1565844"/>
              <a:gd name="connsiteX21" fmla="*/ 3271645 w 3462150"/>
              <a:gd name="connsiteY21" fmla="*/ 14883 h 1565844"/>
              <a:gd name="connsiteX22" fmla="*/ 3350586 w 3462150"/>
              <a:gd name="connsiteY22" fmla="*/ 8305 h 1565844"/>
              <a:gd name="connsiteX23" fmla="*/ 3462150 w 3462150"/>
              <a:gd name="connsiteY23" fmla="*/ 69589 h 1565844"/>
              <a:gd name="connsiteX0" fmla="*/ 0 w 3451434"/>
              <a:gd name="connsiteY0" fmla="*/ 1557313 h 1564809"/>
              <a:gd name="connsiteX1" fmla="*/ 173211 w 3451434"/>
              <a:gd name="connsiteY1" fmla="*/ 1559776 h 1564809"/>
              <a:gd name="connsiteX2" fmla="*/ 469239 w 3451434"/>
              <a:gd name="connsiteY2" fmla="*/ 1513727 h 1564809"/>
              <a:gd name="connsiteX3" fmla="*/ 850787 w 3451434"/>
              <a:gd name="connsiteY3" fmla="*/ 1336110 h 1564809"/>
              <a:gd name="connsiteX4" fmla="*/ 1034983 w 3451434"/>
              <a:gd name="connsiteY4" fmla="*/ 1309796 h 1564809"/>
              <a:gd name="connsiteX5" fmla="*/ 1252071 w 3451434"/>
              <a:gd name="connsiteY5" fmla="*/ 1204542 h 1564809"/>
              <a:gd name="connsiteX6" fmla="*/ 1403375 w 3451434"/>
              <a:gd name="connsiteY6" fmla="*/ 1119022 h 1564809"/>
              <a:gd name="connsiteX7" fmla="*/ 1725717 w 3451434"/>
              <a:gd name="connsiteY7" fmla="*/ 1086130 h 1564809"/>
              <a:gd name="connsiteX8" fmla="*/ 1890177 w 3451434"/>
              <a:gd name="connsiteY8" fmla="*/ 1000611 h 1564809"/>
              <a:gd name="connsiteX9" fmla="*/ 2002011 w 3451434"/>
              <a:gd name="connsiteY9" fmla="*/ 974297 h 1564809"/>
              <a:gd name="connsiteX10" fmla="*/ 2113844 w 3451434"/>
              <a:gd name="connsiteY10" fmla="*/ 796680 h 1564809"/>
              <a:gd name="connsiteX11" fmla="*/ 2258569 w 3451434"/>
              <a:gd name="connsiteY11" fmla="*/ 691425 h 1564809"/>
              <a:gd name="connsiteX12" fmla="*/ 2390137 w 3451434"/>
              <a:gd name="connsiteY12" fmla="*/ 605906 h 1564809"/>
              <a:gd name="connsiteX13" fmla="*/ 2449343 w 3451434"/>
              <a:gd name="connsiteY13" fmla="*/ 605906 h 1564809"/>
              <a:gd name="connsiteX14" fmla="*/ 2580911 w 3451434"/>
              <a:gd name="connsiteY14" fmla="*/ 599327 h 1564809"/>
              <a:gd name="connsiteX15" fmla="*/ 2797999 w 3451434"/>
              <a:gd name="connsiteY15" fmla="*/ 526965 h 1564809"/>
              <a:gd name="connsiteX16" fmla="*/ 2962459 w 3451434"/>
              <a:gd name="connsiteY16" fmla="*/ 395396 h 1564809"/>
              <a:gd name="connsiteX17" fmla="*/ 3008508 w 3451434"/>
              <a:gd name="connsiteY17" fmla="*/ 270406 h 1564809"/>
              <a:gd name="connsiteX18" fmla="*/ 3047979 w 3451434"/>
              <a:gd name="connsiteY18" fmla="*/ 230936 h 1564809"/>
              <a:gd name="connsiteX19" fmla="*/ 3186126 w 3451434"/>
              <a:gd name="connsiteY19" fmla="*/ 198044 h 1564809"/>
              <a:gd name="connsiteX20" fmla="*/ 3258488 w 3451434"/>
              <a:gd name="connsiteY20" fmla="*/ 92789 h 1564809"/>
              <a:gd name="connsiteX21" fmla="*/ 3271645 w 3451434"/>
              <a:gd name="connsiteY21" fmla="*/ 13848 h 1564809"/>
              <a:gd name="connsiteX22" fmla="*/ 3350586 w 3451434"/>
              <a:gd name="connsiteY22" fmla="*/ 7270 h 1564809"/>
              <a:gd name="connsiteX23" fmla="*/ 3451434 w 3451434"/>
              <a:gd name="connsiteY23" fmla="*/ 89943 h 1564809"/>
              <a:gd name="connsiteX0" fmla="*/ 0 w 3451434"/>
              <a:gd name="connsiteY0" fmla="*/ 1557313 h 1564809"/>
              <a:gd name="connsiteX1" fmla="*/ 173211 w 3451434"/>
              <a:gd name="connsiteY1" fmla="*/ 1559776 h 1564809"/>
              <a:gd name="connsiteX2" fmla="*/ 469239 w 3451434"/>
              <a:gd name="connsiteY2" fmla="*/ 1513727 h 1564809"/>
              <a:gd name="connsiteX3" fmla="*/ 850787 w 3451434"/>
              <a:gd name="connsiteY3" fmla="*/ 1336110 h 1564809"/>
              <a:gd name="connsiteX4" fmla="*/ 1034983 w 3451434"/>
              <a:gd name="connsiteY4" fmla="*/ 1309796 h 1564809"/>
              <a:gd name="connsiteX5" fmla="*/ 1252071 w 3451434"/>
              <a:gd name="connsiteY5" fmla="*/ 1204542 h 1564809"/>
              <a:gd name="connsiteX6" fmla="*/ 1403375 w 3451434"/>
              <a:gd name="connsiteY6" fmla="*/ 1119022 h 1564809"/>
              <a:gd name="connsiteX7" fmla="*/ 1725717 w 3451434"/>
              <a:gd name="connsiteY7" fmla="*/ 1086130 h 1564809"/>
              <a:gd name="connsiteX8" fmla="*/ 1890177 w 3451434"/>
              <a:gd name="connsiteY8" fmla="*/ 1000611 h 1564809"/>
              <a:gd name="connsiteX9" fmla="*/ 2002011 w 3451434"/>
              <a:gd name="connsiteY9" fmla="*/ 974297 h 1564809"/>
              <a:gd name="connsiteX10" fmla="*/ 2113844 w 3451434"/>
              <a:gd name="connsiteY10" fmla="*/ 796680 h 1564809"/>
              <a:gd name="connsiteX11" fmla="*/ 2258569 w 3451434"/>
              <a:gd name="connsiteY11" fmla="*/ 691425 h 1564809"/>
              <a:gd name="connsiteX12" fmla="*/ 2390137 w 3451434"/>
              <a:gd name="connsiteY12" fmla="*/ 605906 h 1564809"/>
              <a:gd name="connsiteX13" fmla="*/ 2449343 w 3451434"/>
              <a:gd name="connsiteY13" fmla="*/ 605906 h 1564809"/>
              <a:gd name="connsiteX14" fmla="*/ 2580911 w 3451434"/>
              <a:gd name="connsiteY14" fmla="*/ 599327 h 1564809"/>
              <a:gd name="connsiteX15" fmla="*/ 2797999 w 3451434"/>
              <a:gd name="connsiteY15" fmla="*/ 526965 h 1564809"/>
              <a:gd name="connsiteX16" fmla="*/ 2962459 w 3451434"/>
              <a:gd name="connsiteY16" fmla="*/ 395396 h 1564809"/>
              <a:gd name="connsiteX17" fmla="*/ 3008508 w 3451434"/>
              <a:gd name="connsiteY17" fmla="*/ 270406 h 1564809"/>
              <a:gd name="connsiteX18" fmla="*/ 3047979 w 3451434"/>
              <a:gd name="connsiteY18" fmla="*/ 230936 h 1564809"/>
              <a:gd name="connsiteX19" fmla="*/ 3186126 w 3451434"/>
              <a:gd name="connsiteY19" fmla="*/ 198044 h 1564809"/>
              <a:gd name="connsiteX20" fmla="*/ 3258488 w 3451434"/>
              <a:gd name="connsiteY20" fmla="*/ 92789 h 1564809"/>
              <a:gd name="connsiteX21" fmla="*/ 3271645 w 3451434"/>
              <a:gd name="connsiteY21" fmla="*/ 13848 h 1564809"/>
              <a:gd name="connsiteX22" fmla="*/ 3350586 w 3451434"/>
              <a:gd name="connsiteY22" fmla="*/ 7270 h 1564809"/>
              <a:gd name="connsiteX23" fmla="*/ 3451434 w 3451434"/>
              <a:gd name="connsiteY23" fmla="*/ 89943 h 1564809"/>
              <a:gd name="connsiteX0" fmla="*/ 0 w 3517399"/>
              <a:gd name="connsiteY0" fmla="*/ 1557312 h 1564808"/>
              <a:gd name="connsiteX1" fmla="*/ 173211 w 3517399"/>
              <a:gd name="connsiteY1" fmla="*/ 1559775 h 1564808"/>
              <a:gd name="connsiteX2" fmla="*/ 469239 w 3517399"/>
              <a:gd name="connsiteY2" fmla="*/ 1513726 h 1564808"/>
              <a:gd name="connsiteX3" fmla="*/ 850787 w 3517399"/>
              <a:gd name="connsiteY3" fmla="*/ 1336109 h 1564808"/>
              <a:gd name="connsiteX4" fmla="*/ 1034983 w 3517399"/>
              <a:gd name="connsiteY4" fmla="*/ 1309795 h 1564808"/>
              <a:gd name="connsiteX5" fmla="*/ 1252071 w 3517399"/>
              <a:gd name="connsiteY5" fmla="*/ 1204541 h 1564808"/>
              <a:gd name="connsiteX6" fmla="*/ 1403375 w 3517399"/>
              <a:gd name="connsiteY6" fmla="*/ 1119021 h 1564808"/>
              <a:gd name="connsiteX7" fmla="*/ 1725717 w 3517399"/>
              <a:gd name="connsiteY7" fmla="*/ 1086129 h 1564808"/>
              <a:gd name="connsiteX8" fmla="*/ 1890177 w 3517399"/>
              <a:gd name="connsiteY8" fmla="*/ 1000610 h 1564808"/>
              <a:gd name="connsiteX9" fmla="*/ 2002011 w 3517399"/>
              <a:gd name="connsiteY9" fmla="*/ 974296 h 1564808"/>
              <a:gd name="connsiteX10" fmla="*/ 2113844 w 3517399"/>
              <a:gd name="connsiteY10" fmla="*/ 796679 h 1564808"/>
              <a:gd name="connsiteX11" fmla="*/ 2258569 w 3517399"/>
              <a:gd name="connsiteY11" fmla="*/ 691424 h 1564808"/>
              <a:gd name="connsiteX12" fmla="*/ 2390137 w 3517399"/>
              <a:gd name="connsiteY12" fmla="*/ 605905 h 1564808"/>
              <a:gd name="connsiteX13" fmla="*/ 2449343 w 3517399"/>
              <a:gd name="connsiteY13" fmla="*/ 605905 h 1564808"/>
              <a:gd name="connsiteX14" fmla="*/ 2580911 w 3517399"/>
              <a:gd name="connsiteY14" fmla="*/ 599326 h 1564808"/>
              <a:gd name="connsiteX15" fmla="*/ 2797999 w 3517399"/>
              <a:gd name="connsiteY15" fmla="*/ 526964 h 1564808"/>
              <a:gd name="connsiteX16" fmla="*/ 2962459 w 3517399"/>
              <a:gd name="connsiteY16" fmla="*/ 395395 h 1564808"/>
              <a:gd name="connsiteX17" fmla="*/ 3008508 w 3517399"/>
              <a:gd name="connsiteY17" fmla="*/ 270405 h 1564808"/>
              <a:gd name="connsiteX18" fmla="*/ 3047979 w 3517399"/>
              <a:gd name="connsiteY18" fmla="*/ 230935 h 1564808"/>
              <a:gd name="connsiteX19" fmla="*/ 3186126 w 3517399"/>
              <a:gd name="connsiteY19" fmla="*/ 198043 h 1564808"/>
              <a:gd name="connsiteX20" fmla="*/ 3258488 w 3517399"/>
              <a:gd name="connsiteY20" fmla="*/ 92788 h 1564808"/>
              <a:gd name="connsiteX21" fmla="*/ 3271645 w 3517399"/>
              <a:gd name="connsiteY21" fmla="*/ 13847 h 1564808"/>
              <a:gd name="connsiteX22" fmla="*/ 3350586 w 3517399"/>
              <a:gd name="connsiteY22" fmla="*/ 7269 h 1564808"/>
              <a:gd name="connsiteX23" fmla="*/ 3517399 w 3517399"/>
              <a:gd name="connsiteY23" fmla="*/ 89942 h 1564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517399" h="1564808">
                <a:moveTo>
                  <a:pt x="0" y="1557312"/>
                </a:moveTo>
                <a:cubicBezTo>
                  <a:pt x="27410" y="1566631"/>
                  <a:pt x="95005" y="1567039"/>
                  <a:pt x="173211" y="1559775"/>
                </a:cubicBezTo>
                <a:cubicBezTo>
                  <a:pt x="251417" y="1552511"/>
                  <a:pt x="356310" y="1551004"/>
                  <a:pt x="469239" y="1513726"/>
                </a:cubicBezTo>
                <a:cubicBezTo>
                  <a:pt x="582168" y="1476448"/>
                  <a:pt x="756496" y="1370097"/>
                  <a:pt x="850787" y="1336109"/>
                </a:cubicBezTo>
                <a:cubicBezTo>
                  <a:pt x="945078" y="1302121"/>
                  <a:pt x="968102" y="1331723"/>
                  <a:pt x="1034983" y="1309795"/>
                </a:cubicBezTo>
                <a:cubicBezTo>
                  <a:pt x="1101864" y="1287867"/>
                  <a:pt x="1190672" y="1236337"/>
                  <a:pt x="1252071" y="1204541"/>
                </a:cubicBezTo>
                <a:cubicBezTo>
                  <a:pt x="1313470" y="1172745"/>
                  <a:pt x="1324434" y="1138756"/>
                  <a:pt x="1403375" y="1119021"/>
                </a:cubicBezTo>
                <a:cubicBezTo>
                  <a:pt x="1482316" y="1099286"/>
                  <a:pt x="1644584" y="1105864"/>
                  <a:pt x="1725717" y="1086129"/>
                </a:cubicBezTo>
                <a:cubicBezTo>
                  <a:pt x="1806850" y="1066394"/>
                  <a:pt x="1844128" y="1019249"/>
                  <a:pt x="1890177" y="1000610"/>
                </a:cubicBezTo>
                <a:cubicBezTo>
                  <a:pt x="1936226" y="981971"/>
                  <a:pt x="1964733" y="1008285"/>
                  <a:pt x="2002011" y="974296"/>
                </a:cubicBezTo>
                <a:cubicBezTo>
                  <a:pt x="2039289" y="940307"/>
                  <a:pt x="2071084" y="843824"/>
                  <a:pt x="2113844" y="796679"/>
                </a:cubicBezTo>
                <a:cubicBezTo>
                  <a:pt x="2156604" y="749534"/>
                  <a:pt x="2212520" y="723220"/>
                  <a:pt x="2258569" y="691424"/>
                </a:cubicBezTo>
                <a:cubicBezTo>
                  <a:pt x="2304618" y="659628"/>
                  <a:pt x="2358341" y="620158"/>
                  <a:pt x="2390137" y="605905"/>
                </a:cubicBezTo>
                <a:cubicBezTo>
                  <a:pt x="2421933" y="591652"/>
                  <a:pt x="2417547" y="607001"/>
                  <a:pt x="2449343" y="605905"/>
                </a:cubicBezTo>
                <a:cubicBezTo>
                  <a:pt x="2481139" y="604809"/>
                  <a:pt x="2522802" y="612483"/>
                  <a:pt x="2580911" y="599326"/>
                </a:cubicBezTo>
                <a:cubicBezTo>
                  <a:pt x="2639020" y="586169"/>
                  <a:pt x="2734408" y="560952"/>
                  <a:pt x="2797999" y="526964"/>
                </a:cubicBezTo>
                <a:cubicBezTo>
                  <a:pt x="2861590" y="492976"/>
                  <a:pt x="2927374" y="438155"/>
                  <a:pt x="2962459" y="395395"/>
                </a:cubicBezTo>
                <a:cubicBezTo>
                  <a:pt x="2997544" y="352635"/>
                  <a:pt x="2994255" y="297815"/>
                  <a:pt x="3008508" y="270405"/>
                </a:cubicBezTo>
                <a:cubicBezTo>
                  <a:pt x="3022761" y="242995"/>
                  <a:pt x="3018376" y="242995"/>
                  <a:pt x="3047979" y="230935"/>
                </a:cubicBezTo>
                <a:cubicBezTo>
                  <a:pt x="3077582" y="218875"/>
                  <a:pt x="3151041" y="221067"/>
                  <a:pt x="3186126" y="198043"/>
                </a:cubicBezTo>
                <a:cubicBezTo>
                  <a:pt x="3221211" y="175019"/>
                  <a:pt x="3244235" y="123487"/>
                  <a:pt x="3258488" y="92788"/>
                </a:cubicBezTo>
                <a:cubicBezTo>
                  <a:pt x="3272741" y="62089"/>
                  <a:pt x="3256295" y="28100"/>
                  <a:pt x="3271645" y="13847"/>
                </a:cubicBezTo>
                <a:cubicBezTo>
                  <a:pt x="3286995" y="-406"/>
                  <a:pt x="3309627" y="-5413"/>
                  <a:pt x="3350586" y="7269"/>
                </a:cubicBezTo>
                <a:cubicBezTo>
                  <a:pt x="3391545" y="19951"/>
                  <a:pt x="3496691" y="-33730"/>
                  <a:pt x="3517399" y="89942"/>
                </a:cubicBezTo>
              </a:path>
            </a:pathLst>
          </a:custGeom>
          <a:noFill/>
          <a:ln w="50800" cmpd="dbl">
            <a:solidFill>
              <a:srgbClr val="EE352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8E021FEC-5588-424C-A880-EB8117218EF7}"/>
              </a:ext>
            </a:extLst>
          </p:cNvPr>
          <p:cNvSpPr/>
          <p:nvPr/>
        </p:nvSpPr>
        <p:spPr>
          <a:xfrm>
            <a:off x="3140944" y="3434121"/>
            <a:ext cx="153189" cy="1017566"/>
          </a:xfrm>
          <a:custGeom>
            <a:avLst/>
            <a:gdLst>
              <a:gd name="connsiteX0" fmla="*/ 106661 w 216907"/>
              <a:gd name="connsiteY0" fmla="*/ 0 h 1206230"/>
              <a:gd name="connsiteX1" fmla="*/ 119631 w 216907"/>
              <a:gd name="connsiteY1" fmla="*/ 110247 h 1206230"/>
              <a:gd name="connsiteX2" fmla="*/ 80720 w 216907"/>
              <a:gd name="connsiteY2" fmla="*/ 181583 h 1206230"/>
              <a:gd name="connsiteX3" fmla="*/ 9384 w 216907"/>
              <a:gd name="connsiteY3" fmla="*/ 246434 h 1206230"/>
              <a:gd name="connsiteX4" fmla="*/ 2899 w 216907"/>
              <a:gd name="connsiteY4" fmla="*/ 369651 h 1206230"/>
              <a:gd name="connsiteX5" fmla="*/ 28839 w 216907"/>
              <a:gd name="connsiteY5" fmla="*/ 706877 h 1206230"/>
              <a:gd name="connsiteX6" fmla="*/ 54780 w 216907"/>
              <a:gd name="connsiteY6" fmla="*/ 881975 h 1206230"/>
              <a:gd name="connsiteX7" fmla="*/ 216907 w 216907"/>
              <a:gd name="connsiteY7" fmla="*/ 1206230 h 1206230"/>
              <a:gd name="connsiteX0" fmla="*/ 106661 w 236225"/>
              <a:gd name="connsiteY0" fmla="*/ 0 h 1244867"/>
              <a:gd name="connsiteX1" fmla="*/ 119631 w 236225"/>
              <a:gd name="connsiteY1" fmla="*/ 110247 h 1244867"/>
              <a:gd name="connsiteX2" fmla="*/ 80720 w 236225"/>
              <a:gd name="connsiteY2" fmla="*/ 181583 h 1244867"/>
              <a:gd name="connsiteX3" fmla="*/ 9384 w 236225"/>
              <a:gd name="connsiteY3" fmla="*/ 246434 h 1244867"/>
              <a:gd name="connsiteX4" fmla="*/ 2899 w 236225"/>
              <a:gd name="connsiteY4" fmla="*/ 369651 h 1244867"/>
              <a:gd name="connsiteX5" fmla="*/ 28839 w 236225"/>
              <a:gd name="connsiteY5" fmla="*/ 706877 h 1244867"/>
              <a:gd name="connsiteX6" fmla="*/ 54780 w 236225"/>
              <a:gd name="connsiteY6" fmla="*/ 881975 h 1244867"/>
              <a:gd name="connsiteX7" fmla="*/ 236225 w 236225"/>
              <a:gd name="connsiteY7" fmla="*/ 1244867 h 1244867"/>
              <a:gd name="connsiteX0" fmla="*/ 106661 w 207469"/>
              <a:gd name="connsiteY0" fmla="*/ 0 h 1249842"/>
              <a:gd name="connsiteX1" fmla="*/ 119631 w 207469"/>
              <a:gd name="connsiteY1" fmla="*/ 110247 h 1249842"/>
              <a:gd name="connsiteX2" fmla="*/ 80720 w 207469"/>
              <a:gd name="connsiteY2" fmla="*/ 181583 h 1249842"/>
              <a:gd name="connsiteX3" fmla="*/ 9384 w 207469"/>
              <a:gd name="connsiteY3" fmla="*/ 246434 h 1249842"/>
              <a:gd name="connsiteX4" fmla="*/ 2899 w 207469"/>
              <a:gd name="connsiteY4" fmla="*/ 369651 h 1249842"/>
              <a:gd name="connsiteX5" fmla="*/ 28839 w 207469"/>
              <a:gd name="connsiteY5" fmla="*/ 706877 h 1249842"/>
              <a:gd name="connsiteX6" fmla="*/ 54780 w 207469"/>
              <a:gd name="connsiteY6" fmla="*/ 881975 h 1249842"/>
              <a:gd name="connsiteX7" fmla="*/ 207469 w 207469"/>
              <a:gd name="connsiteY7" fmla="*/ 1249842 h 1249842"/>
              <a:gd name="connsiteX0" fmla="*/ 106661 w 144206"/>
              <a:gd name="connsiteY0" fmla="*/ 0 h 1125463"/>
              <a:gd name="connsiteX1" fmla="*/ 119631 w 144206"/>
              <a:gd name="connsiteY1" fmla="*/ 110247 h 1125463"/>
              <a:gd name="connsiteX2" fmla="*/ 80720 w 144206"/>
              <a:gd name="connsiteY2" fmla="*/ 181583 h 1125463"/>
              <a:gd name="connsiteX3" fmla="*/ 9384 w 144206"/>
              <a:gd name="connsiteY3" fmla="*/ 246434 h 1125463"/>
              <a:gd name="connsiteX4" fmla="*/ 2899 w 144206"/>
              <a:gd name="connsiteY4" fmla="*/ 369651 h 1125463"/>
              <a:gd name="connsiteX5" fmla="*/ 28839 w 144206"/>
              <a:gd name="connsiteY5" fmla="*/ 706877 h 1125463"/>
              <a:gd name="connsiteX6" fmla="*/ 54780 w 144206"/>
              <a:gd name="connsiteY6" fmla="*/ 881975 h 1125463"/>
              <a:gd name="connsiteX7" fmla="*/ 144206 w 144206"/>
              <a:gd name="connsiteY7" fmla="*/ 1125463 h 1125463"/>
              <a:gd name="connsiteX0" fmla="*/ 106661 w 144206"/>
              <a:gd name="connsiteY0" fmla="*/ 0 h 1125463"/>
              <a:gd name="connsiteX1" fmla="*/ 119631 w 144206"/>
              <a:gd name="connsiteY1" fmla="*/ 110247 h 1125463"/>
              <a:gd name="connsiteX2" fmla="*/ 80720 w 144206"/>
              <a:gd name="connsiteY2" fmla="*/ 181583 h 1125463"/>
              <a:gd name="connsiteX3" fmla="*/ 9384 w 144206"/>
              <a:gd name="connsiteY3" fmla="*/ 246434 h 1125463"/>
              <a:gd name="connsiteX4" fmla="*/ 2899 w 144206"/>
              <a:gd name="connsiteY4" fmla="*/ 369651 h 1125463"/>
              <a:gd name="connsiteX5" fmla="*/ 28839 w 144206"/>
              <a:gd name="connsiteY5" fmla="*/ 706877 h 1125463"/>
              <a:gd name="connsiteX6" fmla="*/ 54780 w 144206"/>
              <a:gd name="connsiteY6" fmla="*/ 881975 h 1125463"/>
              <a:gd name="connsiteX7" fmla="*/ 144206 w 144206"/>
              <a:gd name="connsiteY7" fmla="*/ 1125463 h 1125463"/>
              <a:gd name="connsiteX0" fmla="*/ 106661 w 149958"/>
              <a:gd name="connsiteY0" fmla="*/ 0 h 1125463"/>
              <a:gd name="connsiteX1" fmla="*/ 119631 w 149958"/>
              <a:gd name="connsiteY1" fmla="*/ 110247 h 1125463"/>
              <a:gd name="connsiteX2" fmla="*/ 80720 w 149958"/>
              <a:gd name="connsiteY2" fmla="*/ 181583 h 1125463"/>
              <a:gd name="connsiteX3" fmla="*/ 9384 w 149958"/>
              <a:gd name="connsiteY3" fmla="*/ 246434 h 1125463"/>
              <a:gd name="connsiteX4" fmla="*/ 2899 w 149958"/>
              <a:gd name="connsiteY4" fmla="*/ 369651 h 1125463"/>
              <a:gd name="connsiteX5" fmla="*/ 28839 w 149958"/>
              <a:gd name="connsiteY5" fmla="*/ 706877 h 1125463"/>
              <a:gd name="connsiteX6" fmla="*/ 54780 w 149958"/>
              <a:gd name="connsiteY6" fmla="*/ 881975 h 1125463"/>
              <a:gd name="connsiteX7" fmla="*/ 149958 w 149958"/>
              <a:gd name="connsiteY7" fmla="*/ 1125463 h 1125463"/>
              <a:gd name="connsiteX0" fmla="*/ 106661 w 162832"/>
              <a:gd name="connsiteY0" fmla="*/ 0 h 1108758"/>
              <a:gd name="connsiteX1" fmla="*/ 119631 w 162832"/>
              <a:gd name="connsiteY1" fmla="*/ 110247 h 1108758"/>
              <a:gd name="connsiteX2" fmla="*/ 80720 w 162832"/>
              <a:gd name="connsiteY2" fmla="*/ 181583 h 1108758"/>
              <a:gd name="connsiteX3" fmla="*/ 9384 w 162832"/>
              <a:gd name="connsiteY3" fmla="*/ 246434 h 1108758"/>
              <a:gd name="connsiteX4" fmla="*/ 2899 w 162832"/>
              <a:gd name="connsiteY4" fmla="*/ 369651 h 1108758"/>
              <a:gd name="connsiteX5" fmla="*/ 28839 w 162832"/>
              <a:gd name="connsiteY5" fmla="*/ 706877 h 1108758"/>
              <a:gd name="connsiteX6" fmla="*/ 54780 w 162832"/>
              <a:gd name="connsiteY6" fmla="*/ 881975 h 1108758"/>
              <a:gd name="connsiteX7" fmla="*/ 162832 w 162832"/>
              <a:gd name="connsiteY7" fmla="*/ 1108758 h 1108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2832" h="1108758">
                <a:moveTo>
                  <a:pt x="106661" y="0"/>
                </a:moveTo>
                <a:cubicBezTo>
                  <a:pt x="115308" y="39991"/>
                  <a:pt x="123955" y="79983"/>
                  <a:pt x="119631" y="110247"/>
                </a:cubicBezTo>
                <a:cubicBezTo>
                  <a:pt x="115308" y="140511"/>
                  <a:pt x="99094" y="158885"/>
                  <a:pt x="80720" y="181583"/>
                </a:cubicBezTo>
                <a:cubicBezTo>
                  <a:pt x="62345" y="204281"/>
                  <a:pt x="22354" y="215089"/>
                  <a:pt x="9384" y="246434"/>
                </a:cubicBezTo>
                <a:cubicBezTo>
                  <a:pt x="-3586" y="277779"/>
                  <a:pt x="-343" y="292911"/>
                  <a:pt x="2899" y="369651"/>
                </a:cubicBezTo>
                <a:cubicBezTo>
                  <a:pt x="6141" y="446391"/>
                  <a:pt x="20192" y="621490"/>
                  <a:pt x="28839" y="706877"/>
                </a:cubicBezTo>
                <a:cubicBezTo>
                  <a:pt x="37486" y="792264"/>
                  <a:pt x="20216" y="792310"/>
                  <a:pt x="54780" y="881975"/>
                </a:cubicBezTo>
                <a:cubicBezTo>
                  <a:pt x="89344" y="971640"/>
                  <a:pt x="126197" y="988243"/>
                  <a:pt x="162832" y="1108758"/>
                </a:cubicBezTo>
              </a:path>
            </a:pathLst>
          </a:custGeom>
          <a:noFill/>
          <a:ln w="50800" cmpd="dbl">
            <a:solidFill>
              <a:srgbClr val="EE352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8D5AAD-5CA0-7C4F-A2B8-8A8FA671419D}"/>
              </a:ext>
            </a:extLst>
          </p:cNvPr>
          <p:cNvSpPr txBox="1"/>
          <p:nvPr/>
        </p:nvSpPr>
        <p:spPr>
          <a:xfrm>
            <a:off x="61821" y="1856884"/>
            <a:ext cx="1885808" cy="316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75000"/>
              </a:lnSpc>
            </a:pPr>
            <a:r>
              <a:rPr lang="ru-RU" sz="1200" dirty="0">
                <a:solidFill>
                  <a:srgbClr val="EE3524"/>
                </a:solidFill>
                <a:latin typeface="+mj-lt"/>
              </a:rPr>
              <a:t>ВСМ </a:t>
            </a:r>
          </a:p>
          <a:p>
            <a:pPr algn="r">
              <a:lnSpc>
                <a:spcPct val="75000"/>
              </a:lnSpc>
            </a:pPr>
            <a:r>
              <a:rPr lang="ru-RU" sz="1200" dirty="0">
                <a:solidFill>
                  <a:srgbClr val="EE3524"/>
                </a:solidFill>
                <a:latin typeface="+mj-lt"/>
              </a:rPr>
              <a:t>«Москва – С.-Петербург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EF421B-FC79-8245-BA51-3F4AEA9F4DB9}"/>
              </a:ext>
            </a:extLst>
          </p:cNvPr>
          <p:cNvSpPr txBox="1"/>
          <p:nvPr/>
        </p:nvSpPr>
        <p:spPr>
          <a:xfrm>
            <a:off x="94495" y="3879547"/>
            <a:ext cx="1167307" cy="3167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75000"/>
              </a:lnSpc>
            </a:pPr>
            <a:r>
              <a:rPr lang="ru-RU" sz="1200" dirty="0">
                <a:solidFill>
                  <a:srgbClr val="EE3524"/>
                </a:solidFill>
                <a:latin typeface="+mj-lt"/>
              </a:rPr>
              <a:t>ВСМ  «Центр – </a:t>
            </a:r>
          </a:p>
          <a:p>
            <a:pPr>
              <a:lnSpc>
                <a:spcPct val="75000"/>
              </a:lnSpc>
            </a:pPr>
            <a:r>
              <a:rPr lang="ru-RU" sz="1200" dirty="0">
                <a:solidFill>
                  <a:srgbClr val="EE3524"/>
                </a:solidFill>
                <a:latin typeface="+mj-lt"/>
              </a:rPr>
              <a:t>Запад»</a:t>
            </a:r>
          </a:p>
        </p:txBody>
      </p:sp>
      <p:sp>
        <p:nvSpPr>
          <p:cNvPr id="28" name="Полилиния 27">
            <a:extLst>
              <a:ext uri="{FF2B5EF4-FFF2-40B4-BE49-F238E27FC236}">
                <a16:creationId xmlns:a16="http://schemas.microsoft.com/office/drawing/2014/main" id="{FC90EE80-63AB-6E4B-AE9F-84641D449EC6}"/>
              </a:ext>
            </a:extLst>
          </p:cNvPr>
          <p:cNvSpPr/>
          <p:nvPr/>
        </p:nvSpPr>
        <p:spPr>
          <a:xfrm>
            <a:off x="726730" y="983241"/>
            <a:ext cx="2362166" cy="1912262"/>
          </a:xfrm>
          <a:custGeom>
            <a:avLst/>
            <a:gdLst>
              <a:gd name="connsiteX0" fmla="*/ 2525843 w 2525843"/>
              <a:gd name="connsiteY0" fmla="*/ 2053653 h 2053653"/>
              <a:gd name="connsiteX1" fmla="*/ 2098623 w 2525843"/>
              <a:gd name="connsiteY1" fmla="*/ 1611443 h 2053653"/>
              <a:gd name="connsiteX2" fmla="*/ 1716374 w 2525843"/>
              <a:gd name="connsiteY2" fmla="*/ 1334125 h 2053653"/>
              <a:gd name="connsiteX3" fmla="*/ 1334125 w 2525843"/>
              <a:gd name="connsiteY3" fmla="*/ 1019331 h 2053653"/>
              <a:gd name="connsiteX4" fmla="*/ 577122 w 2525843"/>
              <a:gd name="connsiteY4" fmla="*/ 652072 h 2053653"/>
              <a:gd name="connsiteX5" fmla="*/ 0 w 2525843"/>
              <a:gd name="connsiteY5" fmla="*/ 0 h 2053653"/>
              <a:gd name="connsiteX0" fmla="*/ 2525843 w 2525843"/>
              <a:gd name="connsiteY0" fmla="*/ 2053653 h 2053653"/>
              <a:gd name="connsiteX1" fmla="*/ 2098623 w 2525843"/>
              <a:gd name="connsiteY1" fmla="*/ 1611443 h 2053653"/>
              <a:gd name="connsiteX2" fmla="*/ 1716374 w 2525843"/>
              <a:gd name="connsiteY2" fmla="*/ 1334125 h 2053653"/>
              <a:gd name="connsiteX3" fmla="*/ 1334125 w 2525843"/>
              <a:gd name="connsiteY3" fmla="*/ 1019331 h 2053653"/>
              <a:gd name="connsiteX4" fmla="*/ 577122 w 2525843"/>
              <a:gd name="connsiteY4" fmla="*/ 652072 h 2053653"/>
              <a:gd name="connsiteX5" fmla="*/ 0 w 2525843"/>
              <a:gd name="connsiteY5" fmla="*/ 0 h 2053653"/>
              <a:gd name="connsiteX0" fmla="*/ 2510853 w 2510853"/>
              <a:gd name="connsiteY0" fmla="*/ 2083633 h 2083633"/>
              <a:gd name="connsiteX1" fmla="*/ 2098623 w 2510853"/>
              <a:gd name="connsiteY1" fmla="*/ 1611443 h 2083633"/>
              <a:gd name="connsiteX2" fmla="*/ 1716374 w 2510853"/>
              <a:gd name="connsiteY2" fmla="*/ 1334125 h 2083633"/>
              <a:gd name="connsiteX3" fmla="*/ 1334125 w 2510853"/>
              <a:gd name="connsiteY3" fmla="*/ 1019331 h 2083633"/>
              <a:gd name="connsiteX4" fmla="*/ 577122 w 2510853"/>
              <a:gd name="connsiteY4" fmla="*/ 652072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334125 w 2510853"/>
              <a:gd name="connsiteY3" fmla="*/ 1019331 h 2083633"/>
              <a:gd name="connsiteX4" fmla="*/ 577122 w 2510853"/>
              <a:gd name="connsiteY4" fmla="*/ 652072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334125 w 2510853"/>
              <a:gd name="connsiteY3" fmla="*/ 1019331 h 2083633"/>
              <a:gd name="connsiteX4" fmla="*/ 577122 w 2510853"/>
              <a:gd name="connsiteY4" fmla="*/ 652072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341620 w 2510853"/>
              <a:gd name="connsiteY3" fmla="*/ 1049312 h 2083633"/>
              <a:gd name="connsiteX4" fmla="*/ 577122 w 2510853"/>
              <a:gd name="connsiteY4" fmla="*/ 652072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96650 w 2510853"/>
              <a:gd name="connsiteY3" fmla="*/ 1004341 h 2083633"/>
              <a:gd name="connsiteX4" fmla="*/ 577122 w 2510853"/>
              <a:gd name="connsiteY4" fmla="*/ 652072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96650 w 2510853"/>
              <a:gd name="connsiteY3" fmla="*/ 1004341 h 2083633"/>
              <a:gd name="connsiteX4" fmla="*/ 577122 w 2510853"/>
              <a:gd name="connsiteY4" fmla="*/ 652072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68772 w 2510853"/>
              <a:gd name="connsiteY3" fmla="*/ 970887 h 2083633"/>
              <a:gd name="connsiteX4" fmla="*/ 577122 w 2510853"/>
              <a:gd name="connsiteY4" fmla="*/ 652072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18592 w 2510853"/>
              <a:gd name="connsiteY3" fmla="*/ 965311 h 2083633"/>
              <a:gd name="connsiteX4" fmla="*/ 577122 w 2510853"/>
              <a:gd name="connsiteY4" fmla="*/ 652072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18592 w 2510853"/>
              <a:gd name="connsiteY3" fmla="*/ 965311 h 2083633"/>
              <a:gd name="connsiteX4" fmla="*/ 543669 w 2510853"/>
              <a:gd name="connsiteY4" fmla="*/ 663223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18592 w 2510853"/>
              <a:gd name="connsiteY3" fmla="*/ 965311 h 2083633"/>
              <a:gd name="connsiteX4" fmla="*/ 543669 w 2510853"/>
              <a:gd name="connsiteY4" fmla="*/ 663223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18592 w 2510853"/>
              <a:gd name="connsiteY3" fmla="*/ 965311 h 2083633"/>
              <a:gd name="connsiteX4" fmla="*/ 532518 w 2510853"/>
              <a:gd name="connsiteY4" fmla="*/ 635345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18592 w 2510853"/>
              <a:gd name="connsiteY3" fmla="*/ 965311 h 2083633"/>
              <a:gd name="connsiteX4" fmla="*/ 538093 w 2510853"/>
              <a:gd name="connsiteY4" fmla="*/ 652071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18592 w 2510853"/>
              <a:gd name="connsiteY3" fmla="*/ 965311 h 2083633"/>
              <a:gd name="connsiteX4" fmla="*/ 532518 w 2510853"/>
              <a:gd name="connsiteY4" fmla="*/ 635344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18592 w 2510853"/>
              <a:gd name="connsiteY3" fmla="*/ 965311 h 2083633"/>
              <a:gd name="connsiteX4" fmla="*/ 538093 w 2510853"/>
              <a:gd name="connsiteY4" fmla="*/ 657647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18592 w 2510853"/>
              <a:gd name="connsiteY3" fmla="*/ 965311 h 2083633"/>
              <a:gd name="connsiteX4" fmla="*/ 538093 w 2510853"/>
              <a:gd name="connsiteY4" fmla="*/ 635344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18592 w 2510853"/>
              <a:gd name="connsiteY3" fmla="*/ 965311 h 2083633"/>
              <a:gd name="connsiteX4" fmla="*/ 538093 w 2510853"/>
              <a:gd name="connsiteY4" fmla="*/ 646495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16374 w 2510853"/>
              <a:gd name="connsiteY2" fmla="*/ 1334125 h 2083633"/>
              <a:gd name="connsiteX3" fmla="*/ 1218592 w 2510853"/>
              <a:gd name="connsiteY3" fmla="*/ 965311 h 2083633"/>
              <a:gd name="connsiteX4" fmla="*/ 538093 w 2510853"/>
              <a:gd name="connsiteY4" fmla="*/ 646495 h 2083633"/>
              <a:gd name="connsiteX5" fmla="*/ 0 w 2510853"/>
              <a:gd name="connsiteY5" fmla="*/ 0 h 2083633"/>
              <a:gd name="connsiteX0" fmla="*/ 2510853 w 2510853"/>
              <a:gd name="connsiteY0" fmla="*/ 2083633 h 2083633"/>
              <a:gd name="connsiteX1" fmla="*/ 2076138 w 2510853"/>
              <a:gd name="connsiteY1" fmla="*/ 1626433 h 2083633"/>
              <a:gd name="connsiteX2" fmla="*/ 1709650 w 2510853"/>
              <a:gd name="connsiteY2" fmla="*/ 1334125 h 2083633"/>
              <a:gd name="connsiteX3" fmla="*/ 1218592 w 2510853"/>
              <a:gd name="connsiteY3" fmla="*/ 965311 h 2083633"/>
              <a:gd name="connsiteX4" fmla="*/ 538093 w 2510853"/>
              <a:gd name="connsiteY4" fmla="*/ 646495 h 2083633"/>
              <a:gd name="connsiteX5" fmla="*/ 0 w 2510853"/>
              <a:gd name="connsiteY5" fmla="*/ 0 h 2083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10853" h="2083633">
                <a:moveTo>
                  <a:pt x="2510853" y="2083633"/>
                </a:moveTo>
                <a:cubicBezTo>
                  <a:pt x="2364698" y="1922488"/>
                  <a:pt x="2209672" y="1751351"/>
                  <a:pt x="2076138" y="1626433"/>
                </a:cubicBezTo>
                <a:cubicBezTo>
                  <a:pt x="1942604" y="1501515"/>
                  <a:pt x="1852574" y="1444312"/>
                  <a:pt x="1709650" y="1334125"/>
                </a:cubicBezTo>
                <a:cubicBezTo>
                  <a:pt x="1566726" y="1223938"/>
                  <a:pt x="1413851" y="1079916"/>
                  <a:pt x="1218592" y="965311"/>
                </a:cubicBezTo>
                <a:cubicBezTo>
                  <a:pt x="1023333" y="850706"/>
                  <a:pt x="741191" y="762775"/>
                  <a:pt x="538093" y="646495"/>
                </a:cubicBezTo>
                <a:cubicBezTo>
                  <a:pt x="334995" y="530215"/>
                  <a:pt x="177384" y="241092"/>
                  <a:pt x="0" y="0"/>
                </a:cubicBezTo>
              </a:path>
            </a:pathLst>
          </a:custGeom>
          <a:noFill/>
          <a:ln w="50800" cmpd="dbl">
            <a:solidFill>
              <a:srgbClr val="EE352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олилиния 49">
            <a:extLst>
              <a:ext uri="{FF2B5EF4-FFF2-40B4-BE49-F238E27FC236}">
                <a16:creationId xmlns:a16="http://schemas.microsoft.com/office/drawing/2014/main" id="{6C9CF1B8-91DF-2349-BD2A-E0BEEA661C2C}"/>
              </a:ext>
            </a:extLst>
          </p:cNvPr>
          <p:cNvSpPr/>
          <p:nvPr/>
        </p:nvSpPr>
        <p:spPr>
          <a:xfrm>
            <a:off x="3084790" y="3460338"/>
            <a:ext cx="685792" cy="2235787"/>
          </a:xfrm>
          <a:custGeom>
            <a:avLst/>
            <a:gdLst>
              <a:gd name="connsiteX0" fmla="*/ 80229 w 685792"/>
              <a:gd name="connsiteY0" fmla="*/ 0 h 2573643"/>
              <a:gd name="connsiteX1" fmla="*/ 37840 w 685792"/>
              <a:gd name="connsiteY1" fmla="*/ 102946 h 2573643"/>
              <a:gd name="connsiteX2" fmla="*/ 1506 w 685792"/>
              <a:gd name="connsiteY2" fmla="*/ 181669 h 2573643"/>
              <a:gd name="connsiteX3" fmla="*/ 7561 w 685792"/>
              <a:gd name="connsiteY3" fmla="*/ 272503 h 2573643"/>
              <a:gd name="connsiteX4" fmla="*/ 13617 w 685792"/>
              <a:gd name="connsiteY4" fmla="*/ 357282 h 2573643"/>
              <a:gd name="connsiteX5" fmla="*/ 19673 w 685792"/>
              <a:gd name="connsiteY5" fmla="*/ 557118 h 2573643"/>
              <a:gd name="connsiteX6" fmla="*/ 31784 w 685792"/>
              <a:gd name="connsiteY6" fmla="*/ 738787 h 2573643"/>
              <a:gd name="connsiteX7" fmla="*/ 68118 w 685792"/>
              <a:gd name="connsiteY7" fmla="*/ 920456 h 2573643"/>
              <a:gd name="connsiteX8" fmla="*/ 128674 w 685792"/>
              <a:gd name="connsiteY8" fmla="*/ 1077902 h 2573643"/>
              <a:gd name="connsiteX9" fmla="*/ 177119 w 685792"/>
              <a:gd name="connsiteY9" fmla="*/ 1253515 h 2573643"/>
              <a:gd name="connsiteX10" fmla="*/ 261898 w 685792"/>
              <a:gd name="connsiteY10" fmla="*/ 1489685 h 2573643"/>
              <a:gd name="connsiteX11" fmla="*/ 322454 w 685792"/>
              <a:gd name="connsiteY11" fmla="*/ 1641076 h 2573643"/>
              <a:gd name="connsiteX12" fmla="*/ 407233 w 685792"/>
              <a:gd name="connsiteY12" fmla="*/ 1865134 h 2573643"/>
              <a:gd name="connsiteX13" fmla="*/ 540457 w 685792"/>
              <a:gd name="connsiteY13" fmla="*/ 2198194 h 2573643"/>
              <a:gd name="connsiteX14" fmla="*/ 685792 w 685792"/>
              <a:gd name="connsiteY14" fmla="*/ 2573643 h 2573643"/>
              <a:gd name="connsiteX0" fmla="*/ 123514 w 685792"/>
              <a:gd name="connsiteY0" fmla="*/ 0 h 2649392"/>
              <a:gd name="connsiteX1" fmla="*/ 37840 w 685792"/>
              <a:gd name="connsiteY1" fmla="*/ 178695 h 2649392"/>
              <a:gd name="connsiteX2" fmla="*/ 1506 w 685792"/>
              <a:gd name="connsiteY2" fmla="*/ 257418 h 2649392"/>
              <a:gd name="connsiteX3" fmla="*/ 7561 w 685792"/>
              <a:gd name="connsiteY3" fmla="*/ 348252 h 2649392"/>
              <a:gd name="connsiteX4" fmla="*/ 13617 w 685792"/>
              <a:gd name="connsiteY4" fmla="*/ 433031 h 2649392"/>
              <a:gd name="connsiteX5" fmla="*/ 19673 w 685792"/>
              <a:gd name="connsiteY5" fmla="*/ 632867 h 2649392"/>
              <a:gd name="connsiteX6" fmla="*/ 31784 w 685792"/>
              <a:gd name="connsiteY6" fmla="*/ 814536 h 2649392"/>
              <a:gd name="connsiteX7" fmla="*/ 68118 w 685792"/>
              <a:gd name="connsiteY7" fmla="*/ 996205 h 2649392"/>
              <a:gd name="connsiteX8" fmla="*/ 128674 w 685792"/>
              <a:gd name="connsiteY8" fmla="*/ 1153651 h 2649392"/>
              <a:gd name="connsiteX9" fmla="*/ 177119 w 685792"/>
              <a:gd name="connsiteY9" fmla="*/ 1329264 h 2649392"/>
              <a:gd name="connsiteX10" fmla="*/ 261898 w 685792"/>
              <a:gd name="connsiteY10" fmla="*/ 1565434 h 2649392"/>
              <a:gd name="connsiteX11" fmla="*/ 322454 w 685792"/>
              <a:gd name="connsiteY11" fmla="*/ 1716825 h 2649392"/>
              <a:gd name="connsiteX12" fmla="*/ 407233 w 685792"/>
              <a:gd name="connsiteY12" fmla="*/ 1940883 h 2649392"/>
              <a:gd name="connsiteX13" fmla="*/ 540457 w 685792"/>
              <a:gd name="connsiteY13" fmla="*/ 2273943 h 2649392"/>
              <a:gd name="connsiteX14" fmla="*/ 685792 w 685792"/>
              <a:gd name="connsiteY14" fmla="*/ 2649392 h 2649392"/>
              <a:gd name="connsiteX0" fmla="*/ 123514 w 685792"/>
              <a:gd name="connsiteY0" fmla="*/ 0 h 2649392"/>
              <a:gd name="connsiteX1" fmla="*/ 37840 w 685792"/>
              <a:gd name="connsiteY1" fmla="*/ 178695 h 2649392"/>
              <a:gd name="connsiteX2" fmla="*/ 1506 w 685792"/>
              <a:gd name="connsiteY2" fmla="*/ 257418 h 2649392"/>
              <a:gd name="connsiteX3" fmla="*/ 7561 w 685792"/>
              <a:gd name="connsiteY3" fmla="*/ 348252 h 2649392"/>
              <a:gd name="connsiteX4" fmla="*/ 13617 w 685792"/>
              <a:gd name="connsiteY4" fmla="*/ 433031 h 2649392"/>
              <a:gd name="connsiteX5" fmla="*/ 19673 w 685792"/>
              <a:gd name="connsiteY5" fmla="*/ 632867 h 2649392"/>
              <a:gd name="connsiteX6" fmla="*/ 31784 w 685792"/>
              <a:gd name="connsiteY6" fmla="*/ 814536 h 2649392"/>
              <a:gd name="connsiteX7" fmla="*/ 68118 w 685792"/>
              <a:gd name="connsiteY7" fmla="*/ 996205 h 2649392"/>
              <a:gd name="connsiteX8" fmla="*/ 128674 w 685792"/>
              <a:gd name="connsiteY8" fmla="*/ 1153651 h 2649392"/>
              <a:gd name="connsiteX9" fmla="*/ 177119 w 685792"/>
              <a:gd name="connsiteY9" fmla="*/ 1329264 h 2649392"/>
              <a:gd name="connsiteX10" fmla="*/ 261898 w 685792"/>
              <a:gd name="connsiteY10" fmla="*/ 1565434 h 2649392"/>
              <a:gd name="connsiteX11" fmla="*/ 322454 w 685792"/>
              <a:gd name="connsiteY11" fmla="*/ 1716825 h 2649392"/>
              <a:gd name="connsiteX12" fmla="*/ 407233 w 685792"/>
              <a:gd name="connsiteY12" fmla="*/ 1940883 h 2649392"/>
              <a:gd name="connsiteX13" fmla="*/ 540457 w 685792"/>
              <a:gd name="connsiteY13" fmla="*/ 2273943 h 2649392"/>
              <a:gd name="connsiteX14" fmla="*/ 685792 w 685792"/>
              <a:gd name="connsiteY14" fmla="*/ 2649392 h 2649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85792" h="2649392">
                <a:moveTo>
                  <a:pt x="123514" y="0"/>
                </a:moveTo>
                <a:cubicBezTo>
                  <a:pt x="108880" y="117494"/>
                  <a:pt x="58175" y="135792"/>
                  <a:pt x="37840" y="178695"/>
                </a:cubicBezTo>
                <a:cubicBezTo>
                  <a:pt x="17505" y="221598"/>
                  <a:pt x="6552" y="229159"/>
                  <a:pt x="1506" y="257418"/>
                </a:cubicBezTo>
                <a:cubicBezTo>
                  <a:pt x="-3540" y="285677"/>
                  <a:pt x="5543" y="318983"/>
                  <a:pt x="7561" y="348252"/>
                </a:cubicBezTo>
                <a:cubicBezTo>
                  <a:pt x="9579" y="377521"/>
                  <a:pt x="11598" y="385595"/>
                  <a:pt x="13617" y="433031"/>
                </a:cubicBezTo>
                <a:cubicBezTo>
                  <a:pt x="15636" y="480467"/>
                  <a:pt x="16645" y="569283"/>
                  <a:pt x="19673" y="632867"/>
                </a:cubicBezTo>
                <a:cubicBezTo>
                  <a:pt x="22701" y="696451"/>
                  <a:pt x="23710" y="753980"/>
                  <a:pt x="31784" y="814536"/>
                </a:cubicBezTo>
                <a:cubicBezTo>
                  <a:pt x="39858" y="875092"/>
                  <a:pt x="51970" y="939686"/>
                  <a:pt x="68118" y="996205"/>
                </a:cubicBezTo>
                <a:cubicBezTo>
                  <a:pt x="84266" y="1052724"/>
                  <a:pt x="110507" y="1098141"/>
                  <a:pt x="128674" y="1153651"/>
                </a:cubicBezTo>
                <a:cubicBezTo>
                  <a:pt x="146841" y="1209161"/>
                  <a:pt x="154915" y="1260634"/>
                  <a:pt x="177119" y="1329264"/>
                </a:cubicBezTo>
                <a:cubicBezTo>
                  <a:pt x="199323" y="1397894"/>
                  <a:pt x="237676" y="1500841"/>
                  <a:pt x="261898" y="1565434"/>
                </a:cubicBezTo>
                <a:cubicBezTo>
                  <a:pt x="286121" y="1630028"/>
                  <a:pt x="298232" y="1654250"/>
                  <a:pt x="322454" y="1716825"/>
                </a:cubicBezTo>
                <a:cubicBezTo>
                  <a:pt x="346676" y="1779400"/>
                  <a:pt x="370899" y="1848030"/>
                  <a:pt x="407233" y="1940883"/>
                </a:cubicBezTo>
                <a:cubicBezTo>
                  <a:pt x="443567" y="2033736"/>
                  <a:pt x="494031" y="2155858"/>
                  <a:pt x="540457" y="2273943"/>
                </a:cubicBezTo>
                <a:cubicBezTo>
                  <a:pt x="586883" y="2392028"/>
                  <a:pt x="636337" y="2520710"/>
                  <a:pt x="685792" y="2649392"/>
                </a:cubicBezTo>
              </a:path>
            </a:pathLst>
          </a:custGeom>
          <a:noFill/>
          <a:ln w="38100">
            <a:solidFill>
              <a:srgbClr val="5FAE8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3D61AE9-1FAE-844B-8E02-4751CADA7A6B}"/>
              </a:ext>
            </a:extLst>
          </p:cNvPr>
          <p:cNvSpPr txBox="1"/>
          <p:nvPr/>
        </p:nvSpPr>
        <p:spPr>
          <a:xfrm>
            <a:off x="3798338" y="5432276"/>
            <a:ext cx="1303923" cy="181918"/>
          </a:xfrm>
          <a:prstGeom prst="rect">
            <a:avLst/>
          </a:prstGeom>
          <a:solidFill>
            <a:schemeClr val="bg1">
              <a:alpha val="58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75000"/>
              </a:lnSpc>
            </a:pPr>
            <a:r>
              <a:rPr lang="ru-RU" sz="1400" dirty="0">
                <a:latin typeface="+mj-lt"/>
              </a:rPr>
              <a:t>Домодедово</a:t>
            </a:r>
          </a:p>
        </p:txBody>
      </p:sp>
      <p:sp>
        <p:nvSpPr>
          <p:cNvPr id="33" name="Полилиния 32">
            <a:extLst>
              <a:ext uri="{FF2B5EF4-FFF2-40B4-BE49-F238E27FC236}">
                <a16:creationId xmlns:a16="http://schemas.microsoft.com/office/drawing/2014/main" id="{15281D3C-90F5-134C-A740-717C7E6F9B32}"/>
              </a:ext>
            </a:extLst>
          </p:cNvPr>
          <p:cNvSpPr/>
          <p:nvPr/>
        </p:nvSpPr>
        <p:spPr>
          <a:xfrm>
            <a:off x="1261802" y="2581450"/>
            <a:ext cx="2338721" cy="3099354"/>
          </a:xfrm>
          <a:custGeom>
            <a:avLst/>
            <a:gdLst>
              <a:gd name="connsiteX0" fmla="*/ 0 w 2485933"/>
              <a:gd name="connsiteY0" fmla="*/ 0 h 1856849"/>
              <a:gd name="connsiteX1" fmla="*/ 179514 w 2485933"/>
              <a:gd name="connsiteY1" fmla="*/ 89757 h 1856849"/>
              <a:gd name="connsiteX2" fmla="*/ 263661 w 2485933"/>
              <a:gd name="connsiteY2" fmla="*/ 140246 h 1856849"/>
              <a:gd name="connsiteX3" fmla="*/ 302930 w 2485933"/>
              <a:gd name="connsiteY3" fmla="*/ 196344 h 1856849"/>
              <a:gd name="connsiteX4" fmla="*/ 330979 w 2485933"/>
              <a:gd name="connsiteY4" fmla="*/ 201954 h 1856849"/>
              <a:gd name="connsiteX5" fmla="*/ 420736 w 2485933"/>
              <a:gd name="connsiteY5" fmla="*/ 157075 h 1856849"/>
              <a:gd name="connsiteX6" fmla="*/ 482444 w 2485933"/>
              <a:gd name="connsiteY6" fmla="*/ 179514 h 1856849"/>
              <a:gd name="connsiteX7" fmla="*/ 521713 w 2485933"/>
              <a:gd name="connsiteY7" fmla="*/ 224393 h 1856849"/>
              <a:gd name="connsiteX8" fmla="*/ 650739 w 2485933"/>
              <a:gd name="connsiteY8" fmla="*/ 190734 h 1856849"/>
              <a:gd name="connsiteX9" fmla="*/ 746106 w 2485933"/>
              <a:gd name="connsiteY9" fmla="*/ 151465 h 1856849"/>
              <a:gd name="connsiteX10" fmla="*/ 774155 w 2485933"/>
              <a:gd name="connsiteY10" fmla="*/ 72928 h 1856849"/>
              <a:gd name="connsiteX11" fmla="*/ 891961 w 2485933"/>
              <a:gd name="connsiteY11" fmla="*/ 33659 h 1856849"/>
              <a:gd name="connsiteX12" fmla="*/ 998547 w 2485933"/>
              <a:gd name="connsiteY12" fmla="*/ 61708 h 1856849"/>
              <a:gd name="connsiteX13" fmla="*/ 1121963 w 2485933"/>
              <a:gd name="connsiteY13" fmla="*/ 89757 h 1856849"/>
              <a:gd name="connsiteX14" fmla="*/ 1155622 w 2485933"/>
              <a:gd name="connsiteY14" fmla="*/ 157075 h 1856849"/>
              <a:gd name="connsiteX15" fmla="*/ 1161232 w 2485933"/>
              <a:gd name="connsiteY15" fmla="*/ 207563 h 1856849"/>
              <a:gd name="connsiteX16" fmla="*/ 1206110 w 2485933"/>
              <a:gd name="connsiteY16" fmla="*/ 230003 h 1856849"/>
              <a:gd name="connsiteX17" fmla="*/ 1351966 w 2485933"/>
              <a:gd name="connsiteY17" fmla="*/ 185124 h 1856849"/>
              <a:gd name="connsiteX18" fmla="*/ 1570748 w 2485933"/>
              <a:gd name="connsiteY18" fmla="*/ 196344 h 1856849"/>
              <a:gd name="connsiteX19" fmla="*/ 1660506 w 2485933"/>
              <a:gd name="connsiteY19" fmla="*/ 280491 h 1856849"/>
              <a:gd name="connsiteX20" fmla="*/ 1811971 w 2485933"/>
              <a:gd name="connsiteY20" fmla="*/ 246832 h 1856849"/>
              <a:gd name="connsiteX21" fmla="*/ 1890508 w 2485933"/>
              <a:gd name="connsiteY21" fmla="*/ 319760 h 1856849"/>
              <a:gd name="connsiteX22" fmla="*/ 2008314 w 2485933"/>
              <a:gd name="connsiteY22" fmla="*/ 325370 h 1856849"/>
              <a:gd name="connsiteX23" fmla="*/ 2070022 w 2485933"/>
              <a:gd name="connsiteY23" fmla="*/ 409517 h 1856849"/>
              <a:gd name="connsiteX24" fmla="*/ 2137340 w 2485933"/>
              <a:gd name="connsiteY24" fmla="*/ 611470 h 1856849"/>
              <a:gd name="connsiteX25" fmla="*/ 2154169 w 2485933"/>
              <a:gd name="connsiteY25" fmla="*/ 701227 h 1856849"/>
              <a:gd name="connsiteX26" fmla="*/ 2249536 w 2485933"/>
              <a:gd name="connsiteY26" fmla="*/ 757325 h 1856849"/>
              <a:gd name="connsiteX27" fmla="*/ 2316854 w 2485933"/>
              <a:gd name="connsiteY27" fmla="*/ 807814 h 1856849"/>
              <a:gd name="connsiteX28" fmla="*/ 2451490 w 2485933"/>
              <a:gd name="connsiteY28" fmla="*/ 1049036 h 1856849"/>
              <a:gd name="connsiteX29" fmla="*/ 2485148 w 2485933"/>
              <a:gd name="connsiteY29" fmla="*/ 1267819 h 1856849"/>
              <a:gd name="connsiteX30" fmla="*/ 2429050 w 2485933"/>
              <a:gd name="connsiteY30" fmla="*/ 1452943 h 1856849"/>
              <a:gd name="connsiteX31" fmla="*/ 2266366 w 2485933"/>
              <a:gd name="connsiteY31" fmla="*/ 1671725 h 1856849"/>
              <a:gd name="connsiteX32" fmla="*/ 2243926 w 2485933"/>
              <a:gd name="connsiteY32" fmla="*/ 1761482 h 1856849"/>
              <a:gd name="connsiteX33" fmla="*/ 2170999 w 2485933"/>
              <a:gd name="connsiteY33" fmla="*/ 1856849 h 1856849"/>
              <a:gd name="connsiteX0" fmla="*/ 0 w 2485933"/>
              <a:gd name="connsiteY0" fmla="*/ 0 h 1907337"/>
              <a:gd name="connsiteX1" fmla="*/ 179514 w 2485933"/>
              <a:gd name="connsiteY1" fmla="*/ 89757 h 1907337"/>
              <a:gd name="connsiteX2" fmla="*/ 263661 w 2485933"/>
              <a:gd name="connsiteY2" fmla="*/ 140246 h 1907337"/>
              <a:gd name="connsiteX3" fmla="*/ 302930 w 2485933"/>
              <a:gd name="connsiteY3" fmla="*/ 196344 h 1907337"/>
              <a:gd name="connsiteX4" fmla="*/ 330979 w 2485933"/>
              <a:gd name="connsiteY4" fmla="*/ 201954 h 1907337"/>
              <a:gd name="connsiteX5" fmla="*/ 420736 w 2485933"/>
              <a:gd name="connsiteY5" fmla="*/ 157075 h 1907337"/>
              <a:gd name="connsiteX6" fmla="*/ 482444 w 2485933"/>
              <a:gd name="connsiteY6" fmla="*/ 179514 h 1907337"/>
              <a:gd name="connsiteX7" fmla="*/ 521713 w 2485933"/>
              <a:gd name="connsiteY7" fmla="*/ 224393 h 1907337"/>
              <a:gd name="connsiteX8" fmla="*/ 650739 w 2485933"/>
              <a:gd name="connsiteY8" fmla="*/ 190734 h 1907337"/>
              <a:gd name="connsiteX9" fmla="*/ 746106 w 2485933"/>
              <a:gd name="connsiteY9" fmla="*/ 151465 h 1907337"/>
              <a:gd name="connsiteX10" fmla="*/ 774155 w 2485933"/>
              <a:gd name="connsiteY10" fmla="*/ 72928 h 1907337"/>
              <a:gd name="connsiteX11" fmla="*/ 891961 w 2485933"/>
              <a:gd name="connsiteY11" fmla="*/ 33659 h 1907337"/>
              <a:gd name="connsiteX12" fmla="*/ 998547 w 2485933"/>
              <a:gd name="connsiteY12" fmla="*/ 61708 h 1907337"/>
              <a:gd name="connsiteX13" fmla="*/ 1121963 w 2485933"/>
              <a:gd name="connsiteY13" fmla="*/ 89757 h 1907337"/>
              <a:gd name="connsiteX14" fmla="*/ 1155622 w 2485933"/>
              <a:gd name="connsiteY14" fmla="*/ 157075 h 1907337"/>
              <a:gd name="connsiteX15" fmla="*/ 1161232 w 2485933"/>
              <a:gd name="connsiteY15" fmla="*/ 207563 h 1907337"/>
              <a:gd name="connsiteX16" fmla="*/ 1206110 w 2485933"/>
              <a:gd name="connsiteY16" fmla="*/ 230003 h 1907337"/>
              <a:gd name="connsiteX17" fmla="*/ 1351966 w 2485933"/>
              <a:gd name="connsiteY17" fmla="*/ 185124 h 1907337"/>
              <a:gd name="connsiteX18" fmla="*/ 1570748 w 2485933"/>
              <a:gd name="connsiteY18" fmla="*/ 196344 h 1907337"/>
              <a:gd name="connsiteX19" fmla="*/ 1660506 w 2485933"/>
              <a:gd name="connsiteY19" fmla="*/ 280491 h 1907337"/>
              <a:gd name="connsiteX20" fmla="*/ 1811971 w 2485933"/>
              <a:gd name="connsiteY20" fmla="*/ 246832 h 1907337"/>
              <a:gd name="connsiteX21" fmla="*/ 1890508 w 2485933"/>
              <a:gd name="connsiteY21" fmla="*/ 319760 h 1907337"/>
              <a:gd name="connsiteX22" fmla="*/ 2008314 w 2485933"/>
              <a:gd name="connsiteY22" fmla="*/ 325370 h 1907337"/>
              <a:gd name="connsiteX23" fmla="*/ 2070022 w 2485933"/>
              <a:gd name="connsiteY23" fmla="*/ 409517 h 1907337"/>
              <a:gd name="connsiteX24" fmla="*/ 2137340 w 2485933"/>
              <a:gd name="connsiteY24" fmla="*/ 611470 h 1907337"/>
              <a:gd name="connsiteX25" fmla="*/ 2154169 w 2485933"/>
              <a:gd name="connsiteY25" fmla="*/ 701227 h 1907337"/>
              <a:gd name="connsiteX26" fmla="*/ 2249536 w 2485933"/>
              <a:gd name="connsiteY26" fmla="*/ 757325 h 1907337"/>
              <a:gd name="connsiteX27" fmla="*/ 2316854 w 2485933"/>
              <a:gd name="connsiteY27" fmla="*/ 807814 h 1907337"/>
              <a:gd name="connsiteX28" fmla="*/ 2451490 w 2485933"/>
              <a:gd name="connsiteY28" fmla="*/ 1049036 h 1907337"/>
              <a:gd name="connsiteX29" fmla="*/ 2485148 w 2485933"/>
              <a:gd name="connsiteY29" fmla="*/ 1267819 h 1907337"/>
              <a:gd name="connsiteX30" fmla="*/ 2429050 w 2485933"/>
              <a:gd name="connsiteY30" fmla="*/ 1452943 h 1907337"/>
              <a:gd name="connsiteX31" fmla="*/ 2266366 w 2485933"/>
              <a:gd name="connsiteY31" fmla="*/ 1671725 h 1907337"/>
              <a:gd name="connsiteX32" fmla="*/ 2243926 w 2485933"/>
              <a:gd name="connsiteY32" fmla="*/ 1761482 h 1907337"/>
              <a:gd name="connsiteX33" fmla="*/ 2041974 w 2485933"/>
              <a:gd name="connsiteY33" fmla="*/ 1907337 h 1907337"/>
              <a:gd name="connsiteX0" fmla="*/ 0 w 2485933"/>
              <a:gd name="connsiteY0" fmla="*/ 0 h 2126120"/>
              <a:gd name="connsiteX1" fmla="*/ 179514 w 2485933"/>
              <a:gd name="connsiteY1" fmla="*/ 89757 h 2126120"/>
              <a:gd name="connsiteX2" fmla="*/ 263661 w 2485933"/>
              <a:gd name="connsiteY2" fmla="*/ 140246 h 2126120"/>
              <a:gd name="connsiteX3" fmla="*/ 302930 w 2485933"/>
              <a:gd name="connsiteY3" fmla="*/ 196344 h 2126120"/>
              <a:gd name="connsiteX4" fmla="*/ 330979 w 2485933"/>
              <a:gd name="connsiteY4" fmla="*/ 201954 h 2126120"/>
              <a:gd name="connsiteX5" fmla="*/ 420736 w 2485933"/>
              <a:gd name="connsiteY5" fmla="*/ 157075 h 2126120"/>
              <a:gd name="connsiteX6" fmla="*/ 482444 w 2485933"/>
              <a:gd name="connsiteY6" fmla="*/ 179514 h 2126120"/>
              <a:gd name="connsiteX7" fmla="*/ 521713 w 2485933"/>
              <a:gd name="connsiteY7" fmla="*/ 224393 h 2126120"/>
              <a:gd name="connsiteX8" fmla="*/ 650739 w 2485933"/>
              <a:gd name="connsiteY8" fmla="*/ 190734 h 2126120"/>
              <a:gd name="connsiteX9" fmla="*/ 746106 w 2485933"/>
              <a:gd name="connsiteY9" fmla="*/ 151465 h 2126120"/>
              <a:gd name="connsiteX10" fmla="*/ 774155 w 2485933"/>
              <a:gd name="connsiteY10" fmla="*/ 72928 h 2126120"/>
              <a:gd name="connsiteX11" fmla="*/ 891961 w 2485933"/>
              <a:gd name="connsiteY11" fmla="*/ 33659 h 2126120"/>
              <a:gd name="connsiteX12" fmla="*/ 998547 w 2485933"/>
              <a:gd name="connsiteY12" fmla="*/ 61708 h 2126120"/>
              <a:gd name="connsiteX13" fmla="*/ 1121963 w 2485933"/>
              <a:gd name="connsiteY13" fmla="*/ 89757 h 2126120"/>
              <a:gd name="connsiteX14" fmla="*/ 1155622 w 2485933"/>
              <a:gd name="connsiteY14" fmla="*/ 157075 h 2126120"/>
              <a:gd name="connsiteX15" fmla="*/ 1161232 w 2485933"/>
              <a:gd name="connsiteY15" fmla="*/ 207563 h 2126120"/>
              <a:gd name="connsiteX16" fmla="*/ 1206110 w 2485933"/>
              <a:gd name="connsiteY16" fmla="*/ 230003 h 2126120"/>
              <a:gd name="connsiteX17" fmla="*/ 1351966 w 2485933"/>
              <a:gd name="connsiteY17" fmla="*/ 185124 h 2126120"/>
              <a:gd name="connsiteX18" fmla="*/ 1570748 w 2485933"/>
              <a:gd name="connsiteY18" fmla="*/ 196344 h 2126120"/>
              <a:gd name="connsiteX19" fmla="*/ 1660506 w 2485933"/>
              <a:gd name="connsiteY19" fmla="*/ 280491 h 2126120"/>
              <a:gd name="connsiteX20" fmla="*/ 1811971 w 2485933"/>
              <a:gd name="connsiteY20" fmla="*/ 246832 h 2126120"/>
              <a:gd name="connsiteX21" fmla="*/ 1890508 w 2485933"/>
              <a:gd name="connsiteY21" fmla="*/ 319760 h 2126120"/>
              <a:gd name="connsiteX22" fmla="*/ 2008314 w 2485933"/>
              <a:gd name="connsiteY22" fmla="*/ 325370 h 2126120"/>
              <a:gd name="connsiteX23" fmla="*/ 2070022 w 2485933"/>
              <a:gd name="connsiteY23" fmla="*/ 409517 h 2126120"/>
              <a:gd name="connsiteX24" fmla="*/ 2137340 w 2485933"/>
              <a:gd name="connsiteY24" fmla="*/ 611470 h 2126120"/>
              <a:gd name="connsiteX25" fmla="*/ 2154169 w 2485933"/>
              <a:gd name="connsiteY25" fmla="*/ 701227 h 2126120"/>
              <a:gd name="connsiteX26" fmla="*/ 2249536 w 2485933"/>
              <a:gd name="connsiteY26" fmla="*/ 757325 h 2126120"/>
              <a:gd name="connsiteX27" fmla="*/ 2316854 w 2485933"/>
              <a:gd name="connsiteY27" fmla="*/ 807814 h 2126120"/>
              <a:gd name="connsiteX28" fmla="*/ 2451490 w 2485933"/>
              <a:gd name="connsiteY28" fmla="*/ 1049036 h 2126120"/>
              <a:gd name="connsiteX29" fmla="*/ 2485148 w 2485933"/>
              <a:gd name="connsiteY29" fmla="*/ 1267819 h 2126120"/>
              <a:gd name="connsiteX30" fmla="*/ 2429050 w 2485933"/>
              <a:gd name="connsiteY30" fmla="*/ 1452943 h 2126120"/>
              <a:gd name="connsiteX31" fmla="*/ 2266366 w 2485933"/>
              <a:gd name="connsiteY31" fmla="*/ 1671725 h 2126120"/>
              <a:gd name="connsiteX32" fmla="*/ 2243926 w 2485933"/>
              <a:gd name="connsiteY32" fmla="*/ 1761482 h 2126120"/>
              <a:gd name="connsiteX33" fmla="*/ 1924168 w 2485933"/>
              <a:gd name="connsiteY33" fmla="*/ 2126120 h 2126120"/>
              <a:gd name="connsiteX0" fmla="*/ 0 w 2485933"/>
              <a:gd name="connsiteY0" fmla="*/ 0 h 2126120"/>
              <a:gd name="connsiteX1" fmla="*/ 179514 w 2485933"/>
              <a:gd name="connsiteY1" fmla="*/ 89757 h 2126120"/>
              <a:gd name="connsiteX2" fmla="*/ 263661 w 2485933"/>
              <a:gd name="connsiteY2" fmla="*/ 140246 h 2126120"/>
              <a:gd name="connsiteX3" fmla="*/ 302930 w 2485933"/>
              <a:gd name="connsiteY3" fmla="*/ 196344 h 2126120"/>
              <a:gd name="connsiteX4" fmla="*/ 330979 w 2485933"/>
              <a:gd name="connsiteY4" fmla="*/ 201954 h 2126120"/>
              <a:gd name="connsiteX5" fmla="*/ 420736 w 2485933"/>
              <a:gd name="connsiteY5" fmla="*/ 157075 h 2126120"/>
              <a:gd name="connsiteX6" fmla="*/ 482444 w 2485933"/>
              <a:gd name="connsiteY6" fmla="*/ 179514 h 2126120"/>
              <a:gd name="connsiteX7" fmla="*/ 521713 w 2485933"/>
              <a:gd name="connsiteY7" fmla="*/ 224393 h 2126120"/>
              <a:gd name="connsiteX8" fmla="*/ 650739 w 2485933"/>
              <a:gd name="connsiteY8" fmla="*/ 190734 h 2126120"/>
              <a:gd name="connsiteX9" fmla="*/ 746106 w 2485933"/>
              <a:gd name="connsiteY9" fmla="*/ 151465 h 2126120"/>
              <a:gd name="connsiteX10" fmla="*/ 774155 w 2485933"/>
              <a:gd name="connsiteY10" fmla="*/ 72928 h 2126120"/>
              <a:gd name="connsiteX11" fmla="*/ 891961 w 2485933"/>
              <a:gd name="connsiteY11" fmla="*/ 33659 h 2126120"/>
              <a:gd name="connsiteX12" fmla="*/ 998547 w 2485933"/>
              <a:gd name="connsiteY12" fmla="*/ 61708 h 2126120"/>
              <a:gd name="connsiteX13" fmla="*/ 1121963 w 2485933"/>
              <a:gd name="connsiteY13" fmla="*/ 89757 h 2126120"/>
              <a:gd name="connsiteX14" fmla="*/ 1155622 w 2485933"/>
              <a:gd name="connsiteY14" fmla="*/ 157075 h 2126120"/>
              <a:gd name="connsiteX15" fmla="*/ 1161232 w 2485933"/>
              <a:gd name="connsiteY15" fmla="*/ 207563 h 2126120"/>
              <a:gd name="connsiteX16" fmla="*/ 1206110 w 2485933"/>
              <a:gd name="connsiteY16" fmla="*/ 230003 h 2126120"/>
              <a:gd name="connsiteX17" fmla="*/ 1351966 w 2485933"/>
              <a:gd name="connsiteY17" fmla="*/ 185124 h 2126120"/>
              <a:gd name="connsiteX18" fmla="*/ 1570748 w 2485933"/>
              <a:gd name="connsiteY18" fmla="*/ 196344 h 2126120"/>
              <a:gd name="connsiteX19" fmla="*/ 1660506 w 2485933"/>
              <a:gd name="connsiteY19" fmla="*/ 280491 h 2126120"/>
              <a:gd name="connsiteX20" fmla="*/ 1811971 w 2485933"/>
              <a:gd name="connsiteY20" fmla="*/ 246832 h 2126120"/>
              <a:gd name="connsiteX21" fmla="*/ 1890508 w 2485933"/>
              <a:gd name="connsiteY21" fmla="*/ 319760 h 2126120"/>
              <a:gd name="connsiteX22" fmla="*/ 2008314 w 2485933"/>
              <a:gd name="connsiteY22" fmla="*/ 325370 h 2126120"/>
              <a:gd name="connsiteX23" fmla="*/ 2070022 w 2485933"/>
              <a:gd name="connsiteY23" fmla="*/ 409517 h 2126120"/>
              <a:gd name="connsiteX24" fmla="*/ 2137340 w 2485933"/>
              <a:gd name="connsiteY24" fmla="*/ 611470 h 2126120"/>
              <a:gd name="connsiteX25" fmla="*/ 2154169 w 2485933"/>
              <a:gd name="connsiteY25" fmla="*/ 701227 h 2126120"/>
              <a:gd name="connsiteX26" fmla="*/ 2249536 w 2485933"/>
              <a:gd name="connsiteY26" fmla="*/ 757325 h 2126120"/>
              <a:gd name="connsiteX27" fmla="*/ 2316854 w 2485933"/>
              <a:gd name="connsiteY27" fmla="*/ 807814 h 2126120"/>
              <a:gd name="connsiteX28" fmla="*/ 2451490 w 2485933"/>
              <a:gd name="connsiteY28" fmla="*/ 1049036 h 2126120"/>
              <a:gd name="connsiteX29" fmla="*/ 2485148 w 2485933"/>
              <a:gd name="connsiteY29" fmla="*/ 1267819 h 2126120"/>
              <a:gd name="connsiteX30" fmla="*/ 2429050 w 2485933"/>
              <a:gd name="connsiteY30" fmla="*/ 1452943 h 2126120"/>
              <a:gd name="connsiteX31" fmla="*/ 2266366 w 2485933"/>
              <a:gd name="connsiteY31" fmla="*/ 1671725 h 2126120"/>
              <a:gd name="connsiteX32" fmla="*/ 2243926 w 2485933"/>
              <a:gd name="connsiteY32" fmla="*/ 1761482 h 2126120"/>
              <a:gd name="connsiteX33" fmla="*/ 2075632 w 2485933"/>
              <a:gd name="connsiteY33" fmla="*/ 1901727 h 2126120"/>
              <a:gd name="connsiteX34" fmla="*/ 1924168 w 2485933"/>
              <a:gd name="connsiteY34" fmla="*/ 2126120 h 2126120"/>
              <a:gd name="connsiteX0" fmla="*/ 0 w 2485933"/>
              <a:gd name="connsiteY0" fmla="*/ 0 h 3377109"/>
              <a:gd name="connsiteX1" fmla="*/ 179514 w 2485933"/>
              <a:gd name="connsiteY1" fmla="*/ 89757 h 3377109"/>
              <a:gd name="connsiteX2" fmla="*/ 263661 w 2485933"/>
              <a:gd name="connsiteY2" fmla="*/ 140246 h 3377109"/>
              <a:gd name="connsiteX3" fmla="*/ 302930 w 2485933"/>
              <a:gd name="connsiteY3" fmla="*/ 196344 h 3377109"/>
              <a:gd name="connsiteX4" fmla="*/ 330979 w 2485933"/>
              <a:gd name="connsiteY4" fmla="*/ 201954 h 3377109"/>
              <a:gd name="connsiteX5" fmla="*/ 420736 w 2485933"/>
              <a:gd name="connsiteY5" fmla="*/ 157075 h 3377109"/>
              <a:gd name="connsiteX6" fmla="*/ 482444 w 2485933"/>
              <a:gd name="connsiteY6" fmla="*/ 179514 h 3377109"/>
              <a:gd name="connsiteX7" fmla="*/ 521713 w 2485933"/>
              <a:gd name="connsiteY7" fmla="*/ 224393 h 3377109"/>
              <a:gd name="connsiteX8" fmla="*/ 650739 w 2485933"/>
              <a:gd name="connsiteY8" fmla="*/ 190734 h 3377109"/>
              <a:gd name="connsiteX9" fmla="*/ 746106 w 2485933"/>
              <a:gd name="connsiteY9" fmla="*/ 151465 h 3377109"/>
              <a:gd name="connsiteX10" fmla="*/ 774155 w 2485933"/>
              <a:gd name="connsiteY10" fmla="*/ 72928 h 3377109"/>
              <a:gd name="connsiteX11" fmla="*/ 891961 w 2485933"/>
              <a:gd name="connsiteY11" fmla="*/ 33659 h 3377109"/>
              <a:gd name="connsiteX12" fmla="*/ 998547 w 2485933"/>
              <a:gd name="connsiteY12" fmla="*/ 61708 h 3377109"/>
              <a:gd name="connsiteX13" fmla="*/ 1121963 w 2485933"/>
              <a:gd name="connsiteY13" fmla="*/ 89757 h 3377109"/>
              <a:gd name="connsiteX14" fmla="*/ 1155622 w 2485933"/>
              <a:gd name="connsiteY14" fmla="*/ 157075 h 3377109"/>
              <a:gd name="connsiteX15" fmla="*/ 1161232 w 2485933"/>
              <a:gd name="connsiteY15" fmla="*/ 207563 h 3377109"/>
              <a:gd name="connsiteX16" fmla="*/ 1206110 w 2485933"/>
              <a:gd name="connsiteY16" fmla="*/ 230003 h 3377109"/>
              <a:gd name="connsiteX17" fmla="*/ 1351966 w 2485933"/>
              <a:gd name="connsiteY17" fmla="*/ 185124 h 3377109"/>
              <a:gd name="connsiteX18" fmla="*/ 1570748 w 2485933"/>
              <a:gd name="connsiteY18" fmla="*/ 196344 h 3377109"/>
              <a:gd name="connsiteX19" fmla="*/ 1660506 w 2485933"/>
              <a:gd name="connsiteY19" fmla="*/ 280491 h 3377109"/>
              <a:gd name="connsiteX20" fmla="*/ 1811971 w 2485933"/>
              <a:gd name="connsiteY20" fmla="*/ 246832 h 3377109"/>
              <a:gd name="connsiteX21" fmla="*/ 1890508 w 2485933"/>
              <a:gd name="connsiteY21" fmla="*/ 319760 h 3377109"/>
              <a:gd name="connsiteX22" fmla="*/ 2008314 w 2485933"/>
              <a:gd name="connsiteY22" fmla="*/ 325370 h 3377109"/>
              <a:gd name="connsiteX23" fmla="*/ 2070022 w 2485933"/>
              <a:gd name="connsiteY23" fmla="*/ 409517 h 3377109"/>
              <a:gd name="connsiteX24" fmla="*/ 2137340 w 2485933"/>
              <a:gd name="connsiteY24" fmla="*/ 611470 h 3377109"/>
              <a:gd name="connsiteX25" fmla="*/ 2154169 w 2485933"/>
              <a:gd name="connsiteY25" fmla="*/ 701227 h 3377109"/>
              <a:gd name="connsiteX26" fmla="*/ 2249536 w 2485933"/>
              <a:gd name="connsiteY26" fmla="*/ 757325 h 3377109"/>
              <a:gd name="connsiteX27" fmla="*/ 2316854 w 2485933"/>
              <a:gd name="connsiteY27" fmla="*/ 807814 h 3377109"/>
              <a:gd name="connsiteX28" fmla="*/ 2451490 w 2485933"/>
              <a:gd name="connsiteY28" fmla="*/ 1049036 h 3377109"/>
              <a:gd name="connsiteX29" fmla="*/ 2485148 w 2485933"/>
              <a:gd name="connsiteY29" fmla="*/ 1267819 h 3377109"/>
              <a:gd name="connsiteX30" fmla="*/ 2429050 w 2485933"/>
              <a:gd name="connsiteY30" fmla="*/ 1452943 h 3377109"/>
              <a:gd name="connsiteX31" fmla="*/ 2266366 w 2485933"/>
              <a:gd name="connsiteY31" fmla="*/ 1671725 h 3377109"/>
              <a:gd name="connsiteX32" fmla="*/ 2243926 w 2485933"/>
              <a:gd name="connsiteY32" fmla="*/ 1761482 h 3377109"/>
              <a:gd name="connsiteX33" fmla="*/ 2075632 w 2485933"/>
              <a:gd name="connsiteY33" fmla="*/ 1901727 h 3377109"/>
              <a:gd name="connsiteX34" fmla="*/ 1699775 w 2485933"/>
              <a:gd name="connsiteY34" fmla="*/ 3377109 h 3377109"/>
              <a:gd name="connsiteX0" fmla="*/ 0 w 2485933"/>
              <a:gd name="connsiteY0" fmla="*/ 0 h 3377109"/>
              <a:gd name="connsiteX1" fmla="*/ 179514 w 2485933"/>
              <a:gd name="connsiteY1" fmla="*/ 89757 h 3377109"/>
              <a:gd name="connsiteX2" fmla="*/ 263661 w 2485933"/>
              <a:gd name="connsiteY2" fmla="*/ 140246 h 3377109"/>
              <a:gd name="connsiteX3" fmla="*/ 302930 w 2485933"/>
              <a:gd name="connsiteY3" fmla="*/ 196344 h 3377109"/>
              <a:gd name="connsiteX4" fmla="*/ 330979 w 2485933"/>
              <a:gd name="connsiteY4" fmla="*/ 201954 h 3377109"/>
              <a:gd name="connsiteX5" fmla="*/ 420736 w 2485933"/>
              <a:gd name="connsiteY5" fmla="*/ 157075 h 3377109"/>
              <a:gd name="connsiteX6" fmla="*/ 482444 w 2485933"/>
              <a:gd name="connsiteY6" fmla="*/ 179514 h 3377109"/>
              <a:gd name="connsiteX7" fmla="*/ 521713 w 2485933"/>
              <a:gd name="connsiteY7" fmla="*/ 224393 h 3377109"/>
              <a:gd name="connsiteX8" fmla="*/ 650739 w 2485933"/>
              <a:gd name="connsiteY8" fmla="*/ 190734 h 3377109"/>
              <a:gd name="connsiteX9" fmla="*/ 746106 w 2485933"/>
              <a:gd name="connsiteY9" fmla="*/ 151465 h 3377109"/>
              <a:gd name="connsiteX10" fmla="*/ 774155 w 2485933"/>
              <a:gd name="connsiteY10" fmla="*/ 72928 h 3377109"/>
              <a:gd name="connsiteX11" fmla="*/ 891961 w 2485933"/>
              <a:gd name="connsiteY11" fmla="*/ 33659 h 3377109"/>
              <a:gd name="connsiteX12" fmla="*/ 998547 w 2485933"/>
              <a:gd name="connsiteY12" fmla="*/ 61708 h 3377109"/>
              <a:gd name="connsiteX13" fmla="*/ 1121963 w 2485933"/>
              <a:gd name="connsiteY13" fmla="*/ 89757 h 3377109"/>
              <a:gd name="connsiteX14" fmla="*/ 1155622 w 2485933"/>
              <a:gd name="connsiteY14" fmla="*/ 157075 h 3377109"/>
              <a:gd name="connsiteX15" fmla="*/ 1161232 w 2485933"/>
              <a:gd name="connsiteY15" fmla="*/ 207563 h 3377109"/>
              <a:gd name="connsiteX16" fmla="*/ 1206110 w 2485933"/>
              <a:gd name="connsiteY16" fmla="*/ 230003 h 3377109"/>
              <a:gd name="connsiteX17" fmla="*/ 1351966 w 2485933"/>
              <a:gd name="connsiteY17" fmla="*/ 185124 h 3377109"/>
              <a:gd name="connsiteX18" fmla="*/ 1570748 w 2485933"/>
              <a:gd name="connsiteY18" fmla="*/ 196344 h 3377109"/>
              <a:gd name="connsiteX19" fmla="*/ 1660506 w 2485933"/>
              <a:gd name="connsiteY19" fmla="*/ 280491 h 3377109"/>
              <a:gd name="connsiteX20" fmla="*/ 1811971 w 2485933"/>
              <a:gd name="connsiteY20" fmla="*/ 246832 h 3377109"/>
              <a:gd name="connsiteX21" fmla="*/ 1890508 w 2485933"/>
              <a:gd name="connsiteY21" fmla="*/ 319760 h 3377109"/>
              <a:gd name="connsiteX22" fmla="*/ 2008314 w 2485933"/>
              <a:gd name="connsiteY22" fmla="*/ 325370 h 3377109"/>
              <a:gd name="connsiteX23" fmla="*/ 2070022 w 2485933"/>
              <a:gd name="connsiteY23" fmla="*/ 409517 h 3377109"/>
              <a:gd name="connsiteX24" fmla="*/ 2137340 w 2485933"/>
              <a:gd name="connsiteY24" fmla="*/ 611470 h 3377109"/>
              <a:gd name="connsiteX25" fmla="*/ 2154169 w 2485933"/>
              <a:gd name="connsiteY25" fmla="*/ 701227 h 3377109"/>
              <a:gd name="connsiteX26" fmla="*/ 2249536 w 2485933"/>
              <a:gd name="connsiteY26" fmla="*/ 757325 h 3377109"/>
              <a:gd name="connsiteX27" fmla="*/ 2316854 w 2485933"/>
              <a:gd name="connsiteY27" fmla="*/ 807814 h 3377109"/>
              <a:gd name="connsiteX28" fmla="*/ 2451490 w 2485933"/>
              <a:gd name="connsiteY28" fmla="*/ 1049036 h 3377109"/>
              <a:gd name="connsiteX29" fmla="*/ 2485148 w 2485933"/>
              <a:gd name="connsiteY29" fmla="*/ 1267819 h 3377109"/>
              <a:gd name="connsiteX30" fmla="*/ 2429050 w 2485933"/>
              <a:gd name="connsiteY30" fmla="*/ 1452943 h 3377109"/>
              <a:gd name="connsiteX31" fmla="*/ 2266366 w 2485933"/>
              <a:gd name="connsiteY31" fmla="*/ 1671725 h 3377109"/>
              <a:gd name="connsiteX32" fmla="*/ 2243926 w 2485933"/>
              <a:gd name="connsiteY32" fmla="*/ 1761482 h 3377109"/>
              <a:gd name="connsiteX33" fmla="*/ 2075632 w 2485933"/>
              <a:gd name="connsiteY33" fmla="*/ 1901727 h 3377109"/>
              <a:gd name="connsiteX34" fmla="*/ 1907337 w 2485933"/>
              <a:gd name="connsiteY34" fmla="*/ 2277585 h 3377109"/>
              <a:gd name="connsiteX35" fmla="*/ 1699775 w 2485933"/>
              <a:gd name="connsiteY35" fmla="*/ 3377109 h 3377109"/>
              <a:gd name="connsiteX0" fmla="*/ 0 w 2485933"/>
              <a:gd name="connsiteY0" fmla="*/ 0 h 3377109"/>
              <a:gd name="connsiteX1" fmla="*/ 179514 w 2485933"/>
              <a:gd name="connsiteY1" fmla="*/ 89757 h 3377109"/>
              <a:gd name="connsiteX2" fmla="*/ 263661 w 2485933"/>
              <a:gd name="connsiteY2" fmla="*/ 140246 h 3377109"/>
              <a:gd name="connsiteX3" fmla="*/ 302930 w 2485933"/>
              <a:gd name="connsiteY3" fmla="*/ 196344 h 3377109"/>
              <a:gd name="connsiteX4" fmla="*/ 330979 w 2485933"/>
              <a:gd name="connsiteY4" fmla="*/ 201954 h 3377109"/>
              <a:gd name="connsiteX5" fmla="*/ 420736 w 2485933"/>
              <a:gd name="connsiteY5" fmla="*/ 157075 h 3377109"/>
              <a:gd name="connsiteX6" fmla="*/ 482444 w 2485933"/>
              <a:gd name="connsiteY6" fmla="*/ 179514 h 3377109"/>
              <a:gd name="connsiteX7" fmla="*/ 521713 w 2485933"/>
              <a:gd name="connsiteY7" fmla="*/ 224393 h 3377109"/>
              <a:gd name="connsiteX8" fmla="*/ 650739 w 2485933"/>
              <a:gd name="connsiteY8" fmla="*/ 190734 h 3377109"/>
              <a:gd name="connsiteX9" fmla="*/ 746106 w 2485933"/>
              <a:gd name="connsiteY9" fmla="*/ 151465 h 3377109"/>
              <a:gd name="connsiteX10" fmla="*/ 774155 w 2485933"/>
              <a:gd name="connsiteY10" fmla="*/ 72928 h 3377109"/>
              <a:gd name="connsiteX11" fmla="*/ 891961 w 2485933"/>
              <a:gd name="connsiteY11" fmla="*/ 33659 h 3377109"/>
              <a:gd name="connsiteX12" fmla="*/ 998547 w 2485933"/>
              <a:gd name="connsiteY12" fmla="*/ 61708 h 3377109"/>
              <a:gd name="connsiteX13" fmla="*/ 1121963 w 2485933"/>
              <a:gd name="connsiteY13" fmla="*/ 89757 h 3377109"/>
              <a:gd name="connsiteX14" fmla="*/ 1155622 w 2485933"/>
              <a:gd name="connsiteY14" fmla="*/ 157075 h 3377109"/>
              <a:gd name="connsiteX15" fmla="*/ 1161232 w 2485933"/>
              <a:gd name="connsiteY15" fmla="*/ 207563 h 3377109"/>
              <a:gd name="connsiteX16" fmla="*/ 1206110 w 2485933"/>
              <a:gd name="connsiteY16" fmla="*/ 230003 h 3377109"/>
              <a:gd name="connsiteX17" fmla="*/ 1351966 w 2485933"/>
              <a:gd name="connsiteY17" fmla="*/ 185124 h 3377109"/>
              <a:gd name="connsiteX18" fmla="*/ 1570748 w 2485933"/>
              <a:gd name="connsiteY18" fmla="*/ 196344 h 3377109"/>
              <a:gd name="connsiteX19" fmla="*/ 1660506 w 2485933"/>
              <a:gd name="connsiteY19" fmla="*/ 280491 h 3377109"/>
              <a:gd name="connsiteX20" fmla="*/ 1811971 w 2485933"/>
              <a:gd name="connsiteY20" fmla="*/ 246832 h 3377109"/>
              <a:gd name="connsiteX21" fmla="*/ 1890508 w 2485933"/>
              <a:gd name="connsiteY21" fmla="*/ 319760 h 3377109"/>
              <a:gd name="connsiteX22" fmla="*/ 2008314 w 2485933"/>
              <a:gd name="connsiteY22" fmla="*/ 325370 h 3377109"/>
              <a:gd name="connsiteX23" fmla="*/ 2070022 w 2485933"/>
              <a:gd name="connsiteY23" fmla="*/ 409517 h 3377109"/>
              <a:gd name="connsiteX24" fmla="*/ 2137340 w 2485933"/>
              <a:gd name="connsiteY24" fmla="*/ 611470 h 3377109"/>
              <a:gd name="connsiteX25" fmla="*/ 2154169 w 2485933"/>
              <a:gd name="connsiteY25" fmla="*/ 701227 h 3377109"/>
              <a:gd name="connsiteX26" fmla="*/ 2249536 w 2485933"/>
              <a:gd name="connsiteY26" fmla="*/ 757325 h 3377109"/>
              <a:gd name="connsiteX27" fmla="*/ 2316854 w 2485933"/>
              <a:gd name="connsiteY27" fmla="*/ 807814 h 3377109"/>
              <a:gd name="connsiteX28" fmla="*/ 2451490 w 2485933"/>
              <a:gd name="connsiteY28" fmla="*/ 1049036 h 3377109"/>
              <a:gd name="connsiteX29" fmla="*/ 2485148 w 2485933"/>
              <a:gd name="connsiteY29" fmla="*/ 1267819 h 3377109"/>
              <a:gd name="connsiteX30" fmla="*/ 2429050 w 2485933"/>
              <a:gd name="connsiteY30" fmla="*/ 1452943 h 3377109"/>
              <a:gd name="connsiteX31" fmla="*/ 2266366 w 2485933"/>
              <a:gd name="connsiteY31" fmla="*/ 1671725 h 3377109"/>
              <a:gd name="connsiteX32" fmla="*/ 2243926 w 2485933"/>
              <a:gd name="connsiteY32" fmla="*/ 1761482 h 3377109"/>
              <a:gd name="connsiteX33" fmla="*/ 2075632 w 2485933"/>
              <a:gd name="connsiteY33" fmla="*/ 1901727 h 3377109"/>
              <a:gd name="connsiteX34" fmla="*/ 1940996 w 2485933"/>
              <a:gd name="connsiteY34" fmla="*/ 2041972 h 3377109"/>
              <a:gd name="connsiteX35" fmla="*/ 1907337 w 2485933"/>
              <a:gd name="connsiteY35" fmla="*/ 2277585 h 3377109"/>
              <a:gd name="connsiteX36" fmla="*/ 1699775 w 2485933"/>
              <a:gd name="connsiteY36" fmla="*/ 3377109 h 3377109"/>
              <a:gd name="connsiteX0" fmla="*/ 0 w 2485933"/>
              <a:gd name="connsiteY0" fmla="*/ 0 h 3377109"/>
              <a:gd name="connsiteX1" fmla="*/ 179514 w 2485933"/>
              <a:gd name="connsiteY1" fmla="*/ 89757 h 3377109"/>
              <a:gd name="connsiteX2" fmla="*/ 263661 w 2485933"/>
              <a:gd name="connsiteY2" fmla="*/ 140246 h 3377109"/>
              <a:gd name="connsiteX3" fmla="*/ 302930 w 2485933"/>
              <a:gd name="connsiteY3" fmla="*/ 196344 h 3377109"/>
              <a:gd name="connsiteX4" fmla="*/ 330979 w 2485933"/>
              <a:gd name="connsiteY4" fmla="*/ 201954 h 3377109"/>
              <a:gd name="connsiteX5" fmla="*/ 420736 w 2485933"/>
              <a:gd name="connsiteY5" fmla="*/ 157075 h 3377109"/>
              <a:gd name="connsiteX6" fmla="*/ 482444 w 2485933"/>
              <a:gd name="connsiteY6" fmla="*/ 179514 h 3377109"/>
              <a:gd name="connsiteX7" fmla="*/ 521713 w 2485933"/>
              <a:gd name="connsiteY7" fmla="*/ 224393 h 3377109"/>
              <a:gd name="connsiteX8" fmla="*/ 650739 w 2485933"/>
              <a:gd name="connsiteY8" fmla="*/ 190734 h 3377109"/>
              <a:gd name="connsiteX9" fmla="*/ 746106 w 2485933"/>
              <a:gd name="connsiteY9" fmla="*/ 151465 h 3377109"/>
              <a:gd name="connsiteX10" fmla="*/ 774155 w 2485933"/>
              <a:gd name="connsiteY10" fmla="*/ 72928 h 3377109"/>
              <a:gd name="connsiteX11" fmla="*/ 891961 w 2485933"/>
              <a:gd name="connsiteY11" fmla="*/ 33659 h 3377109"/>
              <a:gd name="connsiteX12" fmla="*/ 998547 w 2485933"/>
              <a:gd name="connsiteY12" fmla="*/ 61708 h 3377109"/>
              <a:gd name="connsiteX13" fmla="*/ 1121963 w 2485933"/>
              <a:gd name="connsiteY13" fmla="*/ 89757 h 3377109"/>
              <a:gd name="connsiteX14" fmla="*/ 1155622 w 2485933"/>
              <a:gd name="connsiteY14" fmla="*/ 157075 h 3377109"/>
              <a:gd name="connsiteX15" fmla="*/ 1161232 w 2485933"/>
              <a:gd name="connsiteY15" fmla="*/ 207563 h 3377109"/>
              <a:gd name="connsiteX16" fmla="*/ 1206110 w 2485933"/>
              <a:gd name="connsiteY16" fmla="*/ 230003 h 3377109"/>
              <a:gd name="connsiteX17" fmla="*/ 1351966 w 2485933"/>
              <a:gd name="connsiteY17" fmla="*/ 185124 h 3377109"/>
              <a:gd name="connsiteX18" fmla="*/ 1570748 w 2485933"/>
              <a:gd name="connsiteY18" fmla="*/ 196344 h 3377109"/>
              <a:gd name="connsiteX19" fmla="*/ 1660506 w 2485933"/>
              <a:gd name="connsiteY19" fmla="*/ 280491 h 3377109"/>
              <a:gd name="connsiteX20" fmla="*/ 1811971 w 2485933"/>
              <a:gd name="connsiteY20" fmla="*/ 246832 h 3377109"/>
              <a:gd name="connsiteX21" fmla="*/ 1890508 w 2485933"/>
              <a:gd name="connsiteY21" fmla="*/ 319760 h 3377109"/>
              <a:gd name="connsiteX22" fmla="*/ 2008314 w 2485933"/>
              <a:gd name="connsiteY22" fmla="*/ 325370 h 3377109"/>
              <a:gd name="connsiteX23" fmla="*/ 2070022 w 2485933"/>
              <a:gd name="connsiteY23" fmla="*/ 409517 h 3377109"/>
              <a:gd name="connsiteX24" fmla="*/ 2137340 w 2485933"/>
              <a:gd name="connsiteY24" fmla="*/ 611470 h 3377109"/>
              <a:gd name="connsiteX25" fmla="*/ 2154169 w 2485933"/>
              <a:gd name="connsiteY25" fmla="*/ 701227 h 3377109"/>
              <a:gd name="connsiteX26" fmla="*/ 2249536 w 2485933"/>
              <a:gd name="connsiteY26" fmla="*/ 757325 h 3377109"/>
              <a:gd name="connsiteX27" fmla="*/ 2316854 w 2485933"/>
              <a:gd name="connsiteY27" fmla="*/ 807814 h 3377109"/>
              <a:gd name="connsiteX28" fmla="*/ 2451490 w 2485933"/>
              <a:gd name="connsiteY28" fmla="*/ 1049036 h 3377109"/>
              <a:gd name="connsiteX29" fmla="*/ 2485148 w 2485933"/>
              <a:gd name="connsiteY29" fmla="*/ 1267819 h 3377109"/>
              <a:gd name="connsiteX30" fmla="*/ 2429050 w 2485933"/>
              <a:gd name="connsiteY30" fmla="*/ 1452943 h 3377109"/>
              <a:gd name="connsiteX31" fmla="*/ 2266366 w 2485933"/>
              <a:gd name="connsiteY31" fmla="*/ 1671725 h 3377109"/>
              <a:gd name="connsiteX32" fmla="*/ 2243926 w 2485933"/>
              <a:gd name="connsiteY32" fmla="*/ 1761482 h 3377109"/>
              <a:gd name="connsiteX33" fmla="*/ 2075632 w 2485933"/>
              <a:gd name="connsiteY33" fmla="*/ 1901727 h 3377109"/>
              <a:gd name="connsiteX34" fmla="*/ 1952216 w 2485933"/>
              <a:gd name="connsiteY34" fmla="*/ 2047582 h 3377109"/>
              <a:gd name="connsiteX35" fmla="*/ 1907337 w 2485933"/>
              <a:gd name="connsiteY35" fmla="*/ 2277585 h 3377109"/>
              <a:gd name="connsiteX36" fmla="*/ 1699775 w 2485933"/>
              <a:gd name="connsiteY36" fmla="*/ 3377109 h 3377109"/>
              <a:gd name="connsiteX0" fmla="*/ 0 w 2485933"/>
              <a:gd name="connsiteY0" fmla="*/ 0 h 3377109"/>
              <a:gd name="connsiteX1" fmla="*/ 179514 w 2485933"/>
              <a:gd name="connsiteY1" fmla="*/ 89757 h 3377109"/>
              <a:gd name="connsiteX2" fmla="*/ 263661 w 2485933"/>
              <a:gd name="connsiteY2" fmla="*/ 140246 h 3377109"/>
              <a:gd name="connsiteX3" fmla="*/ 302930 w 2485933"/>
              <a:gd name="connsiteY3" fmla="*/ 196344 h 3377109"/>
              <a:gd name="connsiteX4" fmla="*/ 330979 w 2485933"/>
              <a:gd name="connsiteY4" fmla="*/ 201954 h 3377109"/>
              <a:gd name="connsiteX5" fmla="*/ 420736 w 2485933"/>
              <a:gd name="connsiteY5" fmla="*/ 157075 h 3377109"/>
              <a:gd name="connsiteX6" fmla="*/ 482444 w 2485933"/>
              <a:gd name="connsiteY6" fmla="*/ 179514 h 3377109"/>
              <a:gd name="connsiteX7" fmla="*/ 521713 w 2485933"/>
              <a:gd name="connsiteY7" fmla="*/ 224393 h 3377109"/>
              <a:gd name="connsiteX8" fmla="*/ 650739 w 2485933"/>
              <a:gd name="connsiteY8" fmla="*/ 190734 h 3377109"/>
              <a:gd name="connsiteX9" fmla="*/ 746106 w 2485933"/>
              <a:gd name="connsiteY9" fmla="*/ 151465 h 3377109"/>
              <a:gd name="connsiteX10" fmla="*/ 774155 w 2485933"/>
              <a:gd name="connsiteY10" fmla="*/ 72928 h 3377109"/>
              <a:gd name="connsiteX11" fmla="*/ 891961 w 2485933"/>
              <a:gd name="connsiteY11" fmla="*/ 33659 h 3377109"/>
              <a:gd name="connsiteX12" fmla="*/ 998547 w 2485933"/>
              <a:gd name="connsiteY12" fmla="*/ 61708 h 3377109"/>
              <a:gd name="connsiteX13" fmla="*/ 1121963 w 2485933"/>
              <a:gd name="connsiteY13" fmla="*/ 89757 h 3377109"/>
              <a:gd name="connsiteX14" fmla="*/ 1155622 w 2485933"/>
              <a:gd name="connsiteY14" fmla="*/ 157075 h 3377109"/>
              <a:gd name="connsiteX15" fmla="*/ 1161232 w 2485933"/>
              <a:gd name="connsiteY15" fmla="*/ 207563 h 3377109"/>
              <a:gd name="connsiteX16" fmla="*/ 1206110 w 2485933"/>
              <a:gd name="connsiteY16" fmla="*/ 230003 h 3377109"/>
              <a:gd name="connsiteX17" fmla="*/ 1351966 w 2485933"/>
              <a:gd name="connsiteY17" fmla="*/ 185124 h 3377109"/>
              <a:gd name="connsiteX18" fmla="*/ 1570748 w 2485933"/>
              <a:gd name="connsiteY18" fmla="*/ 196344 h 3377109"/>
              <a:gd name="connsiteX19" fmla="*/ 1660506 w 2485933"/>
              <a:gd name="connsiteY19" fmla="*/ 280491 h 3377109"/>
              <a:gd name="connsiteX20" fmla="*/ 1811971 w 2485933"/>
              <a:gd name="connsiteY20" fmla="*/ 246832 h 3377109"/>
              <a:gd name="connsiteX21" fmla="*/ 1890508 w 2485933"/>
              <a:gd name="connsiteY21" fmla="*/ 319760 h 3377109"/>
              <a:gd name="connsiteX22" fmla="*/ 2008314 w 2485933"/>
              <a:gd name="connsiteY22" fmla="*/ 325370 h 3377109"/>
              <a:gd name="connsiteX23" fmla="*/ 2070022 w 2485933"/>
              <a:gd name="connsiteY23" fmla="*/ 409517 h 3377109"/>
              <a:gd name="connsiteX24" fmla="*/ 2137340 w 2485933"/>
              <a:gd name="connsiteY24" fmla="*/ 611470 h 3377109"/>
              <a:gd name="connsiteX25" fmla="*/ 2154169 w 2485933"/>
              <a:gd name="connsiteY25" fmla="*/ 701227 h 3377109"/>
              <a:gd name="connsiteX26" fmla="*/ 2249536 w 2485933"/>
              <a:gd name="connsiteY26" fmla="*/ 757325 h 3377109"/>
              <a:gd name="connsiteX27" fmla="*/ 2316854 w 2485933"/>
              <a:gd name="connsiteY27" fmla="*/ 807814 h 3377109"/>
              <a:gd name="connsiteX28" fmla="*/ 2451490 w 2485933"/>
              <a:gd name="connsiteY28" fmla="*/ 1049036 h 3377109"/>
              <a:gd name="connsiteX29" fmla="*/ 2485148 w 2485933"/>
              <a:gd name="connsiteY29" fmla="*/ 1267819 h 3377109"/>
              <a:gd name="connsiteX30" fmla="*/ 2429050 w 2485933"/>
              <a:gd name="connsiteY30" fmla="*/ 1452943 h 3377109"/>
              <a:gd name="connsiteX31" fmla="*/ 2266366 w 2485933"/>
              <a:gd name="connsiteY31" fmla="*/ 1671725 h 3377109"/>
              <a:gd name="connsiteX32" fmla="*/ 2243926 w 2485933"/>
              <a:gd name="connsiteY32" fmla="*/ 1761482 h 3377109"/>
              <a:gd name="connsiteX33" fmla="*/ 2075632 w 2485933"/>
              <a:gd name="connsiteY33" fmla="*/ 1901727 h 3377109"/>
              <a:gd name="connsiteX34" fmla="*/ 1952216 w 2485933"/>
              <a:gd name="connsiteY34" fmla="*/ 2047582 h 3377109"/>
              <a:gd name="connsiteX35" fmla="*/ 1997094 w 2485933"/>
              <a:gd name="connsiteY35" fmla="*/ 2283194 h 3377109"/>
              <a:gd name="connsiteX36" fmla="*/ 1699775 w 2485933"/>
              <a:gd name="connsiteY36" fmla="*/ 3377109 h 3377109"/>
              <a:gd name="connsiteX0" fmla="*/ 0 w 2485933"/>
              <a:gd name="connsiteY0" fmla="*/ 0 h 3377109"/>
              <a:gd name="connsiteX1" fmla="*/ 179514 w 2485933"/>
              <a:gd name="connsiteY1" fmla="*/ 89757 h 3377109"/>
              <a:gd name="connsiteX2" fmla="*/ 263661 w 2485933"/>
              <a:gd name="connsiteY2" fmla="*/ 140246 h 3377109"/>
              <a:gd name="connsiteX3" fmla="*/ 302930 w 2485933"/>
              <a:gd name="connsiteY3" fmla="*/ 196344 h 3377109"/>
              <a:gd name="connsiteX4" fmla="*/ 330979 w 2485933"/>
              <a:gd name="connsiteY4" fmla="*/ 201954 h 3377109"/>
              <a:gd name="connsiteX5" fmla="*/ 420736 w 2485933"/>
              <a:gd name="connsiteY5" fmla="*/ 157075 h 3377109"/>
              <a:gd name="connsiteX6" fmla="*/ 482444 w 2485933"/>
              <a:gd name="connsiteY6" fmla="*/ 179514 h 3377109"/>
              <a:gd name="connsiteX7" fmla="*/ 521713 w 2485933"/>
              <a:gd name="connsiteY7" fmla="*/ 224393 h 3377109"/>
              <a:gd name="connsiteX8" fmla="*/ 650739 w 2485933"/>
              <a:gd name="connsiteY8" fmla="*/ 190734 h 3377109"/>
              <a:gd name="connsiteX9" fmla="*/ 746106 w 2485933"/>
              <a:gd name="connsiteY9" fmla="*/ 151465 h 3377109"/>
              <a:gd name="connsiteX10" fmla="*/ 774155 w 2485933"/>
              <a:gd name="connsiteY10" fmla="*/ 72928 h 3377109"/>
              <a:gd name="connsiteX11" fmla="*/ 891961 w 2485933"/>
              <a:gd name="connsiteY11" fmla="*/ 33659 h 3377109"/>
              <a:gd name="connsiteX12" fmla="*/ 998547 w 2485933"/>
              <a:gd name="connsiteY12" fmla="*/ 61708 h 3377109"/>
              <a:gd name="connsiteX13" fmla="*/ 1121963 w 2485933"/>
              <a:gd name="connsiteY13" fmla="*/ 89757 h 3377109"/>
              <a:gd name="connsiteX14" fmla="*/ 1155622 w 2485933"/>
              <a:gd name="connsiteY14" fmla="*/ 157075 h 3377109"/>
              <a:gd name="connsiteX15" fmla="*/ 1161232 w 2485933"/>
              <a:gd name="connsiteY15" fmla="*/ 207563 h 3377109"/>
              <a:gd name="connsiteX16" fmla="*/ 1206110 w 2485933"/>
              <a:gd name="connsiteY16" fmla="*/ 230003 h 3377109"/>
              <a:gd name="connsiteX17" fmla="*/ 1351966 w 2485933"/>
              <a:gd name="connsiteY17" fmla="*/ 185124 h 3377109"/>
              <a:gd name="connsiteX18" fmla="*/ 1570748 w 2485933"/>
              <a:gd name="connsiteY18" fmla="*/ 196344 h 3377109"/>
              <a:gd name="connsiteX19" fmla="*/ 1660506 w 2485933"/>
              <a:gd name="connsiteY19" fmla="*/ 280491 h 3377109"/>
              <a:gd name="connsiteX20" fmla="*/ 1811971 w 2485933"/>
              <a:gd name="connsiteY20" fmla="*/ 246832 h 3377109"/>
              <a:gd name="connsiteX21" fmla="*/ 1890508 w 2485933"/>
              <a:gd name="connsiteY21" fmla="*/ 319760 h 3377109"/>
              <a:gd name="connsiteX22" fmla="*/ 2008314 w 2485933"/>
              <a:gd name="connsiteY22" fmla="*/ 325370 h 3377109"/>
              <a:gd name="connsiteX23" fmla="*/ 2070022 w 2485933"/>
              <a:gd name="connsiteY23" fmla="*/ 409517 h 3377109"/>
              <a:gd name="connsiteX24" fmla="*/ 2137340 w 2485933"/>
              <a:gd name="connsiteY24" fmla="*/ 611470 h 3377109"/>
              <a:gd name="connsiteX25" fmla="*/ 2154169 w 2485933"/>
              <a:gd name="connsiteY25" fmla="*/ 701227 h 3377109"/>
              <a:gd name="connsiteX26" fmla="*/ 2249536 w 2485933"/>
              <a:gd name="connsiteY26" fmla="*/ 757325 h 3377109"/>
              <a:gd name="connsiteX27" fmla="*/ 2316854 w 2485933"/>
              <a:gd name="connsiteY27" fmla="*/ 807814 h 3377109"/>
              <a:gd name="connsiteX28" fmla="*/ 2451490 w 2485933"/>
              <a:gd name="connsiteY28" fmla="*/ 1049036 h 3377109"/>
              <a:gd name="connsiteX29" fmla="*/ 2485148 w 2485933"/>
              <a:gd name="connsiteY29" fmla="*/ 1267819 h 3377109"/>
              <a:gd name="connsiteX30" fmla="*/ 2429050 w 2485933"/>
              <a:gd name="connsiteY30" fmla="*/ 1452943 h 3377109"/>
              <a:gd name="connsiteX31" fmla="*/ 2266366 w 2485933"/>
              <a:gd name="connsiteY31" fmla="*/ 1671725 h 3377109"/>
              <a:gd name="connsiteX32" fmla="*/ 2243926 w 2485933"/>
              <a:gd name="connsiteY32" fmla="*/ 1761482 h 3377109"/>
              <a:gd name="connsiteX33" fmla="*/ 2075632 w 2485933"/>
              <a:gd name="connsiteY33" fmla="*/ 1901727 h 3377109"/>
              <a:gd name="connsiteX34" fmla="*/ 1952216 w 2485933"/>
              <a:gd name="connsiteY34" fmla="*/ 2047582 h 3377109"/>
              <a:gd name="connsiteX35" fmla="*/ 1890508 w 2485933"/>
              <a:gd name="connsiteY35" fmla="*/ 2283194 h 3377109"/>
              <a:gd name="connsiteX36" fmla="*/ 1699775 w 2485933"/>
              <a:gd name="connsiteY36" fmla="*/ 3377109 h 3377109"/>
              <a:gd name="connsiteX0" fmla="*/ 0 w 2485933"/>
              <a:gd name="connsiteY0" fmla="*/ 0 h 3377109"/>
              <a:gd name="connsiteX1" fmla="*/ 179514 w 2485933"/>
              <a:gd name="connsiteY1" fmla="*/ 89757 h 3377109"/>
              <a:gd name="connsiteX2" fmla="*/ 263661 w 2485933"/>
              <a:gd name="connsiteY2" fmla="*/ 140246 h 3377109"/>
              <a:gd name="connsiteX3" fmla="*/ 302930 w 2485933"/>
              <a:gd name="connsiteY3" fmla="*/ 196344 h 3377109"/>
              <a:gd name="connsiteX4" fmla="*/ 330979 w 2485933"/>
              <a:gd name="connsiteY4" fmla="*/ 201954 h 3377109"/>
              <a:gd name="connsiteX5" fmla="*/ 420736 w 2485933"/>
              <a:gd name="connsiteY5" fmla="*/ 157075 h 3377109"/>
              <a:gd name="connsiteX6" fmla="*/ 482444 w 2485933"/>
              <a:gd name="connsiteY6" fmla="*/ 179514 h 3377109"/>
              <a:gd name="connsiteX7" fmla="*/ 521713 w 2485933"/>
              <a:gd name="connsiteY7" fmla="*/ 224393 h 3377109"/>
              <a:gd name="connsiteX8" fmla="*/ 650739 w 2485933"/>
              <a:gd name="connsiteY8" fmla="*/ 190734 h 3377109"/>
              <a:gd name="connsiteX9" fmla="*/ 746106 w 2485933"/>
              <a:gd name="connsiteY9" fmla="*/ 151465 h 3377109"/>
              <a:gd name="connsiteX10" fmla="*/ 774155 w 2485933"/>
              <a:gd name="connsiteY10" fmla="*/ 72928 h 3377109"/>
              <a:gd name="connsiteX11" fmla="*/ 891961 w 2485933"/>
              <a:gd name="connsiteY11" fmla="*/ 33659 h 3377109"/>
              <a:gd name="connsiteX12" fmla="*/ 998547 w 2485933"/>
              <a:gd name="connsiteY12" fmla="*/ 61708 h 3377109"/>
              <a:gd name="connsiteX13" fmla="*/ 1121963 w 2485933"/>
              <a:gd name="connsiteY13" fmla="*/ 89757 h 3377109"/>
              <a:gd name="connsiteX14" fmla="*/ 1155622 w 2485933"/>
              <a:gd name="connsiteY14" fmla="*/ 157075 h 3377109"/>
              <a:gd name="connsiteX15" fmla="*/ 1161232 w 2485933"/>
              <a:gd name="connsiteY15" fmla="*/ 207563 h 3377109"/>
              <a:gd name="connsiteX16" fmla="*/ 1206110 w 2485933"/>
              <a:gd name="connsiteY16" fmla="*/ 230003 h 3377109"/>
              <a:gd name="connsiteX17" fmla="*/ 1351966 w 2485933"/>
              <a:gd name="connsiteY17" fmla="*/ 185124 h 3377109"/>
              <a:gd name="connsiteX18" fmla="*/ 1570748 w 2485933"/>
              <a:gd name="connsiteY18" fmla="*/ 196344 h 3377109"/>
              <a:gd name="connsiteX19" fmla="*/ 1660506 w 2485933"/>
              <a:gd name="connsiteY19" fmla="*/ 280491 h 3377109"/>
              <a:gd name="connsiteX20" fmla="*/ 1811971 w 2485933"/>
              <a:gd name="connsiteY20" fmla="*/ 246832 h 3377109"/>
              <a:gd name="connsiteX21" fmla="*/ 1890508 w 2485933"/>
              <a:gd name="connsiteY21" fmla="*/ 319760 h 3377109"/>
              <a:gd name="connsiteX22" fmla="*/ 2008314 w 2485933"/>
              <a:gd name="connsiteY22" fmla="*/ 325370 h 3377109"/>
              <a:gd name="connsiteX23" fmla="*/ 2070022 w 2485933"/>
              <a:gd name="connsiteY23" fmla="*/ 409517 h 3377109"/>
              <a:gd name="connsiteX24" fmla="*/ 2137340 w 2485933"/>
              <a:gd name="connsiteY24" fmla="*/ 611470 h 3377109"/>
              <a:gd name="connsiteX25" fmla="*/ 2154169 w 2485933"/>
              <a:gd name="connsiteY25" fmla="*/ 701227 h 3377109"/>
              <a:gd name="connsiteX26" fmla="*/ 2249536 w 2485933"/>
              <a:gd name="connsiteY26" fmla="*/ 757325 h 3377109"/>
              <a:gd name="connsiteX27" fmla="*/ 2316854 w 2485933"/>
              <a:gd name="connsiteY27" fmla="*/ 807814 h 3377109"/>
              <a:gd name="connsiteX28" fmla="*/ 2451490 w 2485933"/>
              <a:gd name="connsiteY28" fmla="*/ 1049036 h 3377109"/>
              <a:gd name="connsiteX29" fmla="*/ 2485148 w 2485933"/>
              <a:gd name="connsiteY29" fmla="*/ 1267819 h 3377109"/>
              <a:gd name="connsiteX30" fmla="*/ 2429050 w 2485933"/>
              <a:gd name="connsiteY30" fmla="*/ 1452943 h 3377109"/>
              <a:gd name="connsiteX31" fmla="*/ 2266366 w 2485933"/>
              <a:gd name="connsiteY31" fmla="*/ 1671725 h 3377109"/>
              <a:gd name="connsiteX32" fmla="*/ 2243926 w 2485933"/>
              <a:gd name="connsiteY32" fmla="*/ 1761482 h 3377109"/>
              <a:gd name="connsiteX33" fmla="*/ 2075632 w 2485933"/>
              <a:gd name="connsiteY33" fmla="*/ 1901727 h 3377109"/>
              <a:gd name="connsiteX34" fmla="*/ 1952216 w 2485933"/>
              <a:gd name="connsiteY34" fmla="*/ 2047582 h 3377109"/>
              <a:gd name="connsiteX35" fmla="*/ 1890508 w 2485933"/>
              <a:gd name="connsiteY35" fmla="*/ 2283194 h 3377109"/>
              <a:gd name="connsiteX36" fmla="*/ 1744653 w 2485933"/>
              <a:gd name="connsiteY36" fmla="*/ 2468318 h 3377109"/>
              <a:gd name="connsiteX37" fmla="*/ 1699775 w 2485933"/>
              <a:gd name="connsiteY37" fmla="*/ 3377109 h 3377109"/>
              <a:gd name="connsiteX0" fmla="*/ 0 w 2485933"/>
              <a:gd name="connsiteY0" fmla="*/ 0 h 3377109"/>
              <a:gd name="connsiteX1" fmla="*/ 179514 w 2485933"/>
              <a:gd name="connsiteY1" fmla="*/ 89757 h 3377109"/>
              <a:gd name="connsiteX2" fmla="*/ 263661 w 2485933"/>
              <a:gd name="connsiteY2" fmla="*/ 140246 h 3377109"/>
              <a:gd name="connsiteX3" fmla="*/ 302930 w 2485933"/>
              <a:gd name="connsiteY3" fmla="*/ 196344 h 3377109"/>
              <a:gd name="connsiteX4" fmla="*/ 330979 w 2485933"/>
              <a:gd name="connsiteY4" fmla="*/ 201954 h 3377109"/>
              <a:gd name="connsiteX5" fmla="*/ 420736 w 2485933"/>
              <a:gd name="connsiteY5" fmla="*/ 157075 h 3377109"/>
              <a:gd name="connsiteX6" fmla="*/ 482444 w 2485933"/>
              <a:gd name="connsiteY6" fmla="*/ 179514 h 3377109"/>
              <a:gd name="connsiteX7" fmla="*/ 521713 w 2485933"/>
              <a:gd name="connsiteY7" fmla="*/ 224393 h 3377109"/>
              <a:gd name="connsiteX8" fmla="*/ 650739 w 2485933"/>
              <a:gd name="connsiteY8" fmla="*/ 190734 h 3377109"/>
              <a:gd name="connsiteX9" fmla="*/ 746106 w 2485933"/>
              <a:gd name="connsiteY9" fmla="*/ 151465 h 3377109"/>
              <a:gd name="connsiteX10" fmla="*/ 774155 w 2485933"/>
              <a:gd name="connsiteY10" fmla="*/ 72928 h 3377109"/>
              <a:gd name="connsiteX11" fmla="*/ 891961 w 2485933"/>
              <a:gd name="connsiteY11" fmla="*/ 33659 h 3377109"/>
              <a:gd name="connsiteX12" fmla="*/ 998547 w 2485933"/>
              <a:gd name="connsiteY12" fmla="*/ 61708 h 3377109"/>
              <a:gd name="connsiteX13" fmla="*/ 1121963 w 2485933"/>
              <a:gd name="connsiteY13" fmla="*/ 89757 h 3377109"/>
              <a:gd name="connsiteX14" fmla="*/ 1155622 w 2485933"/>
              <a:gd name="connsiteY14" fmla="*/ 157075 h 3377109"/>
              <a:gd name="connsiteX15" fmla="*/ 1161232 w 2485933"/>
              <a:gd name="connsiteY15" fmla="*/ 207563 h 3377109"/>
              <a:gd name="connsiteX16" fmla="*/ 1206110 w 2485933"/>
              <a:gd name="connsiteY16" fmla="*/ 230003 h 3377109"/>
              <a:gd name="connsiteX17" fmla="*/ 1351966 w 2485933"/>
              <a:gd name="connsiteY17" fmla="*/ 185124 h 3377109"/>
              <a:gd name="connsiteX18" fmla="*/ 1570748 w 2485933"/>
              <a:gd name="connsiteY18" fmla="*/ 196344 h 3377109"/>
              <a:gd name="connsiteX19" fmla="*/ 1660506 w 2485933"/>
              <a:gd name="connsiteY19" fmla="*/ 280491 h 3377109"/>
              <a:gd name="connsiteX20" fmla="*/ 1811971 w 2485933"/>
              <a:gd name="connsiteY20" fmla="*/ 246832 h 3377109"/>
              <a:gd name="connsiteX21" fmla="*/ 1890508 w 2485933"/>
              <a:gd name="connsiteY21" fmla="*/ 319760 h 3377109"/>
              <a:gd name="connsiteX22" fmla="*/ 2008314 w 2485933"/>
              <a:gd name="connsiteY22" fmla="*/ 325370 h 3377109"/>
              <a:gd name="connsiteX23" fmla="*/ 2070022 w 2485933"/>
              <a:gd name="connsiteY23" fmla="*/ 409517 h 3377109"/>
              <a:gd name="connsiteX24" fmla="*/ 2137340 w 2485933"/>
              <a:gd name="connsiteY24" fmla="*/ 611470 h 3377109"/>
              <a:gd name="connsiteX25" fmla="*/ 2154169 w 2485933"/>
              <a:gd name="connsiteY25" fmla="*/ 701227 h 3377109"/>
              <a:gd name="connsiteX26" fmla="*/ 2249536 w 2485933"/>
              <a:gd name="connsiteY26" fmla="*/ 757325 h 3377109"/>
              <a:gd name="connsiteX27" fmla="*/ 2316854 w 2485933"/>
              <a:gd name="connsiteY27" fmla="*/ 807814 h 3377109"/>
              <a:gd name="connsiteX28" fmla="*/ 2451490 w 2485933"/>
              <a:gd name="connsiteY28" fmla="*/ 1049036 h 3377109"/>
              <a:gd name="connsiteX29" fmla="*/ 2485148 w 2485933"/>
              <a:gd name="connsiteY29" fmla="*/ 1267819 h 3377109"/>
              <a:gd name="connsiteX30" fmla="*/ 2429050 w 2485933"/>
              <a:gd name="connsiteY30" fmla="*/ 1452943 h 3377109"/>
              <a:gd name="connsiteX31" fmla="*/ 2266366 w 2485933"/>
              <a:gd name="connsiteY31" fmla="*/ 1671725 h 3377109"/>
              <a:gd name="connsiteX32" fmla="*/ 2243926 w 2485933"/>
              <a:gd name="connsiteY32" fmla="*/ 1761482 h 3377109"/>
              <a:gd name="connsiteX33" fmla="*/ 2075632 w 2485933"/>
              <a:gd name="connsiteY33" fmla="*/ 1901727 h 3377109"/>
              <a:gd name="connsiteX34" fmla="*/ 1952216 w 2485933"/>
              <a:gd name="connsiteY34" fmla="*/ 2047582 h 3377109"/>
              <a:gd name="connsiteX35" fmla="*/ 1890508 w 2485933"/>
              <a:gd name="connsiteY35" fmla="*/ 2283194 h 3377109"/>
              <a:gd name="connsiteX36" fmla="*/ 1744653 w 2485933"/>
              <a:gd name="connsiteY36" fmla="*/ 2468318 h 3377109"/>
              <a:gd name="connsiteX37" fmla="*/ 1699775 w 2485933"/>
              <a:gd name="connsiteY37" fmla="*/ 3377109 h 3377109"/>
              <a:gd name="connsiteX0" fmla="*/ 0 w 2485933"/>
              <a:gd name="connsiteY0" fmla="*/ 0 h 3377109"/>
              <a:gd name="connsiteX1" fmla="*/ 179514 w 2485933"/>
              <a:gd name="connsiteY1" fmla="*/ 89757 h 3377109"/>
              <a:gd name="connsiteX2" fmla="*/ 263661 w 2485933"/>
              <a:gd name="connsiteY2" fmla="*/ 140246 h 3377109"/>
              <a:gd name="connsiteX3" fmla="*/ 302930 w 2485933"/>
              <a:gd name="connsiteY3" fmla="*/ 196344 h 3377109"/>
              <a:gd name="connsiteX4" fmla="*/ 330979 w 2485933"/>
              <a:gd name="connsiteY4" fmla="*/ 201954 h 3377109"/>
              <a:gd name="connsiteX5" fmla="*/ 420736 w 2485933"/>
              <a:gd name="connsiteY5" fmla="*/ 157075 h 3377109"/>
              <a:gd name="connsiteX6" fmla="*/ 482444 w 2485933"/>
              <a:gd name="connsiteY6" fmla="*/ 179514 h 3377109"/>
              <a:gd name="connsiteX7" fmla="*/ 521713 w 2485933"/>
              <a:gd name="connsiteY7" fmla="*/ 224393 h 3377109"/>
              <a:gd name="connsiteX8" fmla="*/ 650739 w 2485933"/>
              <a:gd name="connsiteY8" fmla="*/ 190734 h 3377109"/>
              <a:gd name="connsiteX9" fmla="*/ 746106 w 2485933"/>
              <a:gd name="connsiteY9" fmla="*/ 151465 h 3377109"/>
              <a:gd name="connsiteX10" fmla="*/ 774155 w 2485933"/>
              <a:gd name="connsiteY10" fmla="*/ 72928 h 3377109"/>
              <a:gd name="connsiteX11" fmla="*/ 891961 w 2485933"/>
              <a:gd name="connsiteY11" fmla="*/ 33659 h 3377109"/>
              <a:gd name="connsiteX12" fmla="*/ 998547 w 2485933"/>
              <a:gd name="connsiteY12" fmla="*/ 61708 h 3377109"/>
              <a:gd name="connsiteX13" fmla="*/ 1121963 w 2485933"/>
              <a:gd name="connsiteY13" fmla="*/ 89757 h 3377109"/>
              <a:gd name="connsiteX14" fmla="*/ 1155622 w 2485933"/>
              <a:gd name="connsiteY14" fmla="*/ 157075 h 3377109"/>
              <a:gd name="connsiteX15" fmla="*/ 1161232 w 2485933"/>
              <a:gd name="connsiteY15" fmla="*/ 207563 h 3377109"/>
              <a:gd name="connsiteX16" fmla="*/ 1206110 w 2485933"/>
              <a:gd name="connsiteY16" fmla="*/ 230003 h 3377109"/>
              <a:gd name="connsiteX17" fmla="*/ 1351966 w 2485933"/>
              <a:gd name="connsiteY17" fmla="*/ 185124 h 3377109"/>
              <a:gd name="connsiteX18" fmla="*/ 1570748 w 2485933"/>
              <a:gd name="connsiteY18" fmla="*/ 196344 h 3377109"/>
              <a:gd name="connsiteX19" fmla="*/ 1660506 w 2485933"/>
              <a:gd name="connsiteY19" fmla="*/ 280491 h 3377109"/>
              <a:gd name="connsiteX20" fmla="*/ 1811971 w 2485933"/>
              <a:gd name="connsiteY20" fmla="*/ 246832 h 3377109"/>
              <a:gd name="connsiteX21" fmla="*/ 1890508 w 2485933"/>
              <a:gd name="connsiteY21" fmla="*/ 319760 h 3377109"/>
              <a:gd name="connsiteX22" fmla="*/ 2008314 w 2485933"/>
              <a:gd name="connsiteY22" fmla="*/ 325370 h 3377109"/>
              <a:gd name="connsiteX23" fmla="*/ 2070022 w 2485933"/>
              <a:gd name="connsiteY23" fmla="*/ 409517 h 3377109"/>
              <a:gd name="connsiteX24" fmla="*/ 2137340 w 2485933"/>
              <a:gd name="connsiteY24" fmla="*/ 611470 h 3377109"/>
              <a:gd name="connsiteX25" fmla="*/ 2154169 w 2485933"/>
              <a:gd name="connsiteY25" fmla="*/ 701227 h 3377109"/>
              <a:gd name="connsiteX26" fmla="*/ 2249536 w 2485933"/>
              <a:gd name="connsiteY26" fmla="*/ 757325 h 3377109"/>
              <a:gd name="connsiteX27" fmla="*/ 2316854 w 2485933"/>
              <a:gd name="connsiteY27" fmla="*/ 807814 h 3377109"/>
              <a:gd name="connsiteX28" fmla="*/ 2451490 w 2485933"/>
              <a:gd name="connsiteY28" fmla="*/ 1049036 h 3377109"/>
              <a:gd name="connsiteX29" fmla="*/ 2485148 w 2485933"/>
              <a:gd name="connsiteY29" fmla="*/ 1267819 h 3377109"/>
              <a:gd name="connsiteX30" fmla="*/ 2429050 w 2485933"/>
              <a:gd name="connsiteY30" fmla="*/ 1452943 h 3377109"/>
              <a:gd name="connsiteX31" fmla="*/ 2266366 w 2485933"/>
              <a:gd name="connsiteY31" fmla="*/ 1671725 h 3377109"/>
              <a:gd name="connsiteX32" fmla="*/ 2243926 w 2485933"/>
              <a:gd name="connsiteY32" fmla="*/ 1761482 h 3377109"/>
              <a:gd name="connsiteX33" fmla="*/ 2075632 w 2485933"/>
              <a:gd name="connsiteY33" fmla="*/ 1901727 h 3377109"/>
              <a:gd name="connsiteX34" fmla="*/ 1952216 w 2485933"/>
              <a:gd name="connsiteY34" fmla="*/ 2047582 h 3377109"/>
              <a:gd name="connsiteX35" fmla="*/ 1890508 w 2485933"/>
              <a:gd name="connsiteY35" fmla="*/ 2283194 h 3377109"/>
              <a:gd name="connsiteX36" fmla="*/ 1744653 w 2485933"/>
              <a:gd name="connsiteY36" fmla="*/ 2468318 h 3377109"/>
              <a:gd name="connsiteX37" fmla="*/ 1677335 w 2485933"/>
              <a:gd name="connsiteY37" fmla="*/ 2821737 h 3377109"/>
              <a:gd name="connsiteX38" fmla="*/ 1699775 w 2485933"/>
              <a:gd name="connsiteY38" fmla="*/ 3377109 h 3377109"/>
              <a:gd name="connsiteX0" fmla="*/ 0 w 2485933"/>
              <a:gd name="connsiteY0" fmla="*/ 0 h 3377109"/>
              <a:gd name="connsiteX1" fmla="*/ 179514 w 2485933"/>
              <a:gd name="connsiteY1" fmla="*/ 89757 h 3377109"/>
              <a:gd name="connsiteX2" fmla="*/ 263661 w 2485933"/>
              <a:gd name="connsiteY2" fmla="*/ 140246 h 3377109"/>
              <a:gd name="connsiteX3" fmla="*/ 302930 w 2485933"/>
              <a:gd name="connsiteY3" fmla="*/ 196344 h 3377109"/>
              <a:gd name="connsiteX4" fmla="*/ 330979 w 2485933"/>
              <a:gd name="connsiteY4" fmla="*/ 201954 h 3377109"/>
              <a:gd name="connsiteX5" fmla="*/ 420736 w 2485933"/>
              <a:gd name="connsiteY5" fmla="*/ 157075 h 3377109"/>
              <a:gd name="connsiteX6" fmla="*/ 482444 w 2485933"/>
              <a:gd name="connsiteY6" fmla="*/ 179514 h 3377109"/>
              <a:gd name="connsiteX7" fmla="*/ 521713 w 2485933"/>
              <a:gd name="connsiteY7" fmla="*/ 224393 h 3377109"/>
              <a:gd name="connsiteX8" fmla="*/ 650739 w 2485933"/>
              <a:gd name="connsiteY8" fmla="*/ 190734 h 3377109"/>
              <a:gd name="connsiteX9" fmla="*/ 746106 w 2485933"/>
              <a:gd name="connsiteY9" fmla="*/ 151465 h 3377109"/>
              <a:gd name="connsiteX10" fmla="*/ 774155 w 2485933"/>
              <a:gd name="connsiteY10" fmla="*/ 72928 h 3377109"/>
              <a:gd name="connsiteX11" fmla="*/ 891961 w 2485933"/>
              <a:gd name="connsiteY11" fmla="*/ 33659 h 3377109"/>
              <a:gd name="connsiteX12" fmla="*/ 998547 w 2485933"/>
              <a:gd name="connsiteY12" fmla="*/ 61708 h 3377109"/>
              <a:gd name="connsiteX13" fmla="*/ 1121963 w 2485933"/>
              <a:gd name="connsiteY13" fmla="*/ 89757 h 3377109"/>
              <a:gd name="connsiteX14" fmla="*/ 1155622 w 2485933"/>
              <a:gd name="connsiteY14" fmla="*/ 157075 h 3377109"/>
              <a:gd name="connsiteX15" fmla="*/ 1161232 w 2485933"/>
              <a:gd name="connsiteY15" fmla="*/ 207563 h 3377109"/>
              <a:gd name="connsiteX16" fmla="*/ 1206110 w 2485933"/>
              <a:gd name="connsiteY16" fmla="*/ 230003 h 3377109"/>
              <a:gd name="connsiteX17" fmla="*/ 1351966 w 2485933"/>
              <a:gd name="connsiteY17" fmla="*/ 185124 h 3377109"/>
              <a:gd name="connsiteX18" fmla="*/ 1570748 w 2485933"/>
              <a:gd name="connsiteY18" fmla="*/ 196344 h 3377109"/>
              <a:gd name="connsiteX19" fmla="*/ 1660506 w 2485933"/>
              <a:gd name="connsiteY19" fmla="*/ 280491 h 3377109"/>
              <a:gd name="connsiteX20" fmla="*/ 1811971 w 2485933"/>
              <a:gd name="connsiteY20" fmla="*/ 246832 h 3377109"/>
              <a:gd name="connsiteX21" fmla="*/ 1890508 w 2485933"/>
              <a:gd name="connsiteY21" fmla="*/ 319760 h 3377109"/>
              <a:gd name="connsiteX22" fmla="*/ 2008314 w 2485933"/>
              <a:gd name="connsiteY22" fmla="*/ 325370 h 3377109"/>
              <a:gd name="connsiteX23" fmla="*/ 2070022 w 2485933"/>
              <a:gd name="connsiteY23" fmla="*/ 409517 h 3377109"/>
              <a:gd name="connsiteX24" fmla="*/ 2137340 w 2485933"/>
              <a:gd name="connsiteY24" fmla="*/ 611470 h 3377109"/>
              <a:gd name="connsiteX25" fmla="*/ 2154169 w 2485933"/>
              <a:gd name="connsiteY25" fmla="*/ 701227 h 3377109"/>
              <a:gd name="connsiteX26" fmla="*/ 2249536 w 2485933"/>
              <a:gd name="connsiteY26" fmla="*/ 757325 h 3377109"/>
              <a:gd name="connsiteX27" fmla="*/ 2316854 w 2485933"/>
              <a:gd name="connsiteY27" fmla="*/ 807814 h 3377109"/>
              <a:gd name="connsiteX28" fmla="*/ 2451490 w 2485933"/>
              <a:gd name="connsiteY28" fmla="*/ 1049036 h 3377109"/>
              <a:gd name="connsiteX29" fmla="*/ 2485148 w 2485933"/>
              <a:gd name="connsiteY29" fmla="*/ 1267819 h 3377109"/>
              <a:gd name="connsiteX30" fmla="*/ 2429050 w 2485933"/>
              <a:gd name="connsiteY30" fmla="*/ 1452943 h 3377109"/>
              <a:gd name="connsiteX31" fmla="*/ 2266366 w 2485933"/>
              <a:gd name="connsiteY31" fmla="*/ 1671725 h 3377109"/>
              <a:gd name="connsiteX32" fmla="*/ 2243926 w 2485933"/>
              <a:gd name="connsiteY32" fmla="*/ 1761482 h 3377109"/>
              <a:gd name="connsiteX33" fmla="*/ 2075632 w 2485933"/>
              <a:gd name="connsiteY33" fmla="*/ 1901727 h 3377109"/>
              <a:gd name="connsiteX34" fmla="*/ 1952216 w 2485933"/>
              <a:gd name="connsiteY34" fmla="*/ 2047582 h 3377109"/>
              <a:gd name="connsiteX35" fmla="*/ 1890508 w 2485933"/>
              <a:gd name="connsiteY35" fmla="*/ 2283194 h 3377109"/>
              <a:gd name="connsiteX36" fmla="*/ 1744653 w 2485933"/>
              <a:gd name="connsiteY36" fmla="*/ 2468318 h 3377109"/>
              <a:gd name="connsiteX37" fmla="*/ 1677335 w 2485933"/>
              <a:gd name="connsiteY37" fmla="*/ 2821737 h 3377109"/>
              <a:gd name="connsiteX38" fmla="*/ 1649286 w 2485933"/>
              <a:gd name="connsiteY38" fmla="*/ 3079788 h 3377109"/>
              <a:gd name="connsiteX39" fmla="*/ 1699775 w 2485933"/>
              <a:gd name="connsiteY39" fmla="*/ 3377109 h 3377109"/>
              <a:gd name="connsiteX0" fmla="*/ 0 w 2485933"/>
              <a:gd name="connsiteY0" fmla="*/ 0 h 3377109"/>
              <a:gd name="connsiteX1" fmla="*/ 179514 w 2485933"/>
              <a:gd name="connsiteY1" fmla="*/ 89757 h 3377109"/>
              <a:gd name="connsiteX2" fmla="*/ 263661 w 2485933"/>
              <a:gd name="connsiteY2" fmla="*/ 140246 h 3377109"/>
              <a:gd name="connsiteX3" fmla="*/ 302930 w 2485933"/>
              <a:gd name="connsiteY3" fmla="*/ 196344 h 3377109"/>
              <a:gd name="connsiteX4" fmla="*/ 330979 w 2485933"/>
              <a:gd name="connsiteY4" fmla="*/ 201954 h 3377109"/>
              <a:gd name="connsiteX5" fmla="*/ 420736 w 2485933"/>
              <a:gd name="connsiteY5" fmla="*/ 157075 h 3377109"/>
              <a:gd name="connsiteX6" fmla="*/ 482444 w 2485933"/>
              <a:gd name="connsiteY6" fmla="*/ 179514 h 3377109"/>
              <a:gd name="connsiteX7" fmla="*/ 521713 w 2485933"/>
              <a:gd name="connsiteY7" fmla="*/ 224393 h 3377109"/>
              <a:gd name="connsiteX8" fmla="*/ 650739 w 2485933"/>
              <a:gd name="connsiteY8" fmla="*/ 190734 h 3377109"/>
              <a:gd name="connsiteX9" fmla="*/ 746106 w 2485933"/>
              <a:gd name="connsiteY9" fmla="*/ 151465 h 3377109"/>
              <a:gd name="connsiteX10" fmla="*/ 774155 w 2485933"/>
              <a:gd name="connsiteY10" fmla="*/ 72928 h 3377109"/>
              <a:gd name="connsiteX11" fmla="*/ 891961 w 2485933"/>
              <a:gd name="connsiteY11" fmla="*/ 33659 h 3377109"/>
              <a:gd name="connsiteX12" fmla="*/ 998547 w 2485933"/>
              <a:gd name="connsiteY12" fmla="*/ 61708 h 3377109"/>
              <a:gd name="connsiteX13" fmla="*/ 1121963 w 2485933"/>
              <a:gd name="connsiteY13" fmla="*/ 89757 h 3377109"/>
              <a:gd name="connsiteX14" fmla="*/ 1155622 w 2485933"/>
              <a:gd name="connsiteY14" fmla="*/ 157075 h 3377109"/>
              <a:gd name="connsiteX15" fmla="*/ 1161232 w 2485933"/>
              <a:gd name="connsiteY15" fmla="*/ 207563 h 3377109"/>
              <a:gd name="connsiteX16" fmla="*/ 1206110 w 2485933"/>
              <a:gd name="connsiteY16" fmla="*/ 230003 h 3377109"/>
              <a:gd name="connsiteX17" fmla="*/ 1351966 w 2485933"/>
              <a:gd name="connsiteY17" fmla="*/ 185124 h 3377109"/>
              <a:gd name="connsiteX18" fmla="*/ 1570748 w 2485933"/>
              <a:gd name="connsiteY18" fmla="*/ 196344 h 3377109"/>
              <a:gd name="connsiteX19" fmla="*/ 1660506 w 2485933"/>
              <a:gd name="connsiteY19" fmla="*/ 280491 h 3377109"/>
              <a:gd name="connsiteX20" fmla="*/ 1811971 w 2485933"/>
              <a:gd name="connsiteY20" fmla="*/ 246832 h 3377109"/>
              <a:gd name="connsiteX21" fmla="*/ 1890508 w 2485933"/>
              <a:gd name="connsiteY21" fmla="*/ 319760 h 3377109"/>
              <a:gd name="connsiteX22" fmla="*/ 2008314 w 2485933"/>
              <a:gd name="connsiteY22" fmla="*/ 325370 h 3377109"/>
              <a:gd name="connsiteX23" fmla="*/ 2070022 w 2485933"/>
              <a:gd name="connsiteY23" fmla="*/ 409517 h 3377109"/>
              <a:gd name="connsiteX24" fmla="*/ 2137340 w 2485933"/>
              <a:gd name="connsiteY24" fmla="*/ 611470 h 3377109"/>
              <a:gd name="connsiteX25" fmla="*/ 2154169 w 2485933"/>
              <a:gd name="connsiteY25" fmla="*/ 701227 h 3377109"/>
              <a:gd name="connsiteX26" fmla="*/ 2249536 w 2485933"/>
              <a:gd name="connsiteY26" fmla="*/ 757325 h 3377109"/>
              <a:gd name="connsiteX27" fmla="*/ 2316854 w 2485933"/>
              <a:gd name="connsiteY27" fmla="*/ 807814 h 3377109"/>
              <a:gd name="connsiteX28" fmla="*/ 2451490 w 2485933"/>
              <a:gd name="connsiteY28" fmla="*/ 1049036 h 3377109"/>
              <a:gd name="connsiteX29" fmla="*/ 2485148 w 2485933"/>
              <a:gd name="connsiteY29" fmla="*/ 1267819 h 3377109"/>
              <a:gd name="connsiteX30" fmla="*/ 2429050 w 2485933"/>
              <a:gd name="connsiteY30" fmla="*/ 1452943 h 3377109"/>
              <a:gd name="connsiteX31" fmla="*/ 2266366 w 2485933"/>
              <a:gd name="connsiteY31" fmla="*/ 1671725 h 3377109"/>
              <a:gd name="connsiteX32" fmla="*/ 2243926 w 2485933"/>
              <a:gd name="connsiteY32" fmla="*/ 1761482 h 3377109"/>
              <a:gd name="connsiteX33" fmla="*/ 2075632 w 2485933"/>
              <a:gd name="connsiteY33" fmla="*/ 1901727 h 3377109"/>
              <a:gd name="connsiteX34" fmla="*/ 1952216 w 2485933"/>
              <a:gd name="connsiteY34" fmla="*/ 2047582 h 3377109"/>
              <a:gd name="connsiteX35" fmla="*/ 1890508 w 2485933"/>
              <a:gd name="connsiteY35" fmla="*/ 2283194 h 3377109"/>
              <a:gd name="connsiteX36" fmla="*/ 1744653 w 2485933"/>
              <a:gd name="connsiteY36" fmla="*/ 2468318 h 3377109"/>
              <a:gd name="connsiteX37" fmla="*/ 1677335 w 2485933"/>
              <a:gd name="connsiteY37" fmla="*/ 2821737 h 3377109"/>
              <a:gd name="connsiteX38" fmla="*/ 1649286 w 2485933"/>
              <a:gd name="connsiteY38" fmla="*/ 3079788 h 3377109"/>
              <a:gd name="connsiteX39" fmla="*/ 1710994 w 2485933"/>
              <a:gd name="connsiteY39" fmla="*/ 3264912 h 3377109"/>
              <a:gd name="connsiteX40" fmla="*/ 1699775 w 2485933"/>
              <a:gd name="connsiteY40" fmla="*/ 3377109 h 3377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485933" h="3377109">
                <a:moveTo>
                  <a:pt x="0" y="0"/>
                </a:moveTo>
                <a:cubicBezTo>
                  <a:pt x="67785" y="33191"/>
                  <a:pt x="135571" y="66383"/>
                  <a:pt x="179514" y="89757"/>
                </a:cubicBezTo>
                <a:cubicBezTo>
                  <a:pt x="223457" y="113131"/>
                  <a:pt x="243092" y="122482"/>
                  <a:pt x="263661" y="140246"/>
                </a:cubicBezTo>
                <a:cubicBezTo>
                  <a:pt x="284230" y="158011"/>
                  <a:pt x="302930" y="196344"/>
                  <a:pt x="302930" y="196344"/>
                </a:cubicBezTo>
                <a:cubicBezTo>
                  <a:pt x="314150" y="206629"/>
                  <a:pt x="311345" y="208499"/>
                  <a:pt x="330979" y="201954"/>
                </a:cubicBezTo>
                <a:cubicBezTo>
                  <a:pt x="350613" y="195409"/>
                  <a:pt x="395492" y="160815"/>
                  <a:pt x="420736" y="157075"/>
                </a:cubicBezTo>
                <a:cubicBezTo>
                  <a:pt x="445980" y="153335"/>
                  <a:pt x="465615" y="168294"/>
                  <a:pt x="482444" y="179514"/>
                </a:cubicBezTo>
                <a:cubicBezTo>
                  <a:pt x="499273" y="190734"/>
                  <a:pt x="493664" y="222523"/>
                  <a:pt x="521713" y="224393"/>
                </a:cubicBezTo>
                <a:cubicBezTo>
                  <a:pt x="549762" y="226263"/>
                  <a:pt x="613340" y="202889"/>
                  <a:pt x="650739" y="190734"/>
                </a:cubicBezTo>
                <a:cubicBezTo>
                  <a:pt x="688138" y="178579"/>
                  <a:pt x="725537" y="171099"/>
                  <a:pt x="746106" y="151465"/>
                </a:cubicBezTo>
                <a:cubicBezTo>
                  <a:pt x="766675" y="131831"/>
                  <a:pt x="749846" y="92562"/>
                  <a:pt x="774155" y="72928"/>
                </a:cubicBezTo>
                <a:cubicBezTo>
                  <a:pt x="798464" y="53294"/>
                  <a:pt x="854562" y="35529"/>
                  <a:pt x="891961" y="33659"/>
                </a:cubicBezTo>
                <a:cubicBezTo>
                  <a:pt x="929360" y="31789"/>
                  <a:pt x="960213" y="52358"/>
                  <a:pt x="998547" y="61708"/>
                </a:cubicBezTo>
                <a:cubicBezTo>
                  <a:pt x="1036881" y="71058"/>
                  <a:pt x="1095784" y="73863"/>
                  <a:pt x="1121963" y="89757"/>
                </a:cubicBezTo>
                <a:cubicBezTo>
                  <a:pt x="1148142" y="105651"/>
                  <a:pt x="1149077" y="137441"/>
                  <a:pt x="1155622" y="157075"/>
                </a:cubicBezTo>
                <a:cubicBezTo>
                  <a:pt x="1162167" y="176709"/>
                  <a:pt x="1152817" y="195408"/>
                  <a:pt x="1161232" y="207563"/>
                </a:cubicBezTo>
                <a:cubicBezTo>
                  <a:pt x="1169647" y="219718"/>
                  <a:pt x="1174321" y="233743"/>
                  <a:pt x="1206110" y="230003"/>
                </a:cubicBezTo>
                <a:cubicBezTo>
                  <a:pt x="1237899" y="226263"/>
                  <a:pt x="1291193" y="190734"/>
                  <a:pt x="1351966" y="185124"/>
                </a:cubicBezTo>
                <a:cubicBezTo>
                  <a:pt x="1412739" y="179514"/>
                  <a:pt x="1519325" y="180450"/>
                  <a:pt x="1570748" y="196344"/>
                </a:cubicBezTo>
                <a:cubicBezTo>
                  <a:pt x="1622171" y="212239"/>
                  <a:pt x="1620302" y="272076"/>
                  <a:pt x="1660506" y="280491"/>
                </a:cubicBezTo>
                <a:cubicBezTo>
                  <a:pt x="1700710" y="288906"/>
                  <a:pt x="1773637" y="240287"/>
                  <a:pt x="1811971" y="246832"/>
                </a:cubicBezTo>
                <a:cubicBezTo>
                  <a:pt x="1850305" y="253377"/>
                  <a:pt x="1857784" y="306670"/>
                  <a:pt x="1890508" y="319760"/>
                </a:cubicBezTo>
                <a:cubicBezTo>
                  <a:pt x="1923232" y="332850"/>
                  <a:pt x="1978395" y="310411"/>
                  <a:pt x="2008314" y="325370"/>
                </a:cubicBezTo>
                <a:cubicBezTo>
                  <a:pt x="2038233" y="340329"/>
                  <a:pt x="2048518" y="361834"/>
                  <a:pt x="2070022" y="409517"/>
                </a:cubicBezTo>
                <a:cubicBezTo>
                  <a:pt x="2091526" y="457200"/>
                  <a:pt x="2123315" y="562852"/>
                  <a:pt x="2137340" y="611470"/>
                </a:cubicBezTo>
                <a:cubicBezTo>
                  <a:pt x="2151365" y="660088"/>
                  <a:pt x="2135470" y="676918"/>
                  <a:pt x="2154169" y="701227"/>
                </a:cubicBezTo>
                <a:cubicBezTo>
                  <a:pt x="2172868" y="725536"/>
                  <a:pt x="2222422" y="739561"/>
                  <a:pt x="2249536" y="757325"/>
                </a:cubicBezTo>
                <a:cubicBezTo>
                  <a:pt x="2276650" y="775090"/>
                  <a:pt x="2283195" y="759196"/>
                  <a:pt x="2316854" y="807814"/>
                </a:cubicBezTo>
                <a:cubicBezTo>
                  <a:pt x="2350513" y="856432"/>
                  <a:pt x="2423441" y="972369"/>
                  <a:pt x="2451490" y="1049036"/>
                </a:cubicBezTo>
                <a:cubicBezTo>
                  <a:pt x="2479539" y="1125704"/>
                  <a:pt x="2488888" y="1200501"/>
                  <a:pt x="2485148" y="1267819"/>
                </a:cubicBezTo>
                <a:cubicBezTo>
                  <a:pt x="2481408" y="1335137"/>
                  <a:pt x="2465514" y="1385625"/>
                  <a:pt x="2429050" y="1452943"/>
                </a:cubicBezTo>
                <a:cubicBezTo>
                  <a:pt x="2392586" y="1520261"/>
                  <a:pt x="2297220" y="1620302"/>
                  <a:pt x="2266366" y="1671725"/>
                </a:cubicBezTo>
                <a:cubicBezTo>
                  <a:pt x="2235512" y="1723148"/>
                  <a:pt x="2275715" y="1723148"/>
                  <a:pt x="2243926" y="1761482"/>
                </a:cubicBezTo>
                <a:cubicBezTo>
                  <a:pt x="2212137" y="1799816"/>
                  <a:pt x="2113966" y="1861523"/>
                  <a:pt x="2075632" y="1901727"/>
                </a:cubicBezTo>
                <a:cubicBezTo>
                  <a:pt x="2037298" y="1941931"/>
                  <a:pt x="1980265" y="1984939"/>
                  <a:pt x="1952216" y="2047582"/>
                </a:cubicBezTo>
                <a:cubicBezTo>
                  <a:pt x="1924167" y="2110225"/>
                  <a:pt x="1906403" y="2218681"/>
                  <a:pt x="1890508" y="2283194"/>
                </a:cubicBezTo>
                <a:cubicBezTo>
                  <a:pt x="1874614" y="2347707"/>
                  <a:pt x="1773637" y="2381366"/>
                  <a:pt x="1744653" y="2468318"/>
                </a:cubicBezTo>
                <a:cubicBezTo>
                  <a:pt x="1715669" y="2555270"/>
                  <a:pt x="1688555" y="2722630"/>
                  <a:pt x="1677335" y="2821737"/>
                </a:cubicBezTo>
                <a:cubicBezTo>
                  <a:pt x="1666115" y="2920844"/>
                  <a:pt x="1649286" y="3006861"/>
                  <a:pt x="1649286" y="3079788"/>
                </a:cubicBezTo>
                <a:cubicBezTo>
                  <a:pt x="1649286" y="3152715"/>
                  <a:pt x="1702579" y="3215359"/>
                  <a:pt x="1710994" y="3264912"/>
                </a:cubicBezTo>
                <a:cubicBezTo>
                  <a:pt x="1719409" y="3314466"/>
                  <a:pt x="1696035" y="3357475"/>
                  <a:pt x="1699775" y="3377109"/>
                </a:cubicBezTo>
              </a:path>
            </a:pathLst>
          </a:custGeom>
          <a:noFill/>
          <a:ln w="38100">
            <a:solidFill>
              <a:srgbClr val="CE537B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олилиния 53">
            <a:extLst>
              <a:ext uri="{FF2B5EF4-FFF2-40B4-BE49-F238E27FC236}">
                <a16:creationId xmlns:a16="http://schemas.microsoft.com/office/drawing/2014/main" id="{3EA99834-17F1-984E-8A22-BD6294D2CC6C}"/>
              </a:ext>
            </a:extLst>
          </p:cNvPr>
          <p:cNvSpPr/>
          <p:nvPr/>
        </p:nvSpPr>
        <p:spPr>
          <a:xfrm>
            <a:off x="-47672" y="4830652"/>
            <a:ext cx="679268" cy="609045"/>
          </a:xfrm>
          <a:custGeom>
            <a:avLst/>
            <a:gdLst>
              <a:gd name="connsiteX0" fmla="*/ 631596 w 631596"/>
              <a:gd name="connsiteY0" fmla="*/ 0 h 650450"/>
              <a:gd name="connsiteX1" fmla="*/ 537328 w 631596"/>
              <a:gd name="connsiteY1" fmla="*/ 56561 h 650450"/>
              <a:gd name="connsiteX2" fmla="*/ 461913 w 631596"/>
              <a:gd name="connsiteY2" fmla="*/ 65988 h 650450"/>
              <a:gd name="connsiteX3" fmla="*/ 367645 w 631596"/>
              <a:gd name="connsiteY3" fmla="*/ 141402 h 650450"/>
              <a:gd name="connsiteX4" fmla="*/ 207390 w 631596"/>
              <a:gd name="connsiteY4" fmla="*/ 311085 h 650450"/>
              <a:gd name="connsiteX5" fmla="*/ 103695 w 631596"/>
              <a:gd name="connsiteY5" fmla="*/ 433633 h 650450"/>
              <a:gd name="connsiteX6" fmla="*/ 0 w 631596"/>
              <a:gd name="connsiteY6" fmla="*/ 650450 h 650450"/>
              <a:gd name="connsiteX7" fmla="*/ 0 w 631596"/>
              <a:gd name="connsiteY7" fmla="*/ 650450 h 65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1596" h="650450">
                <a:moveTo>
                  <a:pt x="631596" y="0"/>
                </a:moveTo>
                <a:cubicBezTo>
                  <a:pt x="598602" y="22781"/>
                  <a:pt x="565608" y="45563"/>
                  <a:pt x="537328" y="56561"/>
                </a:cubicBezTo>
                <a:cubicBezTo>
                  <a:pt x="509048" y="67559"/>
                  <a:pt x="490193" y="51848"/>
                  <a:pt x="461913" y="65988"/>
                </a:cubicBezTo>
                <a:cubicBezTo>
                  <a:pt x="433633" y="80128"/>
                  <a:pt x="410065" y="100553"/>
                  <a:pt x="367645" y="141402"/>
                </a:cubicBezTo>
                <a:cubicBezTo>
                  <a:pt x="325225" y="182251"/>
                  <a:pt x="251382" y="262380"/>
                  <a:pt x="207390" y="311085"/>
                </a:cubicBezTo>
                <a:cubicBezTo>
                  <a:pt x="163398" y="359790"/>
                  <a:pt x="138260" y="377072"/>
                  <a:pt x="103695" y="433633"/>
                </a:cubicBezTo>
                <a:cubicBezTo>
                  <a:pt x="69130" y="490194"/>
                  <a:pt x="0" y="650450"/>
                  <a:pt x="0" y="650450"/>
                </a:cubicBezTo>
                <a:lnTo>
                  <a:pt x="0" y="650450"/>
                </a:lnTo>
              </a:path>
            </a:pathLst>
          </a:custGeom>
          <a:noFill/>
          <a:ln w="38100" cmpd="dbl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олилиния 54">
            <a:extLst>
              <a:ext uri="{FF2B5EF4-FFF2-40B4-BE49-F238E27FC236}">
                <a16:creationId xmlns:a16="http://schemas.microsoft.com/office/drawing/2014/main" id="{384D4076-2137-9F48-AEFA-96D51F43113C}"/>
              </a:ext>
            </a:extLst>
          </p:cNvPr>
          <p:cNvSpPr/>
          <p:nvPr/>
        </p:nvSpPr>
        <p:spPr>
          <a:xfrm>
            <a:off x="5784719" y="4707752"/>
            <a:ext cx="1249513" cy="905615"/>
          </a:xfrm>
          <a:custGeom>
            <a:avLst/>
            <a:gdLst>
              <a:gd name="connsiteX0" fmla="*/ 0 w 876692"/>
              <a:gd name="connsiteY0" fmla="*/ 0 h 829559"/>
              <a:gd name="connsiteX1" fmla="*/ 226243 w 876692"/>
              <a:gd name="connsiteY1" fmla="*/ 160256 h 829559"/>
              <a:gd name="connsiteX2" fmla="*/ 386499 w 876692"/>
              <a:gd name="connsiteY2" fmla="*/ 367646 h 829559"/>
              <a:gd name="connsiteX3" fmla="*/ 546754 w 876692"/>
              <a:gd name="connsiteY3" fmla="*/ 556182 h 829559"/>
              <a:gd name="connsiteX4" fmla="*/ 876692 w 876692"/>
              <a:gd name="connsiteY4" fmla="*/ 829559 h 829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6692" h="829559">
                <a:moveTo>
                  <a:pt x="0" y="0"/>
                </a:moveTo>
                <a:cubicBezTo>
                  <a:pt x="80913" y="49491"/>
                  <a:pt x="161827" y="98982"/>
                  <a:pt x="226243" y="160256"/>
                </a:cubicBezTo>
                <a:cubicBezTo>
                  <a:pt x="290659" y="221530"/>
                  <a:pt x="333081" y="301658"/>
                  <a:pt x="386499" y="367646"/>
                </a:cubicBezTo>
                <a:cubicBezTo>
                  <a:pt x="439918" y="433634"/>
                  <a:pt x="465055" y="479196"/>
                  <a:pt x="546754" y="556182"/>
                </a:cubicBezTo>
                <a:cubicBezTo>
                  <a:pt x="628453" y="633168"/>
                  <a:pt x="752572" y="731363"/>
                  <a:pt x="876692" y="829559"/>
                </a:cubicBezTo>
              </a:path>
            </a:pathLst>
          </a:custGeom>
          <a:noFill/>
          <a:ln w="38100" cmpd="dbl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6" name="Полилиния 55">
            <a:extLst>
              <a:ext uri="{FF2B5EF4-FFF2-40B4-BE49-F238E27FC236}">
                <a16:creationId xmlns:a16="http://schemas.microsoft.com/office/drawing/2014/main" id="{13D27794-2738-E140-8EA6-58CE6E226BCE}"/>
              </a:ext>
            </a:extLst>
          </p:cNvPr>
          <p:cNvSpPr/>
          <p:nvPr/>
        </p:nvSpPr>
        <p:spPr>
          <a:xfrm>
            <a:off x="875695" y="979175"/>
            <a:ext cx="345234" cy="446670"/>
          </a:xfrm>
          <a:custGeom>
            <a:avLst/>
            <a:gdLst>
              <a:gd name="connsiteX0" fmla="*/ 443060 w 443060"/>
              <a:gd name="connsiteY0" fmla="*/ 650449 h 650449"/>
              <a:gd name="connsiteX1" fmla="*/ 339365 w 443060"/>
              <a:gd name="connsiteY1" fmla="*/ 537328 h 650449"/>
              <a:gd name="connsiteX2" fmla="*/ 103695 w 443060"/>
              <a:gd name="connsiteY2" fmla="*/ 160256 h 650449"/>
              <a:gd name="connsiteX3" fmla="*/ 0 w 443060"/>
              <a:gd name="connsiteY3" fmla="*/ 0 h 650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3060" h="650449">
                <a:moveTo>
                  <a:pt x="443060" y="650449"/>
                </a:moveTo>
                <a:cubicBezTo>
                  <a:pt x="419493" y="634738"/>
                  <a:pt x="395926" y="619027"/>
                  <a:pt x="339365" y="537328"/>
                </a:cubicBezTo>
                <a:cubicBezTo>
                  <a:pt x="282804" y="455629"/>
                  <a:pt x="160256" y="249811"/>
                  <a:pt x="103695" y="160256"/>
                </a:cubicBezTo>
                <a:cubicBezTo>
                  <a:pt x="47134" y="70701"/>
                  <a:pt x="23567" y="35350"/>
                  <a:pt x="0" y="0"/>
                </a:cubicBezTo>
              </a:path>
            </a:pathLst>
          </a:custGeom>
          <a:noFill/>
          <a:ln w="38100" cmpd="dbl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A7692DFA-4B90-664A-81FF-6B4AD6AED28F}"/>
              </a:ext>
            </a:extLst>
          </p:cNvPr>
          <p:cNvSpPr/>
          <p:nvPr/>
        </p:nvSpPr>
        <p:spPr>
          <a:xfrm rot="16200000">
            <a:off x="3086473" y="-2137881"/>
            <a:ext cx="855836" cy="7027878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60000">
                <a:schemeClr val="bg1">
                  <a:alpha val="77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F2937D54-B8E8-AA40-9B02-29A1378563E4}"/>
              </a:ext>
            </a:extLst>
          </p:cNvPr>
          <p:cNvSpPr/>
          <p:nvPr/>
        </p:nvSpPr>
        <p:spPr>
          <a:xfrm>
            <a:off x="4384298" y="948143"/>
            <a:ext cx="2678381" cy="488454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60000">
                <a:schemeClr val="bg1">
                  <a:alpha val="77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5B44289-55A3-6444-8E8E-F32FC2AF522E}"/>
              </a:ext>
            </a:extLst>
          </p:cNvPr>
          <p:cNvSpPr txBox="1"/>
          <p:nvPr/>
        </p:nvSpPr>
        <p:spPr>
          <a:xfrm>
            <a:off x="2583139" y="1130108"/>
            <a:ext cx="620121" cy="282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Лобня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CC61956-359A-F04C-A5C5-CF0721C36D60}"/>
              </a:ext>
            </a:extLst>
          </p:cNvPr>
          <p:cNvSpPr txBox="1"/>
          <p:nvPr/>
        </p:nvSpPr>
        <p:spPr>
          <a:xfrm>
            <a:off x="1247766" y="1137654"/>
            <a:ext cx="801090" cy="282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Крюково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FC6BAB0-5793-8D46-9092-28C3FC46C899}"/>
              </a:ext>
            </a:extLst>
          </p:cNvPr>
          <p:cNvSpPr txBox="1"/>
          <p:nvPr/>
        </p:nvSpPr>
        <p:spPr>
          <a:xfrm>
            <a:off x="4069274" y="1111849"/>
            <a:ext cx="865943" cy="2597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Пушкино</a:t>
            </a:r>
          </a:p>
        </p:txBody>
      </p:sp>
      <p:sp>
        <p:nvSpPr>
          <p:cNvPr id="32" name="Полилиния 31">
            <a:extLst>
              <a:ext uri="{FF2B5EF4-FFF2-40B4-BE49-F238E27FC236}">
                <a16:creationId xmlns:a16="http://schemas.microsoft.com/office/drawing/2014/main" id="{62D1A37E-CF0D-AF47-88A6-6DBE3D821EB1}"/>
              </a:ext>
            </a:extLst>
          </p:cNvPr>
          <p:cNvSpPr/>
          <p:nvPr/>
        </p:nvSpPr>
        <p:spPr>
          <a:xfrm>
            <a:off x="1602073" y="1278895"/>
            <a:ext cx="1362662" cy="2536692"/>
          </a:xfrm>
          <a:custGeom>
            <a:avLst/>
            <a:gdLst>
              <a:gd name="connsiteX0" fmla="*/ 0 w 1417437"/>
              <a:gd name="connsiteY0" fmla="*/ 2810518 h 2810518"/>
              <a:gd name="connsiteX1" fmla="*/ 78538 w 1417437"/>
              <a:gd name="connsiteY1" fmla="*/ 2743200 h 2810518"/>
              <a:gd name="connsiteX2" fmla="*/ 173904 w 1417437"/>
              <a:gd name="connsiteY2" fmla="*/ 2715151 h 2810518"/>
              <a:gd name="connsiteX3" fmla="*/ 297320 w 1417437"/>
              <a:gd name="connsiteY3" fmla="*/ 2546856 h 2810518"/>
              <a:gd name="connsiteX4" fmla="*/ 476834 w 1417437"/>
              <a:gd name="connsiteY4" fmla="*/ 2412221 h 2810518"/>
              <a:gd name="connsiteX5" fmla="*/ 560982 w 1417437"/>
              <a:gd name="connsiteY5" fmla="*/ 2367342 h 2810518"/>
              <a:gd name="connsiteX6" fmla="*/ 622690 w 1417437"/>
              <a:gd name="connsiteY6" fmla="*/ 2344903 h 2810518"/>
              <a:gd name="connsiteX7" fmla="*/ 740496 w 1417437"/>
              <a:gd name="connsiteY7" fmla="*/ 2350513 h 2810518"/>
              <a:gd name="connsiteX8" fmla="*/ 948059 w 1417437"/>
              <a:gd name="connsiteY8" fmla="*/ 2294415 h 2810518"/>
              <a:gd name="connsiteX9" fmla="*/ 1121963 w 1417437"/>
              <a:gd name="connsiteY9" fmla="*/ 2176608 h 2810518"/>
              <a:gd name="connsiteX10" fmla="*/ 1172452 w 1417437"/>
              <a:gd name="connsiteY10" fmla="*/ 2002704 h 2810518"/>
              <a:gd name="connsiteX11" fmla="*/ 1217330 w 1417437"/>
              <a:gd name="connsiteY11" fmla="*/ 1963435 h 2810518"/>
              <a:gd name="connsiteX12" fmla="*/ 1335136 w 1417437"/>
              <a:gd name="connsiteY12" fmla="*/ 1946606 h 2810518"/>
              <a:gd name="connsiteX13" fmla="*/ 1402454 w 1417437"/>
              <a:gd name="connsiteY13" fmla="*/ 1890508 h 2810518"/>
              <a:gd name="connsiteX14" fmla="*/ 1413674 w 1417437"/>
              <a:gd name="connsiteY14" fmla="*/ 1716603 h 2810518"/>
              <a:gd name="connsiteX15" fmla="*/ 1351966 w 1417437"/>
              <a:gd name="connsiteY15" fmla="*/ 1565138 h 2810518"/>
              <a:gd name="connsiteX16" fmla="*/ 1357576 w 1417437"/>
              <a:gd name="connsiteY16" fmla="*/ 1413673 h 2810518"/>
              <a:gd name="connsiteX17" fmla="*/ 1340746 w 1417437"/>
              <a:gd name="connsiteY17" fmla="*/ 1138792 h 2810518"/>
              <a:gd name="connsiteX18" fmla="*/ 1312697 w 1417437"/>
              <a:gd name="connsiteY18" fmla="*/ 976108 h 2810518"/>
              <a:gd name="connsiteX19" fmla="*/ 1245379 w 1417437"/>
              <a:gd name="connsiteY19" fmla="*/ 920010 h 2810518"/>
              <a:gd name="connsiteX20" fmla="*/ 1189281 w 1417437"/>
              <a:gd name="connsiteY20" fmla="*/ 847082 h 2810518"/>
              <a:gd name="connsiteX21" fmla="*/ 1054646 w 1417437"/>
              <a:gd name="connsiteY21" fmla="*/ 426346 h 2810518"/>
              <a:gd name="connsiteX22" fmla="*/ 953669 w 1417437"/>
              <a:gd name="connsiteY22" fmla="*/ 0 h 2810518"/>
              <a:gd name="connsiteX0" fmla="*/ 0 w 1440685"/>
              <a:gd name="connsiteY0" fmla="*/ 2771772 h 2771772"/>
              <a:gd name="connsiteX1" fmla="*/ 101786 w 1440685"/>
              <a:gd name="connsiteY1" fmla="*/ 2743200 h 2771772"/>
              <a:gd name="connsiteX2" fmla="*/ 197152 w 1440685"/>
              <a:gd name="connsiteY2" fmla="*/ 2715151 h 2771772"/>
              <a:gd name="connsiteX3" fmla="*/ 320568 w 1440685"/>
              <a:gd name="connsiteY3" fmla="*/ 2546856 h 2771772"/>
              <a:gd name="connsiteX4" fmla="*/ 500082 w 1440685"/>
              <a:gd name="connsiteY4" fmla="*/ 2412221 h 2771772"/>
              <a:gd name="connsiteX5" fmla="*/ 584230 w 1440685"/>
              <a:gd name="connsiteY5" fmla="*/ 2367342 h 2771772"/>
              <a:gd name="connsiteX6" fmla="*/ 645938 w 1440685"/>
              <a:gd name="connsiteY6" fmla="*/ 2344903 h 2771772"/>
              <a:gd name="connsiteX7" fmla="*/ 763744 w 1440685"/>
              <a:gd name="connsiteY7" fmla="*/ 2350513 h 2771772"/>
              <a:gd name="connsiteX8" fmla="*/ 971307 w 1440685"/>
              <a:gd name="connsiteY8" fmla="*/ 2294415 h 2771772"/>
              <a:gd name="connsiteX9" fmla="*/ 1145211 w 1440685"/>
              <a:gd name="connsiteY9" fmla="*/ 2176608 h 2771772"/>
              <a:gd name="connsiteX10" fmla="*/ 1195700 w 1440685"/>
              <a:gd name="connsiteY10" fmla="*/ 2002704 h 2771772"/>
              <a:gd name="connsiteX11" fmla="*/ 1240578 w 1440685"/>
              <a:gd name="connsiteY11" fmla="*/ 1963435 h 2771772"/>
              <a:gd name="connsiteX12" fmla="*/ 1358384 w 1440685"/>
              <a:gd name="connsiteY12" fmla="*/ 1946606 h 2771772"/>
              <a:gd name="connsiteX13" fmla="*/ 1425702 w 1440685"/>
              <a:gd name="connsiteY13" fmla="*/ 1890508 h 2771772"/>
              <a:gd name="connsiteX14" fmla="*/ 1436922 w 1440685"/>
              <a:gd name="connsiteY14" fmla="*/ 1716603 h 2771772"/>
              <a:gd name="connsiteX15" fmla="*/ 1375214 w 1440685"/>
              <a:gd name="connsiteY15" fmla="*/ 1565138 h 2771772"/>
              <a:gd name="connsiteX16" fmla="*/ 1380824 w 1440685"/>
              <a:gd name="connsiteY16" fmla="*/ 1413673 h 2771772"/>
              <a:gd name="connsiteX17" fmla="*/ 1363994 w 1440685"/>
              <a:gd name="connsiteY17" fmla="*/ 1138792 h 2771772"/>
              <a:gd name="connsiteX18" fmla="*/ 1335945 w 1440685"/>
              <a:gd name="connsiteY18" fmla="*/ 976108 h 2771772"/>
              <a:gd name="connsiteX19" fmla="*/ 1268627 w 1440685"/>
              <a:gd name="connsiteY19" fmla="*/ 920010 h 2771772"/>
              <a:gd name="connsiteX20" fmla="*/ 1212529 w 1440685"/>
              <a:gd name="connsiteY20" fmla="*/ 847082 h 2771772"/>
              <a:gd name="connsiteX21" fmla="*/ 1077894 w 1440685"/>
              <a:gd name="connsiteY21" fmla="*/ 426346 h 2771772"/>
              <a:gd name="connsiteX22" fmla="*/ 976917 w 1440685"/>
              <a:gd name="connsiteY22" fmla="*/ 0 h 2771772"/>
              <a:gd name="connsiteX0" fmla="*/ 0 w 1448435"/>
              <a:gd name="connsiteY0" fmla="*/ 2764023 h 2764023"/>
              <a:gd name="connsiteX1" fmla="*/ 109536 w 1448435"/>
              <a:gd name="connsiteY1" fmla="*/ 2743200 h 2764023"/>
              <a:gd name="connsiteX2" fmla="*/ 204902 w 1448435"/>
              <a:gd name="connsiteY2" fmla="*/ 2715151 h 2764023"/>
              <a:gd name="connsiteX3" fmla="*/ 328318 w 1448435"/>
              <a:gd name="connsiteY3" fmla="*/ 2546856 h 2764023"/>
              <a:gd name="connsiteX4" fmla="*/ 507832 w 1448435"/>
              <a:gd name="connsiteY4" fmla="*/ 2412221 h 2764023"/>
              <a:gd name="connsiteX5" fmla="*/ 591980 w 1448435"/>
              <a:gd name="connsiteY5" fmla="*/ 2367342 h 2764023"/>
              <a:gd name="connsiteX6" fmla="*/ 653688 w 1448435"/>
              <a:gd name="connsiteY6" fmla="*/ 2344903 h 2764023"/>
              <a:gd name="connsiteX7" fmla="*/ 771494 w 1448435"/>
              <a:gd name="connsiteY7" fmla="*/ 2350513 h 2764023"/>
              <a:gd name="connsiteX8" fmla="*/ 979057 w 1448435"/>
              <a:gd name="connsiteY8" fmla="*/ 2294415 h 2764023"/>
              <a:gd name="connsiteX9" fmla="*/ 1152961 w 1448435"/>
              <a:gd name="connsiteY9" fmla="*/ 2176608 h 2764023"/>
              <a:gd name="connsiteX10" fmla="*/ 1203450 w 1448435"/>
              <a:gd name="connsiteY10" fmla="*/ 2002704 h 2764023"/>
              <a:gd name="connsiteX11" fmla="*/ 1248328 w 1448435"/>
              <a:gd name="connsiteY11" fmla="*/ 1963435 h 2764023"/>
              <a:gd name="connsiteX12" fmla="*/ 1366134 w 1448435"/>
              <a:gd name="connsiteY12" fmla="*/ 1946606 h 2764023"/>
              <a:gd name="connsiteX13" fmla="*/ 1433452 w 1448435"/>
              <a:gd name="connsiteY13" fmla="*/ 1890508 h 2764023"/>
              <a:gd name="connsiteX14" fmla="*/ 1444672 w 1448435"/>
              <a:gd name="connsiteY14" fmla="*/ 1716603 h 2764023"/>
              <a:gd name="connsiteX15" fmla="*/ 1382964 w 1448435"/>
              <a:gd name="connsiteY15" fmla="*/ 1565138 h 2764023"/>
              <a:gd name="connsiteX16" fmla="*/ 1388574 w 1448435"/>
              <a:gd name="connsiteY16" fmla="*/ 1413673 h 2764023"/>
              <a:gd name="connsiteX17" fmla="*/ 1371744 w 1448435"/>
              <a:gd name="connsiteY17" fmla="*/ 1138792 h 2764023"/>
              <a:gd name="connsiteX18" fmla="*/ 1343695 w 1448435"/>
              <a:gd name="connsiteY18" fmla="*/ 976108 h 2764023"/>
              <a:gd name="connsiteX19" fmla="*/ 1276377 w 1448435"/>
              <a:gd name="connsiteY19" fmla="*/ 920010 h 2764023"/>
              <a:gd name="connsiteX20" fmla="*/ 1220279 w 1448435"/>
              <a:gd name="connsiteY20" fmla="*/ 847082 h 2764023"/>
              <a:gd name="connsiteX21" fmla="*/ 1085644 w 1448435"/>
              <a:gd name="connsiteY21" fmla="*/ 426346 h 2764023"/>
              <a:gd name="connsiteX22" fmla="*/ 984667 w 1448435"/>
              <a:gd name="connsiteY22" fmla="*/ 0 h 2764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448435" h="2764023">
                <a:moveTo>
                  <a:pt x="0" y="2764023"/>
                </a:moveTo>
                <a:cubicBezTo>
                  <a:pt x="24777" y="2738311"/>
                  <a:pt x="75386" y="2751345"/>
                  <a:pt x="109536" y="2743200"/>
                </a:cubicBezTo>
                <a:cubicBezTo>
                  <a:pt x="143686" y="2735055"/>
                  <a:pt x="168438" y="2747875"/>
                  <a:pt x="204902" y="2715151"/>
                </a:cubicBezTo>
                <a:cubicBezTo>
                  <a:pt x="241366" y="2682427"/>
                  <a:pt x="277830" y="2597344"/>
                  <a:pt x="328318" y="2546856"/>
                </a:cubicBezTo>
                <a:cubicBezTo>
                  <a:pt x="378806" y="2496368"/>
                  <a:pt x="463888" y="2442140"/>
                  <a:pt x="507832" y="2412221"/>
                </a:cubicBezTo>
                <a:cubicBezTo>
                  <a:pt x="551776" y="2382302"/>
                  <a:pt x="567671" y="2378562"/>
                  <a:pt x="591980" y="2367342"/>
                </a:cubicBezTo>
                <a:cubicBezTo>
                  <a:pt x="616289" y="2356122"/>
                  <a:pt x="623769" y="2347708"/>
                  <a:pt x="653688" y="2344903"/>
                </a:cubicBezTo>
                <a:cubicBezTo>
                  <a:pt x="683607" y="2342098"/>
                  <a:pt x="717266" y="2358928"/>
                  <a:pt x="771494" y="2350513"/>
                </a:cubicBezTo>
                <a:cubicBezTo>
                  <a:pt x="825722" y="2342098"/>
                  <a:pt x="915479" y="2323399"/>
                  <a:pt x="979057" y="2294415"/>
                </a:cubicBezTo>
                <a:cubicBezTo>
                  <a:pt x="1042635" y="2265431"/>
                  <a:pt x="1115562" y="2225226"/>
                  <a:pt x="1152961" y="2176608"/>
                </a:cubicBezTo>
                <a:cubicBezTo>
                  <a:pt x="1190360" y="2127990"/>
                  <a:pt x="1187556" y="2038233"/>
                  <a:pt x="1203450" y="2002704"/>
                </a:cubicBezTo>
                <a:cubicBezTo>
                  <a:pt x="1219344" y="1967175"/>
                  <a:pt x="1221214" y="1972785"/>
                  <a:pt x="1248328" y="1963435"/>
                </a:cubicBezTo>
                <a:cubicBezTo>
                  <a:pt x="1275442" y="1954085"/>
                  <a:pt x="1335280" y="1958760"/>
                  <a:pt x="1366134" y="1946606"/>
                </a:cubicBezTo>
                <a:cubicBezTo>
                  <a:pt x="1396988" y="1934451"/>
                  <a:pt x="1420362" y="1928842"/>
                  <a:pt x="1433452" y="1890508"/>
                </a:cubicBezTo>
                <a:cubicBezTo>
                  <a:pt x="1446542" y="1852174"/>
                  <a:pt x="1453087" y="1770831"/>
                  <a:pt x="1444672" y="1716603"/>
                </a:cubicBezTo>
                <a:cubicBezTo>
                  <a:pt x="1436257" y="1662375"/>
                  <a:pt x="1392314" y="1615626"/>
                  <a:pt x="1382964" y="1565138"/>
                </a:cubicBezTo>
                <a:cubicBezTo>
                  <a:pt x="1373614" y="1514650"/>
                  <a:pt x="1390444" y="1484731"/>
                  <a:pt x="1388574" y="1413673"/>
                </a:cubicBezTo>
                <a:cubicBezTo>
                  <a:pt x="1386704" y="1342615"/>
                  <a:pt x="1379224" y="1211719"/>
                  <a:pt x="1371744" y="1138792"/>
                </a:cubicBezTo>
                <a:cubicBezTo>
                  <a:pt x="1364264" y="1065865"/>
                  <a:pt x="1359589" y="1012572"/>
                  <a:pt x="1343695" y="976108"/>
                </a:cubicBezTo>
                <a:cubicBezTo>
                  <a:pt x="1327801" y="939644"/>
                  <a:pt x="1296946" y="941514"/>
                  <a:pt x="1276377" y="920010"/>
                </a:cubicBezTo>
                <a:cubicBezTo>
                  <a:pt x="1255808" y="898506"/>
                  <a:pt x="1252068" y="929359"/>
                  <a:pt x="1220279" y="847082"/>
                </a:cubicBezTo>
                <a:cubicBezTo>
                  <a:pt x="1188490" y="764805"/>
                  <a:pt x="1124913" y="567526"/>
                  <a:pt x="1085644" y="426346"/>
                </a:cubicBezTo>
                <a:cubicBezTo>
                  <a:pt x="1046375" y="285166"/>
                  <a:pt x="1015521" y="142583"/>
                  <a:pt x="984667" y="0"/>
                </a:cubicBezTo>
              </a:path>
            </a:pathLst>
          </a:custGeom>
          <a:noFill/>
          <a:ln w="38100">
            <a:solidFill>
              <a:srgbClr val="E1A14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75E15FF9-0725-214F-B850-031AFFAA0EAE}"/>
              </a:ext>
            </a:extLst>
          </p:cNvPr>
          <p:cNvGrpSpPr/>
          <p:nvPr/>
        </p:nvGrpSpPr>
        <p:grpSpPr>
          <a:xfrm>
            <a:off x="3225834" y="1241083"/>
            <a:ext cx="917218" cy="1729525"/>
            <a:chOff x="-904719" y="1072529"/>
            <a:chExt cx="917218" cy="2096933"/>
          </a:xfrm>
        </p:grpSpPr>
        <p:sp>
          <p:nvSpPr>
            <p:cNvPr id="44" name="Полилиния 43">
              <a:extLst>
                <a:ext uri="{FF2B5EF4-FFF2-40B4-BE49-F238E27FC236}">
                  <a16:creationId xmlns:a16="http://schemas.microsoft.com/office/drawing/2014/main" id="{9AB90EF0-36A7-0E4F-9E0F-21CC88DA9C7C}"/>
                </a:ext>
              </a:extLst>
            </p:cNvPr>
            <p:cNvSpPr/>
            <p:nvPr/>
          </p:nvSpPr>
          <p:spPr>
            <a:xfrm>
              <a:off x="-904719" y="1072529"/>
              <a:ext cx="821012" cy="2096933"/>
            </a:xfrm>
            <a:custGeom>
              <a:avLst/>
              <a:gdLst>
                <a:gd name="connsiteX0" fmla="*/ 29939 w 820586"/>
                <a:gd name="connsiteY0" fmla="*/ 2096933 h 2096933"/>
                <a:gd name="connsiteX1" fmla="*/ 2438 w 820586"/>
                <a:gd name="connsiteY1" fmla="*/ 1952554 h 2096933"/>
                <a:gd name="connsiteX2" fmla="*/ 84941 w 820586"/>
                <a:gd name="connsiteY2" fmla="*/ 1760048 h 2096933"/>
                <a:gd name="connsiteX3" fmla="*/ 91816 w 820586"/>
                <a:gd name="connsiteY3" fmla="*/ 1430039 h 2096933"/>
                <a:gd name="connsiteX4" fmla="*/ 545578 w 820586"/>
                <a:gd name="connsiteY4" fmla="*/ 818148 h 2096933"/>
                <a:gd name="connsiteX5" fmla="*/ 820586 w 820586"/>
                <a:gd name="connsiteY5" fmla="*/ 0 h 2096933"/>
                <a:gd name="connsiteX0" fmla="*/ 29939 w 820586"/>
                <a:gd name="connsiteY0" fmla="*/ 2096933 h 2096933"/>
                <a:gd name="connsiteX1" fmla="*/ 2438 w 820586"/>
                <a:gd name="connsiteY1" fmla="*/ 1952554 h 2096933"/>
                <a:gd name="connsiteX2" fmla="*/ 84941 w 820586"/>
                <a:gd name="connsiteY2" fmla="*/ 1760048 h 2096933"/>
                <a:gd name="connsiteX3" fmla="*/ 98692 w 820586"/>
                <a:gd name="connsiteY3" fmla="*/ 1423164 h 2096933"/>
                <a:gd name="connsiteX4" fmla="*/ 545578 w 820586"/>
                <a:gd name="connsiteY4" fmla="*/ 818148 h 2096933"/>
                <a:gd name="connsiteX5" fmla="*/ 820586 w 820586"/>
                <a:gd name="connsiteY5" fmla="*/ 0 h 2096933"/>
                <a:gd name="connsiteX0" fmla="*/ 30365 w 821012"/>
                <a:gd name="connsiteY0" fmla="*/ 2096933 h 2096933"/>
                <a:gd name="connsiteX1" fmla="*/ 2864 w 821012"/>
                <a:gd name="connsiteY1" fmla="*/ 1952554 h 2096933"/>
                <a:gd name="connsiteX2" fmla="*/ 92243 w 821012"/>
                <a:gd name="connsiteY2" fmla="*/ 1760048 h 2096933"/>
                <a:gd name="connsiteX3" fmla="*/ 99118 w 821012"/>
                <a:gd name="connsiteY3" fmla="*/ 1423164 h 2096933"/>
                <a:gd name="connsiteX4" fmla="*/ 546004 w 821012"/>
                <a:gd name="connsiteY4" fmla="*/ 818148 h 2096933"/>
                <a:gd name="connsiteX5" fmla="*/ 821012 w 821012"/>
                <a:gd name="connsiteY5" fmla="*/ 0 h 2096933"/>
                <a:gd name="connsiteX0" fmla="*/ 30365 w 821012"/>
                <a:gd name="connsiteY0" fmla="*/ 2096933 h 2096933"/>
                <a:gd name="connsiteX1" fmla="*/ 2864 w 821012"/>
                <a:gd name="connsiteY1" fmla="*/ 1952554 h 2096933"/>
                <a:gd name="connsiteX2" fmla="*/ 92243 w 821012"/>
                <a:gd name="connsiteY2" fmla="*/ 1760048 h 2096933"/>
                <a:gd name="connsiteX3" fmla="*/ 119744 w 821012"/>
                <a:gd name="connsiteY3" fmla="*/ 1395663 h 2096933"/>
                <a:gd name="connsiteX4" fmla="*/ 546004 w 821012"/>
                <a:gd name="connsiteY4" fmla="*/ 818148 h 2096933"/>
                <a:gd name="connsiteX5" fmla="*/ 821012 w 821012"/>
                <a:gd name="connsiteY5" fmla="*/ 0 h 2096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1012" h="2096933">
                  <a:moveTo>
                    <a:pt x="30365" y="2096933"/>
                  </a:moveTo>
                  <a:cubicBezTo>
                    <a:pt x="12031" y="2052817"/>
                    <a:pt x="-7449" y="2008701"/>
                    <a:pt x="2864" y="1952554"/>
                  </a:cubicBezTo>
                  <a:cubicBezTo>
                    <a:pt x="13177" y="1896407"/>
                    <a:pt x="72763" y="1852863"/>
                    <a:pt x="92243" y="1760048"/>
                  </a:cubicBezTo>
                  <a:cubicBezTo>
                    <a:pt x="111723" y="1667233"/>
                    <a:pt x="44117" y="1552646"/>
                    <a:pt x="119744" y="1395663"/>
                  </a:cubicBezTo>
                  <a:cubicBezTo>
                    <a:pt x="195371" y="1238680"/>
                    <a:pt x="429126" y="1050758"/>
                    <a:pt x="546004" y="818148"/>
                  </a:cubicBezTo>
                  <a:cubicBezTo>
                    <a:pt x="662882" y="585538"/>
                    <a:pt x="744239" y="289904"/>
                    <a:pt x="821012" y="0"/>
                  </a:cubicBezTo>
                </a:path>
              </a:pathLst>
            </a:custGeom>
            <a:noFill/>
            <a:ln w="38100">
              <a:solidFill>
                <a:srgbClr val="5FAE87"/>
              </a:solidFill>
              <a:headEnd type="none" w="med" len="med"/>
              <a:tailEnd type="oval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  <p:sp>
          <p:nvSpPr>
            <p:cNvPr id="46" name="Полилиния 45">
              <a:extLst>
                <a:ext uri="{FF2B5EF4-FFF2-40B4-BE49-F238E27FC236}">
                  <a16:creationId xmlns:a16="http://schemas.microsoft.com/office/drawing/2014/main" id="{AD3B8BFB-D2D9-3F43-8C00-165D68AF8B9F}"/>
                </a:ext>
              </a:extLst>
            </p:cNvPr>
            <p:cNvSpPr/>
            <p:nvPr/>
          </p:nvSpPr>
          <p:spPr>
            <a:xfrm>
              <a:off x="-345847" y="1852967"/>
              <a:ext cx="358346" cy="19082"/>
            </a:xfrm>
            <a:custGeom>
              <a:avLst/>
              <a:gdLst>
                <a:gd name="connsiteX0" fmla="*/ 0 w 358346"/>
                <a:gd name="connsiteY0" fmla="*/ 19082 h 19082"/>
                <a:gd name="connsiteX1" fmla="*/ 92676 w 358346"/>
                <a:gd name="connsiteY1" fmla="*/ 547 h 19082"/>
                <a:gd name="connsiteX2" fmla="*/ 358346 w 358346"/>
                <a:gd name="connsiteY2" fmla="*/ 6725 h 19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8346" h="19082">
                  <a:moveTo>
                    <a:pt x="0" y="19082"/>
                  </a:moveTo>
                  <a:cubicBezTo>
                    <a:pt x="16476" y="10844"/>
                    <a:pt x="32952" y="2606"/>
                    <a:pt x="92676" y="547"/>
                  </a:cubicBezTo>
                  <a:cubicBezTo>
                    <a:pt x="152400" y="-1512"/>
                    <a:pt x="255373" y="2606"/>
                    <a:pt x="358346" y="6725"/>
                  </a:cubicBezTo>
                </a:path>
              </a:pathLst>
            </a:custGeom>
            <a:noFill/>
            <a:ln w="38100">
              <a:solidFill>
                <a:srgbClr val="5FAE87"/>
              </a:solidFill>
              <a:headEnd type="none" w="med" len="med"/>
              <a:tailEnd type="oval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4540E84-F585-1E4A-9DB0-3E7DD461019F}"/>
              </a:ext>
            </a:extLst>
          </p:cNvPr>
          <p:cNvSpPr txBox="1"/>
          <p:nvPr/>
        </p:nvSpPr>
        <p:spPr>
          <a:xfrm>
            <a:off x="4725954" y="4551064"/>
            <a:ext cx="941342" cy="282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Раменское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0B97169-6AC3-5B48-B46E-118B48EB820D}"/>
              </a:ext>
            </a:extLst>
          </p:cNvPr>
          <p:cNvSpPr txBox="1"/>
          <p:nvPr/>
        </p:nvSpPr>
        <p:spPr>
          <a:xfrm>
            <a:off x="4695870" y="3325360"/>
            <a:ext cx="942887" cy="3564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75000"/>
              </a:lnSpc>
            </a:pPr>
            <a:r>
              <a:rPr lang="ru-RU" sz="1400" dirty="0">
                <a:latin typeface="+mj-lt"/>
              </a:rPr>
              <a:t>Железно-</a:t>
            </a:r>
          </a:p>
          <a:p>
            <a:pPr>
              <a:lnSpc>
                <a:spcPct val="75000"/>
              </a:lnSpc>
            </a:pPr>
            <a:r>
              <a:rPr lang="ru-RU" sz="1400" dirty="0">
                <a:latin typeface="+mj-lt"/>
              </a:rPr>
              <a:t>дорожная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3B02186-B0D8-9649-A9EE-040F361685C0}"/>
              </a:ext>
            </a:extLst>
          </p:cNvPr>
          <p:cNvSpPr txBox="1"/>
          <p:nvPr/>
        </p:nvSpPr>
        <p:spPr>
          <a:xfrm>
            <a:off x="4139551" y="1714515"/>
            <a:ext cx="856325" cy="2597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err="1">
                <a:latin typeface="+mj-lt"/>
              </a:rPr>
              <a:t>Болшево</a:t>
            </a:r>
            <a:endParaRPr lang="ru-RU" sz="1400" dirty="0">
              <a:latin typeface="+mj-lt"/>
            </a:endParaRPr>
          </a:p>
        </p:txBody>
      </p:sp>
      <p:sp>
        <p:nvSpPr>
          <p:cNvPr id="34" name="Полилиния 33">
            <a:extLst>
              <a:ext uri="{FF2B5EF4-FFF2-40B4-BE49-F238E27FC236}">
                <a16:creationId xmlns:a16="http://schemas.microsoft.com/office/drawing/2014/main" id="{36F155E2-2CEF-3148-BD34-B9D8EF73E157}"/>
              </a:ext>
            </a:extLst>
          </p:cNvPr>
          <p:cNvSpPr/>
          <p:nvPr/>
        </p:nvSpPr>
        <p:spPr>
          <a:xfrm>
            <a:off x="644321" y="2878927"/>
            <a:ext cx="4197553" cy="1936940"/>
          </a:xfrm>
          <a:custGeom>
            <a:avLst/>
            <a:gdLst>
              <a:gd name="connsiteX0" fmla="*/ 0 w 4454193"/>
              <a:gd name="connsiteY0" fmla="*/ 2110523 h 2110523"/>
              <a:gd name="connsiteX1" fmla="*/ 151465 w 4454193"/>
              <a:gd name="connsiteY1" fmla="*/ 2015156 h 2110523"/>
              <a:gd name="connsiteX2" fmla="*/ 230002 w 4454193"/>
              <a:gd name="connsiteY2" fmla="*/ 1858082 h 2110523"/>
              <a:gd name="connsiteX3" fmla="*/ 403906 w 4454193"/>
              <a:gd name="connsiteY3" fmla="*/ 1801983 h 2110523"/>
              <a:gd name="connsiteX4" fmla="*/ 460004 w 4454193"/>
              <a:gd name="connsiteY4" fmla="*/ 1717836 h 2110523"/>
              <a:gd name="connsiteX5" fmla="*/ 729276 w 4454193"/>
              <a:gd name="connsiteY5" fmla="*/ 1471004 h 2110523"/>
              <a:gd name="connsiteX6" fmla="*/ 835862 w 4454193"/>
              <a:gd name="connsiteY6" fmla="*/ 1313929 h 2110523"/>
              <a:gd name="connsiteX7" fmla="*/ 1138792 w 4454193"/>
              <a:gd name="connsiteY7" fmla="*/ 1274661 h 2110523"/>
              <a:gd name="connsiteX8" fmla="*/ 1284647 w 4454193"/>
              <a:gd name="connsiteY8" fmla="*/ 1269051 h 2110523"/>
              <a:gd name="connsiteX9" fmla="*/ 1363185 w 4454193"/>
              <a:gd name="connsiteY9" fmla="*/ 1207343 h 2110523"/>
              <a:gd name="connsiteX10" fmla="*/ 1514650 w 4454193"/>
              <a:gd name="connsiteY10" fmla="*/ 1201733 h 2110523"/>
              <a:gd name="connsiteX11" fmla="*/ 1739042 w 4454193"/>
              <a:gd name="connsiteY11" fmla="*/ 1078317 h 2110523"/>
              <a:gd name="connsiteX12" fmla="*/ 1963435 w 4454193"/>
              <a:gd name="connsiteY12" fmla="*/ 803436 h 2110523"/>
              <a:gd name="connsiteX13" fmla="*/ 2013923 w 4454193"/>
              <a:gd name="connsiteY13" fmla="*/ 764168 h 2110523"/>
              <a:gd name="connsiteX14" fmla="*/ 2036363 w 4454193"/>
              <a:gd name="connsiteY14" fmla="*/ 651971 h 2110523"/>
              <a:gd name="connsiteX15" fmla="*/ 2176608 w 4454193"/>
              <a:gd name="connsiteY15" fmla="*/ 545385 h 2110523"/>
              <a:gd name="connsiteX16" fmla="*/ 2210267 w 4454193"/>
              <a:gd name="connsiteY16" fmla="*/ 506116 h 2110523"/>
              <a:gd name="connsiteX17" fmla="*/ 2199047 w 4454193"/>
              <a:gd name="connsiteY17" fmla="*/ 416359 h 2110523"/>
              <a:gd name="connsiteX18" fmla="*/ 2221487 w 4454193"/>
              <a:gd name="connsiteY18" fmla="*/ 326602 h 2110523"/>
              <a:gd name="connsiteX19" fmla="*/ 2232706 w 4454193"/>
              <a:gd name="connsiteY19" fmla="*/ 259284 h 2110523"/>
              <a:gd name="connsiteX20" fmla="*/ 2266365 w 4454193"/>
              <a:gd name="connsiteY20" fmla="*/ 231235 h 2110523"/>
              <a:gd name="connsiteX21" fmla="*/ 2384171 w 4454193"/>
              <a:gd name="connsiteY21" fmla="*/ 214406 h 2110523"/>
              <a:gd name="connsiteX22" fmla="*/ 2440269 w 4454193"/>
              <a:gd name="connsiteY22" fmla="*/ 186356 h 2110523"/>
              <a:gd name="connsiteX23" fmla="*/ 2462709 w 4454193"/>
              <a:gd name="connsiteY23" fmla="*/ 158307 h 2110523"/>
              <a:gd name="connsiteX24" fmla="*/ 2479538 w 4454193"/>
              <a:gd name="connsiteY24" fmla="*/ 68550 h 2110523"/>
              <a:gd name="connsiteX25" fmla="*/ 2490758 w 4454193"/>
              <a:gd name="connsiteY25" fmla="*/ 23672 h 2110523"/>
              <a:gd name="connsiteX26" fmla="*/ 2546856 w 4454193"/>
              <a:gd name="connsiteY26" fmla="*/ 6842 h 2110523"/>
              <a:gd name="connsiteX27" fmla="*/ 2636613 w 4454193"/>
              <a:gd name="connsiteY27" fmla="*/ 1233 h 2110523"/>
              <a:gd name="connsiteX28" fmla="*/ 2687101 w 4454193"/>
              <a:gd name="connsiteY28" fmla="*/ 29282 h 2110523"/>
              <a:gd name="connsiteX29" fmla="*/ 2743200 w 4454193"/>
              <a:gd name="connsiteY29" fmla="*/ 163917 h 2110523"/>
              <a:gd name="connsiteX30" fmla="*/ 2782468 w 4454193"/>
              <a:gd name="connsiteY30" fmla="*/ 309772 h 2110523"/>
              <a:gd name="connsiteX31" fmla="*/ 2788078 w 4454193"/>
              <a:gd name="connsiteY31" fmla="*/ 377090 h 2110523"/>
              <a:gd name="connsiteX32" fmla="*/ 2816127 w 4454193"/>
              <a:gd name="connsiteY32" fmla="*/ 405139 h 2110523"/>
              <a:gd name="connsiteX33" fmla="*/ 2922714 w 4454193"/>
              <a:gd name="connsiteY33" fmla="*/ 461237 h 2110523"/>
              <a:gd name="connsiteX34" fmla="*/ 2956373 w 4454193"/>
              <a:gd name="connsiteY34" fmla="*/ 517336 h 2110523"/>
              <a:gd name="connsiteX35" fmla="*/ 3135887 w 4454193"/>
              <a:gd name="connsiteY35" fmla="*/ 562214 h 2110523"/>
              <a:gd name="connsiteX36" fmla="*/ 3276132 w 4454193"/>
              <a:gd name="connsiteY36" fmla="*/ 556604 h 2110523"/>
              <a:gd name="connsiteX37" fmla="*/ 3876382 w 4454193"/>
              <a:gd name="connsiteY37" fmla="*/ 337822 h 2110523"/>
              <a:gd name="connsiteX38" fmla="*/ 4156873 w 4454193"/>
              <a:gd name="connsiteY38" fmla="*/ 382700 h 2110523"/>
              <a:gd name="connsiteX39" fmla="*/ 4454193 w 4454193"/>
              <a:gd name="connsiteY39" fmla="*/ 393920 h 2110523"/>
              <a:gd name="connsiteX0" fmla="*/ 0 w 4454193"/>
              <a:gd name="connsiteY0" fmla="*/ 2110523 h 2110523"/>
              <a:gd name="connsiteX1" fmla="*/ 151465 w 4454193"/>
              <a:gd name="connsiteY1" fmla="*/ 2015156 h 2110523"/>
              <a:gd name="connsiteX2" fmla="*/ 230002 w 4454193"/>
              <a:gd name="connsiteY2" fmla="*/ 1858082 h 2110523"/>
              <a:gd name="connsiteX3" fmla="*/ 403906 w 4454193"/>
              <a:gd name="connsiteY3" fmla="*/ 1801983 h 2110523"/>
              <a:gd name="connsiteX4" fmla="*/ 460004 w 4454193"/>
              <a:gd name="connsiteY4" fmla="*/ 1717836 h 2110523"/>
              <a:gd name="connsiteX5" fmla="*/ 729276 w 4454193"/>
              <a:gd name="connsiteY5" fmla="*/ 1471004 h 2110523"/>
              <a:gd name="connsiteX6" fmla="*/ 835862 w 4454193"/>
              <a:gd name="connsiteY6" fmla="*/ 1313929 h 2110523"/>
              <a:gd name="connsiteX7" fmla="*/ 1138792 w 4454193"/>
              <a:gd name="connsiteY7" fmla="*/ 1274661 h 2110523"/>
              <a:gd name="connsiteX8" fmla="*/ 1284647 w 4454193"/>
              <a:gd name="connsiteY8" fmla="*/ 1269051 h 2110523"/>
              <a:gd name="connsiteX9" fmla="*/ 1363185 w 4454193"/>
              <a:gd name="connsiteY9" fmla="*/ 1207343 h 2110523"/>
              <a:gd name="connsiteX10" fmla="*/ 1514650 w 4454193"/>
              <a:gd name="connsiteY10" fmla="*/ 1201733 h 2110523"/>
              <a:gd name="connsiteX11" fmla="*/ 1739042 w 4454193"/>
              <a:gd name="connsiteY11" fmla="*/ 1078317 h 2110523"/>
              <a:gd name="connsiteX12" fmla="*/ 1963435 w 4454193"/>
              <a:gd name="connsiteY12" fmla="*/ 803436 h 2110523"/>
              <a:gd name="connsiteX13" fmla="*/ 2013923 w 4454193"/>
              <a:gd name="connsiteY13" fmla="*/ 764168 h 2110523"/>
              <a:gd name="connsiteX14" fmla="*/ 2036363 w 4454193"/>
              <a:gd name="connsiteY14" fmla="*/ 651971 h 2110523"/>
              <a:gd name="connsiteX15" fmla="*/ 2176608 w 4454193"/>
              <a:gd name="connsiteY15" fmla="*/ 545385 h 2110523"/>
              <a:gd name="connsiteX16" fmla="*/ 2210267 w 4454193"/>
              <a:gd name="connsiteY16" fmla="*/ 506116 h 2110523"/>
              <a:gd name="connsiteX17" fmla="*/ 2199047 w 4454193"/>
              <a:gd name="connsiteY17" fmla="*/ 416359 h 2110523"/>
              <a:gd name="connsiteX18" fmla="*/ 2221487 w 4454193"/>
              <a:gd name="connsiteY18" fmla="*/ 326602 h 2110523"/>
              <a:gd name="connsiteX19" fmla="*/ 2232706 w 4454193"/>
              <a:gd name="connsiteY19" fmla="*/ 259284 h 2110523"/>
              <a:gd name="connsiteX20" fmla="*/ 2266365 w 4454193"/>
              <a:gd name="connsiteY20" fmla="*/ 231235 h 2110523"/>
              <a:gd name="connsiteX21" fmla="*/ 2384171 w 4454193"/>
              <a:gd name="connsiteY21" fmla="*/ 214406 h 2110523"/>
              <a:gd name="connsiteX22" fmla="*/ 2440269 w 4454193"/>
              <a:gd name="connsiteY22" fmla="*/ 186356 h 2110523"/>
              <a:gd name="connsiteX23" fmla="*/ 2462709 w 4454193"/>
              <a:gd name="connsiteY23" fmla="*/ 158307 h 2110523"/>
              <a:gd name="connsiteX24" fmla="*/ 2479538 w 4454193"/>
              <a:gd name="connsiteY24" fmla="*/ 68550 h 2110523"/>
              <a:gd name="connsiteX25" fmla="*/ 2490758 w 4454193"/>
              <a:gd name="connsiteY25" fmla="*/ 23672 h 2110523"/>
              <a:gd name="connsiteX26" fmla="*/ 2546856 w 4454193"/>
              <a:gd name="connsiteY26" fmla="*/ 6842 h 2110523"/>
              <a:gd name="connsiteX27" fmla="*/ 2636613 w 4454193"/>
              <a:gd name="connsiteY27" fmla="*/ 1233 h 2110523"/>
              <a:gd name="connsiteX28" fmla="*/ 2687101 w 4454193"/>
              <a:gd name="connsiteY28" fmla="*/ 29282 h 2110523"/>
              <a:gd name="connsiteX29" fmla="*/ 2743200 w 4454193"/>
              <a:gd name="connsiteY29" fmla="*/ 163917 h 2110523"/>
              <a:gd name="connsiteX30" fmla="*/ 2782468 w 4454193"/>
              <a:gd name="connsiteY30" fmla="*/ 309772 h 2110523"/>
              <a:gd name="connsiteX31" fmla="*/ 2788078 w 4454193"/>
              <a:gd name="connsiteY31" fmla="*/ 377090 h 2110523"/>
              <a:gd name="connsiteX32" fmla="*/ 2816127 w 4454193"/>
              <a:gd name="connsiteY32" fmla="*/ 405139 h 2110523"/>
              <a:gd name="connsiteX33" fmla="*/ 2922714 w 4454193"/>
              <a:gd name="connsiteY33" fmla="*/ 461237 h 2110523"/>
              <a:gd name="connsiteX34" fmla="*/ 2956373 w 4454193"/>
              <a:gd name="connsiteY34" fmla="*/ 517336 h 2110523"/>
              <a:gd name="connsiteX35" fmla="*/ 3135887 w 4454193"/>
              <a:gd name="connsiteY35" fmla="*/ 562214 h 2110523"/>
              <a:gd name="connsiteX36" fmla="*/ 3276132 w 4454193"/>
              <a:gd name="connsiteY36" fmla="*/ 556604 h 2110523"/>
              <a:gd name="connsiteX37" fmla="*/ 3876382 w 4454193"/>
              <a:gd name="connsiteY37" fmla="*/ 337822 h 2110523"/>
              <a:gd name="connsiteX38" fmla="*/ 4050334 w 4454193"/>
              <a:gd name="connsiteY38" fmla="*/ 374523 h 2110523"/>
              <a:gd name="connsiteX39" fmla="*/ 4156873 w 4454193"/>
              <a:gd name="connsiteY39" fmla="*/ 382700 h 2110523"/>
              <a:gd name="connsiteX40" fmla="*/ 4454193 w 4454193"/>
              <a:gd name="connsiteY40" fmla="*/ 393920 h 2110523"/>
              <a:gd name="connsiteX0" fmla="*/ 0 w 4438695"/>
              <a:gd name="connsiteY0" fmla="*/ 2110523 h 2110523"/>
              <a:gd name="connsiteX1" fmla="*/ 151465 w 4438695"/>
              <a:gd name="connsiteY1" fmla="*/ 2015156 h 2110523"/>
              <a:gd name="connsiteX2" fmla="*/ 230002 w 4438695"/>
              <a:gd name="connsiteY2" fmla="*/ 1858082 h 2110523"/>
              <a:gd name="connsiteX3" fmla="*/ 403906 w 4438695"/>
              <a:gd name="connsiteY3" fmla="*/ 1801983 h 2110523"/>
              <a:gd name="connsiteX4" fmla="*/ 460004 w 4438695"/>
              <a:gd name="connsiteY4" fmla="*/ 1717836 h 2110523"/>
              <a:gd name="connsiteX5" fmla="*/ 729276 w 4438695"/>
              <a:gd name="connsiteY5" fmla="*/ 1471004 h 2110523"/>
              <a:gd name="connsiteX6" fmla="*/ 835862 w 4438695"/>
              <a:gd name="connsiteY6" fmla="*/ 1313929 h 2110523"/>
              <a:gd name="connsiteX7" fmla="*/ 1138792 w 4438695"/>
              <a:gd name="connsiteY7" fmla="*/ 1274661 h 2110523"/>
              <a:gd name="connsiteX8" fmla="*/ 1284647 w 4438695"/>
              <a:gd name="connsiteY8" fmla="*/ 1269051 h 2110523"/>
              <a:gd name="connsiteX9" fmla="*/ 1363185 w 4438695"/>
              <a:gd name="connsiteY9" fmla="*/ 1207343 h 2110523"/>
              <a:gd name="connsiteX10" fmla="*/ 1514650 w 4438695"/>
              <a:gd name="connsiteY10" fmla="*/ 1201733 h 2110523"/>
              <a:gd name="connsiteX11" fmla="*/ 1739042 w 4438695"/>
              <a:gd name="connsiteY11" fmla="*/ 1078317 h 2110523"/>
              <a:gd name="connsiteX12" fmla="*/ 1963435 w 4438695"/>
              <a:gd name="connsiteY12" fmla="*/ 803436 h 2110523"/>
              <a:gd name="connsiteX13" fmla="*/ 2013923 w 4438695"/>
              <a:gd name="connsiteY13" fmla="*/ 764168 h 2110523"/>
              <a:gd name="connsiteX14" fmla="*/ 2036363 w 4438695"/>
              <a:gd name="connsiteY14" fmla="*/ 651971 h 2110523"/>
              <a:gd name="connsiteX15" fmla="*/ 2176608 w 4438695"/>
              <a:gd name="connsiteY15" fmla="*/ 545385 h 2110523"/>
              <a:gd name="connsiteX16" fmla="*/ 2210267 w 4438695"/>
              <a:gd name="connsiteY16" fmla="*/ 506116 h 2110523"/>
              <a:gd name="connsiteX17" fmla="*/ 2199047 w 4438695"/>
              <a:gd name="connsiteY17" fmla="*/ 416359 h 2110523"/>
              <a:gd name="connsiteX18" fmla="*/ 2221487 w 4438695"/>
              <a:gd name="connsiteY18" fmla="*/ 326602 h 2110523"/>
              <a:gd name="connsiteX19" fmla="*/ 2232706 w 4438695"/>
              <a:gd name="connsiteY19" fmla="*/ 259284 h 2110523"/>
              <a:gd name="connsiteX20" fmla="*/ 2266365 w 4438695"/>
              <a:gd name="connsiteY20" fmla="*/ 231235 h 2110523"/>
              <a:gd name="connsiteX21" fmla="*/ 2384171 w 4438695"/>
              <a:gd name="connsiteY21" fmla="*/ 214406 h 2110523"/>
              <a:gd name="connsiteX22" fmla="*/ 2440269 w 4438695"/>
              <a:gd name="connsiteY22" fmla="*/ 186356 h 2110523"/>
              <a:gd name="connsiteX23" fmla="*/ 2462709 w 4438695"/>
              <a:gd name="connsiteY23" fmla="*/ 158307 h 2110523"/>
              <a:gd name="connsiteX24" fmla="*/ 2479538 w 4438695"/>
              <a:gd name="connsiteY24" fmla="*/ 68550 h 2110523"/>
              <a:gd name="connsiteX25" fmla="*/ 2490758 w 4438695"/>
              <a:gd name="connsiteY25" fmla="*/ 23672 h 2110523"/>
              <a:gd name="connsiteX26" fmla="*/ 2546856 w 4438695"/>
              <a:gd name="connsiteY26" fmla="*/ 6842 h 2110523"/>
              <a:gd name="connsiteX27" fmla="*/ 2636613 w 4438695"/>
              <a:gd name="connsiteY27" fmla="*/ 1233 h 2110523"/>
              <a:gd name="connsiteX28" fmla="*/ 2687101 w 4438695"/>
              <a:gd name="connsiteY28" fmla="*/ 29282 h 2110523"/>
              <a:gd name="connsiteX29" fmla="*/ 2743200 w 4438695"/>
              <a:gd name="connsiteY29" fmla="*/ 163917 h 2110523"/>
              <a:gd name="connsiteX30" fmla="*/ 2782468 w 4438695"/>
              <a:gd name="connsiteY30" fmla="*/ 309772 h 2110523"/>
              <a:gd name="connsiteX31" fmla="*/ 2788078 w 4438695"/>
              <a:gd name="connsiteY31" fmla="*/ 377090 h 2110523"/>
              <a:gd name="connsiteX32" fmla="*/ 2816127 w 4438695"/>
              <a:gd name="connsiteY32" fmla="*/ 405139 h 2110523"/>
              <a:gd name="connsiteX33" fmla="*/ 2922714 w 4438695"/>
              <a:gd name="connsiteY33" fmla="*/ 461237 h 2110523"/>
              <a:gd name="connsiteX34" fmla="*/ 2956373 w 4438695"/>
              <a:gd name="connsiteY34" fmla="*/ 517336 h 2110523"/>
              <a:gd name="connsiteX35" fmla="*/ 3135887 w 4438695"/>
              <a:gd name="connsiteY35" fmla="*/ 562214 h 2110523"/>
              <a:gd name="connsiteX36" fmla="*/ 3276132 w 4438695"/>
              <a:gd name="connsiteY36" fmla="*/ 556604 h 2110523"/>
              <a:gd name="connsiteX37" fmla="*/ 3876382 w 4438695"/>
              <a:gd name="connsiteY37" fmla="*/ 337822 h 2110523"/>
              <a:gd name="connsiteX38" fmla="*/ 4050334 w 4438695"/>
              <a:gd name="connsiteY38" fmla="*/ 374523 h 2110523"/>
              <a:gd name="connsiteX39" fmla="*/ 4156873 w 4438695"/>
              <a:gd name="connsiteY39" fmla="*/ 382700 h 2110523"/>
              <a:gd name="connsiteX40" fmla="*/ 4438695 w 4438695"/>
              <a:gd name="connsiteY40" fmla="*/ 324178 h 2110523"/>
              <a:gd name="connsiteX0" fmla="*/ 0 w 4438695"/>
              <a:gd name="connsiteY0" fmla="*/ 2110523 h 2110523"/>
              <a:gd name="connsiteX1" fmla="*/ 151465 w 4438695"/>
              <a:gd name="connsiteY1" fmla="*/ 2015156 h 2110523"/>
              <a:gd name="connsiteX2" fmla="*/ 230002 w 4438695"/>
              <a:gd name="connsiteY2" fmla="*/ 1858082 h 2110523"/>
              <a:gd name="connsiteX3" fmla="*/ 403906 w 4438695"/>
              <a:gd name="connsiteY3" fmla="*/ 1801983 h 2110523"/>
              <a:gd name="connsiteX4" fmla="*/ 460004 w 4438695"/>
              <a:gd name="connsiteY4" fmla="*/ 1717836 h 2110523"/>
              <a:gd name="connsiteX5" fmla="*/ 729276 w 4438695"/>
              <a:gd name="connsiteY5" fmla="*/ 1471004 h 2110523"/>
              <a:gd name="connsiteX6" fmla="*/ 835862 w 4438695"/>
              <a:gd name="connsiteY6" fmla="*/ 1313929 h 2110523"/>
              <a:gd name="connsiteX7" fmla="*/ 1138792 w 4438695"/>
              <a:gd name="connsiteY7" fmla="*/ 1274661 h 2110523"/>
              <a:gd name="connsiteX8" fmla="*/ 1284647 w 4438695"/>
              <a:gd name="connsiteY8" fmla="*/ 1269051 h 2110523"/>
              <a:gd name="connsiteX9" fmla="*/ 1363185 w 4438695"/>
              <a:gd name="connsiteY9" fmla="*/ 1207343 h 2110523"/>
              <a:gd name="connsiteX10" fmla="*/ 1514650 w 4438695"/>
              <a:gd name="connsiteY10" fmla="*/ 1201733 h 2110523"/>
              <a:gd name="connsiteX11" fmla="*/ 1739042 w 4438695"/>
              <a:gd name="connsiteY11" fmla="*/ 1078317 h 2110523"/>
              <a:gd name="connsiteX12" fmla="*/ 1963435 w 4438695"/>
              <a:gd name="connsiteY12" fmla="*/ 803436 h 2110523"/>
              <a:gd name="connsiteX13" fmla="*/ 2013923 w 4438695"/>
              <a:gd name="connsiteY13" fmla="*/ 764168 h 2110523"/>
              <a:gd name="connsiteX14" fmla="*/ 2036363 w 4438695"/>
              <a:gd name="connsiteY14" fmla="*/ 651971 h 2110523"/>
              <a:gd name="connsiteX15" fmla="*/ 2176608 w 4438695"/>
              <a:gd name="connsiteY15" fmla="*/ 545385 h 2110523"/>
              <a:gd name="connsiteX16" fmla="*/ 2210267 w 4438695"/>
              <a:gd name="connsiteY16" fmla="*/ 506116 h 2110523"/>
              <a:gd name="connsiteX17" fmla="*/ 2199047 w 4438695"/>
              <a:gd name="connsiteY17" fmla="*/ 416359 h 2110523"/>
              <a:gd name="connsiteX18" fmla="*/ 2221487 w 4438695"/>
              <a:gd name="connsiteY18" fmla="*/ 326602 h 2110523"/>
              <a:gd name="connsiteX19" fmla="*/ 2232706 w 4438695"/>
              <a:gd name="connsiteY19" fmla="*/ 259284 h 2110523"/>
              <a:gd name="connsiteX20" fmla="*/ 2266365 w 4438695"/>
              <a:gd name="connsiteY20" fmla="*/ 231235 h 2110523"/>
              <a:gd name="connsiteX21" fmla="*/ 2384171 w 4438695"/>
              <a:gd name="connsiteY21" fmla="*/ 214406 h 2110523"/>
              <a:gd name="connsiteX22" fmla="*/ 2440269 w 4438695"/>
              <a:gd name="connsiteY22" fmla="*/ 186356 h 2110523"/>
              <a:gd name="connsiteX23" fmla="*/ 2462709 w 4438695"/>
              <a:gd name="connsiteY23" fmla="*/ 158307 h 2110523"/>
              <a:gd name="connsiteX24" fmla="*/ 2479538 w 4438695"/>
              <a:gd name="connsiteY24" fmla="*/ 68550 h 2110523"/>
              <a:gd name="connsiteX25" fmla="*/ 2490758 w 4438695"/>
              <a:gd name="connsiteY25" fmla="*/ 23672 h 2110523"/>
              <a:gd name="connsiteX26" fmla="*/ 2546856 w 4438695"/>
              <a:gd name="connsiteY26" fmla="*/ 6842 h 2110523"/>
              <a:gd name="connsiteX27" fmla="*/ 2636613 w 4438695"/>
              <a:gd name="connsiteY27" fmla="*/ 1233 h 2110523"/>
              <a:gd name="connsiteX28" fmla="*/ 2687101 w 4438695"/>
              <a:gd name="connsiteY28" fmla="*/ 29282 h 2110523"/>
              <a:gd name="connsiteX29" fmla="*/ 2743200 w 4438695"/>
              <a:gd name="connsiteY29" fmla="*/ 163917 h 2110523"/>
              <a:gd name="connsiteX30" fmla="*/ 2782468 w 4438695"/>
              <a:gd name="connsiteY30" fmla="*/ 309772 h 2110523"/>
              <a:gd name="connsiteX31" fmla="*/ 2788078 w 4438695"/>
              <a:gd name="connsiteY31" fmla="*/ 377090 h 2110523"/>
              <a:gd name="connsiteX32" fmla="*/ 2816127 w 4438695"/>
              <a:gd name="connsiteY32" fmla="*/ 405139 h 2110523"/>
              <a:gd name="connsiteX33" fmla="*/ 2922714 w 4438695"/>
              <a:gd name="connsiteY33" fmla="*/ 461237 h 2110523"/>
              <a:gd name="connsiteX34" fmla="*/ 2956373 w 4438695"/>
              <a:gd name="connsiteY34" fmla="*/ 517336 h 2110523"/>
              <a:gd name="connsiteX35" fmla="*/ 3135887 w 4438695"/>
              <a:gd name="connsiteY35" fmla="*/ 562214 h 2110523"/>
              <a:gd name="connsiteX36" fmla="*/ 3276132 w 4438695"/>
              <a:gd name="connsiteY36" fmla="*/ 556604 h 2110523"/>
              <a:gd name="connsiteX37" fmla="*/ 3876382 w 4438695"/>
              <a:gd name="connsiteY37" fmla="*/ 337822 h 2110523"/>
              <a:gd name="connsiteX38" fmla="*/ 4050334 w 4438695"/>
              <a:gd name="connsiteY38" fmla="*/ 374523 h 2110523"/>
              <a:gd name="connsiteX39" fmla="*/ 4156873 w 4438695"/>
              <a:gd name="connsiteY39" fmla="*/ 382700 h 2110523"/>
              <a:gd name="connsiteX40" fmla="*/ 4368049 w 4438695"/>
              <a:gd name="connsiteY40" fmla="*/ 374523 h 2110523"/>
              <a:gd name="connsiteX41" fmla="*/ 4438695 w 4438695"/>
              <a:gd name="connsiteY41" fmla="*/ 324178 h 2110523"/>
              <a:gd name="connsiteX0" fmla="*/ 0 w 4430946"/>
              <a:gd name="connsiteY0" fmla="*/ 2110523 h 2110523"/>
              <a:gd name="connsiteX1" fmla="*/ 151465 w 4430946"/>
              <a:gd name="connsiteY1" fmla="*/ 2015156 h 2110523"/>
              <a:gd name="connsiteX2" fmla="*/ 230002 w 4430946"/>
              <a:gd name="connsiteY2" fmla="*/ 1858082 h 2110523"/>
              <a:gd name="connsiteX3" fmla="*/ 403906 w 4430946"/>
              <a:gd name="connsiteY3" fmla="*/ 1801983 h 2110523"/>
              <a:gd name="connsiteX4" fmla="*/ 460004 w 4430946"/>
              <a:gd name="connsiteY4" fmla="*/ 1717836 h 2110523"/>
              <a:gd name="connsiteX5" fmla="*/ 729276 w 4430946"/>
              <a:gd name="connsiteY5" fmla="*/ 1471004 h 2110523"/>
              <a:gd name="connsiteX6" fmla="*/ 835862 w 4430946"/>
              <a:gd name="connsiteY6" fmla="*/ 1313929 h 2110523"/>
              <a:gd name="connsiteX7" fmla="*/ 1138792 w 4430946"/>
              <a:gd name="connsiteY7" fmla="*/ 1274661 h 2110523"/>
              <a:gd name="connsiteX8" fmla="*/ 1284647 w 4430946"/>
              <a:gd name="connsiteY8" fmla="*/ 1269051 h 2110523"/>
              <a:gd name="connsiteX9" fmla="*/ 1363185 w 4430946"/>
              <a:gd name="connsiteY9" fmla="*/ 1207343 h 2110523"/>
              <a:gd name="connsiteX10" fmla="*/ 1514650 w 4430946"/>
              <a:gd name="connsiteY10" fmla="*/ 1201733 h 2110523"/>
              <a:gd name="connsiteX11" fmla="*/ 1739042 w 4430946"/>
              <a:gd name="connsiteY11" fmla="*/ 1078317 h 2110523"/>
              <a:gd name="connsiteX12" fmla="*/ 1963435 w 4430946"/>
              <a:gd name="connsiteY12" fmla="*/ 803436 h 2110523"/>
              <a:gd name="connsiteX13" fmla="*/ 2013923 w 4430946"/>
              <a:gd name="connsiteY13" fmla="*/ 764168 h 2110523"/>
              <a:gd name="connsiteX14" fmla="*/ 2036363 w 4430946"/>
              <a:gd name="connsiteY14" fmla="*/ 651971 h 2110523"/>
              <a:gd name="connsiteX15" fmla="*/ 2176608 w 4430946"/>
              <a:gd name="connsiteY15" fmla="*/ 545385 h 2110523"/>
              <a:gd name="connsiteX16" fmla="*/ 2210267 w 4430946"/>
              <a:gd name="connsiteY16" fmla="*/ 506116 h 2110523"/>
              <a:gd name="connsiteX17" fmla="*/ 2199047 w 4430946"/>
              <a:gd name="connsiteY17" fmla="*/ 416359 h 2110523"/>
              <a:gd name="connsiteX18" fmla="*/ 2221487 w 4430946"/>
              <a:gd name="connsiteY18" fmla="*/ 326602 h 2110523"/>
              <a:gd name="connsiteX19" fmla="*/ 2232706 w 4430946"/>
              <a:gd name="connsiteY19" fmla="*/ 259284 h 2110523"/>
              <a:gd name="connsiteX20" fmla="*/ 2266365 w 4430946"/>
              <a:gd name="connsiteY20" fmla="*/ 231235 h 2110523"/>
              <a:gd name="connsiteX21" fmla="*/ 2384171 w 4430946"/>
              <a:gd name="connsiteY21" fmla="*/ 214406 h 2110523"/>
              <a:gd name="connsiteX22" fmla="*/ 2440269 w 4430946"/>
              <a:gd name="connsiteY22" fmla="*/ 186356 h 2110523"/>
              <a:gd name="connsiteX23" fmla="*/ 2462709 w 4430946"/>
              <a:gd name="connsiteY23" fmla="*/ 158307 h 2110523"/>
              <a:gd name="connsiteX24" fmla="*/ 2479538 w 4430946"/>
              <a:gd name="connsiteY24" fmla="*/ 68550 h 2110523"/>
              <a:gd name="connsiteX25" fmla="*/ 2490758 w 4430946"/>
              <a:gd name="connsiteY25" fmla="*/ 23672 h 2110523"/>
              <a:gd name="connsiteX26" fmla="*/ 2546856 w 4430946"/>
              <a:gd name="connsiteY26" fmla="*/ 6842 h 2110523"/>
              <a:gd name="connsiteX27" fmla="*/ 2636613 w 4430946"/>
              <a:gd name="connsiteY27" fmla="*/ 1233 h 2110523"/>
              <a:gd name="connsiteX28" fmla="*/ 2687101 w 4430946"/>
              <a:gd name="connsiteY28" fmla="*/ 29282 h 2110523"/>
              <a:gd name="connsiteX29" fmla="*/ 2743200 w 4430946"/>
              <a:gd name="connsiteY29" fmla="*/ 163917 h 2110523"/>
              <a:gd name="connsiteX30" fmla="*/ 2782468 w 4430946"/>
              <a:gd name="connsiteY30" fmla="*/ 309772 h 2110523"/>
              <a:gd name="connsiteX31" fmla="*/ 2788078 w 4430946"/>
              <a:gd name="connsiteY31" fmla="*/ 377090 h 2110523"/>
              <a:gd name="connsiteX32" fmla="*/ 2816127 w 4430946"/>
              <a:gd name="connsiteY32" fmla="*/ 405139 h 2110523"/>
              <a:gd name="connsiteX33" fmla="*/ 2922714 w 4430946"/>
              <a:gd name="connsiteY33" fmla="*/ 461237 h 2110523"/>
              <a:gd name="connsiteX34" fmla="*/ 2956373 w 4430946"/>
              <a:gd name="connsiteY34" fmla="*/ 517336 h 2110523"/>
              <a:gd name="connsiteX35" fmla="*/ 3135887 w 4430946"/>
              <a:gd name="connsiteY35" fmla="*/ 562214 h 2110523"/>
              <a:gd name="connsiteX36" fmla="*/ 3276132 w 4430946"/>
              <a:gd name="connsiteY36" fmla="*/ 556604 h 2110523"/>
              <a:gd name="connsiteX37" fmla="*/ 3876382 w 4430946"/>
              <a:gd name="connsiteY37" fmla="*/ 337822 h 2110523"/>
              <a:gd name="connsiteX38" fmla="*/ 4050334 w 4430946"/>
              <a:gd name="connsiteY38" fmla="*/ 374523 h 2110523"/>
              <a:gd name="connsiteX39" fmla="*/ 4156873 w 4430946"/>
              <a:gd name="connsiteY39" fmla="*/ 382700 h 2110523"/>
              <a:gd name="connsiteX40" fmla="*/ 4368049 w 4430946"/>
              <a:gd name="connsiteY40" fmla="*/ 374523 h 2110523"/>
              <a:gd name="connsiteX41" fmla="*/ 4430946 w 4430946"/>
              <a:gd name="connsiteY41" fmla="*/ 362924 h 2110523"/>
              <a:gd name="connsiteX0" fmla="*/ 0 w 4444645"/>
              <a:gd name="connsiteY0" fmla="*/ 2110523 h 2110523"/>
              <a:gd name="connsiteX1" fmla="*/ 151465 w 4444645"/>
              <a:gd name="connsiteY1" fmla="*/ 2015156 h 2110523"/>
              <a:gd name="connsiteX2" fmla="*/ 230002 w 4444645"/>
              <a:gd name="connsiteY2" fmla="*/ 1858082 h 2110523"/>
              <a:gd name="connsiteX3" fmla="*/ 403906 w 4444645"/>
              <a:gd name="connsiteY3" fmla="*/ 1801983 h 2110523"/>
              <a:gd name="connsiteX4" fmla="*/ 460004 w 4444645"/>
              <a:gd name="connsiteY4" fmla="*/ 1717836 h 2110523"/>
              <a:gd name="connsiteX5" fmla="*/ 729276 w 4444645"/>
              <a:gd name="connsiteY5" fmla="*/ 1471004 h 2110523"/>
              <a:gd name="connsiteX6" fmla="*/ 835862 w 4444645"/>
              <a:gd name="connsiteY6" fmla="*/ 1313929 h 2110523"/>
              <a:gd name="connsiteX7" fmla="*/ 1138792 w 4444645"/>
              <a:gd name="connsiteY7" fmla="*/ 1274661 h 2110523"/>
              <a:gd name="connsiteX8" fmla="*/ 1284647 w 4444645"/>
              <a:gd name="connsiteY8" fmla="*/ 1269051 h 2110523"/>
              <a:gd name="connsiteX9" fmla="*/ 1363185 w 4444645"/>
              <a:gd name="connsiteY9" fmla="*/ 1207343 h 2110523"/>
              <a:gd name="connsiteX10" fmla="*/ 1514650 w 4444645"/>
              <a:gd name="connsiteY10" fmla="*/ 1201733 h 2110523"/>
              <a:gd name="connsiteX11" fmla="*/ 1739042 w 4444645"/>
              <a:gd name="connsiteY11" fmla="*/ 1078317 h 2110523"/>
              <a:gd name="connsiteX12" fmla="*/ 1963435 w 4444645"/>
              <a:gd name="connsiteY12" fmla="*/ 803436 h 2110523"/>
              <a:gd name="connsiteX13" fmla="*/ 2013923 w 4444645"/>
              <a:gd name="connsiteY13" fmla="*/ 764168 h 2110523"/>
              <a:gd name="connsiteX14" fmla="*/ 2036363 w 4444645"/>
              <a:gd name="connsiteY14" fmla="*/ 651971 h 2110523"/>
              <a:gd name="connsiteX15" fmla="*/ 2176608 w 4444645"/>
              <a:gd name="connsiteY15" fmla="*/ 545385 h 2110523"/>
              <a:gd name="connsiteX16" fmla="*/ 2210267 w 4444645"/>
              <a:gd name="connsiteY16" fmla="*/ 506116 h 2110523"/>
              <a:gd name="connsiteX17" fmla="*/ 2199047 w 4444645"/>
              <a:gd name="connsiteY17" fmla="*/ 416359 h 2110523"/>
              <a:gd name="connsiteX18" fmla="*/ 2221487 w 4444645"/>
              <a:gd name="connsiteY18" fmla="*/ 326602 h 2110523"/>
              <a:gd name="connsiteX19" fmla="*/ 2232706 w 4444645"/>
              <a:gd name="connsiteY19" fmla="*/ 259284 h 2110523"/>
              <a:gd name="connsiteX20" fmla="*/ 2266365 w 4444645"/>
              <a:gd name="connsiteY20" fmla="*/ 231235 h 2110523"/>
              <a:gd name="connsiteX21" fmla="*/ 2384171 w 4444645"/>
              <a:gd name="connsiteY21" fmla="*/ 214406 h 2110523"/>
              <a:gd name="connsiteX22" fmla="*/ 2440269 w 4444645"/>
              <a:gd name="connsiteY22" fmla="*/ 186356 h 2110523"/>
              <a:gd name="connsiteX23" fmla="*/ 2462709 w 4444645"/>
              <a:gd name="connsiteY23" fmla="*/ 158307 h 2110523"/>
              <a:gd name="connsiteX24" fmla="*/ 2479538 w 4444645"/>
              <a:gd name="connsiteY24" fmla="*/ 68550 h 2110523"/>
              <a:gd name="connsiteX25" fmla="*/ 2490758 w 4444645"/>
              <a:gd name="connsiteY25" fmla="*/ 23672 h 2110523"/>
              <a:gd name="connsiteX26" fmla="*/ 2546856 w 4444645"/>
              <a:gd name="connsiteY26" fmla="*/ 6842 h 2110523"/>
              <a:gd name="connsiteX27" fmla="*/ 2636613 w 4444645"/>
              <a:gd name="connsiteY27" fmla="*/ 1233 h 2110523"/>
              <a:gd name="connsiteX28" fmla="*/ 2687101 w 4444645"/>
              <a:gd name="connsiteY28" fmla="*/ 29282 h 2110523"/>
              <a:gd name="connsiteX29" fmla="*/ 2743200 w 4444645"/>
              <a:gd name="connsiteY29" fmla="*/ 163917 h 2110523"/>
              <a:gd name="connsiteX30" fmla="*/ 2782468 w 4444645"/>
              <a:gd name="connsiteY30" fmla="*/ 309772 h 2110523"/>
              <a:gd name="connsiteX31" fmla="*/ 2788078 w 4444645"/>
              <a:gd name="connsiteY31" fmla="*/ 377090 h 2110523"/>
              <a:gd name="connsiteX32" fmla="*/ 2816127 w 4444645"/>
              <a:gd name="connsiteY32" fmla="*/ 405139 h 2110523"/>
              <a:gd name="connsiteX33" fmla="*/ 2922714 w 4444645"/>
              <a:gd name="connsiteY33" fmla="*/ 461237 h 2110523"/>
              <a:gd name="connsiteX34" fmla="*/ 2956373 w 4444645"/>
              <a:gd name="connsiteY34" fmla="*/ 517336 h 2110523"/>
              <a:gd name="connsiteX35" fmla="*/ 3135887 w 4444645"/>
              <a:gd name="connsiteY35" fmla="*/ 562214 h 2110523"/>
              <a:gd name="connsiteX36" fmla="*/ 3276132 w 4444645"/>
              <a:gd name="connsiteY36" fmla="*/ 556604 h 2110523"/>
              <a:gd name="connsiteX37" fmla="*/ 3876382 w 4444645"/>
              <a:gd name="connsiteY37" fmla="*/ 337822 h 2110523"/>
              <a:gd name="connsiteX38" fmla="*/ 4050334 w 4444645"/>
              <a:gd name="connsiteY38" fmla="*/ 374523 h 2110523"/>
              <a:gd name="connsiteX39" fmla="*/ 4156873 w 4444645"/>
              <a:gd name="connsiteY39" fmla="*/ 382700 h 2110523"/>
              <a:gd name="connsiteX40" fmla="*/ 4368049 w 4444645"/>
              <a:gd name="connsiteY40" fmla="*/ 374523 h 2110523"/>
              <a:gd name="connsiteX41" fmla="*/ 4444645 w 4444645"/>
              <a:gd name="connsiteY41" fmla="*/ 404021 h 2110523"/>
              <a:gd name="connsiteX0" fmla="*/ 0 w 4444645"/>
              <a:gd name="connsiteY0" fmla="*/ 2110523 h 2110523"/>
              <a:gd name="connsiteX1" fmla="*/ 151465 w 4444645"/>
              <a:gd name="connsiteY1" fmla="*/ 2015156 h 2110523"/>
              <a:gd name="connsiteX2" fmla="*/ 230002 w 4444645"/>
              <a:gd name="connsiteY2" fmla="*/ 1858082 h 2110523"/>
              <a:gd name="connsiteX3" fmla="*/ 403906 w 4444645"/>
              <a:gd name="connsiteY3" fmla="*/ 1801983 h 2110523"/>
              <a:gd name="connsiteX4" fmla="*/ 460004 w 4444645"/>
              <a:gd name="connsiteY4" fmla="*/ 1717836 h 2110523"/>
              <a:gd name="connsiteX5" fmla="*/ 729276 w 4444645"/>
              <a:gd name="connsiteY5" fmla="*/ 1471004 h 2110523"/>
              <a:gd name="connsiteX6" fmla="*/ 835862 w 4444645"/>
              <a:gd name="connsiteY6" fmla="*/ 1313929 h 2110523"/>
              <a:gd name="connsiteX7" fmla="*/ 1138792 w 4444645"/>
              <a:gd name="connsiteY7" fmla="*/ 1274661 h 2110523"/>
              <a:gd name="connsiteX8" fmla="*/ 1284647 w 4444645"/>
              <a:gd name="connsiteY8" fmla="*/ 1269051 h 2110523"/>
              <a:gd name="connsiteX9" fmla="*/ 1363185 w 4444645"/>
              <a:gd name="connsiteY9" fmla="*/ 1207343 h 2110523"/>
              <a:gd name="connsiteX10" fmla="*/ 1514650 w 4444645"/>
              <a:gd name="connsiteY10" fmla="*/ 1201733 h 2110523"/>
              <a:gd name="connsiteX11" fmla="*/ 1739042 w 4444645"/>
              <a:gd name="connsiteY11" fmla="*/ 1078317 h 2110523"/>
              <a:gd name="connsiteX12" fmla="*/ 1963435 w 4444645"/>
              <a:gd name="connsiteY12" fmla="*/ 803436 h 2110523"/>
              <a:gd name="connsiteX13" fmla="*/ 2013923 w 4444645"/>
              <a:gd name="connsiteY13" fmla="*/ 764168 h 2110523"/>
              <a:gd name="connsiteX14" fmla="*/ 2036363 w 4444645"/>
              <a:gd name="connsiteY14" fmla="*/ 651971 h 2110523"/>
              <a:gd name="connsiteX15" fmla="*/ 2176608 w 4444645"/>
              <a:gd name="connsiteY15" fmla="*/ 545385 h 2110523"/>
              <a:gd name="connsiteX16" fmla="*/ 2210267 w 4444645"/>
              <a:gd name="connsiteY16" fmla="*/ 506116 h 2110523"/>
              <a:gd name="connsiteX17" fmla="*/ 2199047 w 4444645"/>
              <a:gd name="connsiteY17" fmla="*/ 416359 h 2110523"/>
              <a:gd name="connsiteX18" fmla="*/ 2221487 w 4444645"/>
              <a:gd name="connsiteY18" fmla="*/ 326602 h 2110523"/>
              <a:gd name="connsiteX19" fmla="*/ 2232706 w 4444645"/>
              <a:gd name="connsiteY19" fmla="*/ 259284 h 2110523"/>
              <a:gd name="connsiteX20" fmla="*/ 2266365 w 4444645"/>
              <a:gd name="connsiteY20" fmla="*/ 231235 h 2110523"/>
              <a:gd name="connsiteX21" fmla="*/ 2384171 w 4444645"/>
              <a:gd name="connsiteY21" fmla="*/ 214406 h 2110523"/>
              <a:gd name="connsiteX22" fmla="*/ 2440269 w 4444645"/>
              <a:gd name="connsiteY22" fmla="*/ 186356 h 2110523"/>
              <a:gd name="connsiteX23" fmla="*/ 2462709 w 4444645"/>
              <a:gd name="connsiteY23" fmla="*/ 158307 h 2110523"/>
              <a:gd name="connsiteX24" fmla="*/ 2479538 w 4444645"/>
              <a:gd name="connsiteY24" fmla="*/ 68550 h 2110523"/>
              <a:gd name="connsiteX25" fmla="*/ 2490758 w 4444645"/>
              <a:gd name="connsiteY25" fmla="*/ 23672 h 2110523"/>
              <a:gd name="connsiteX26" fmla="*/ 2546856 w 4444645"/>
              <a:gd name="connsiteY26" fmla="*/ 6842 h 2110523"/>
              <a:gd name="connsiteX27" fmla="*/ 2636613 w 4444645"/>
              <a:gd name="connsiteY27" fmla="*/ 1233 h 2110523"/>
              <a:gd name="connsiteX28" fmla="*/ 2687101 w 4444645"/>
              <a:gd name="connsiteY28" fmla="*/ 29282 h 2110523"/>
              <a:gd name="connsiteX29" fmla="*/ 2743200 w 4444645"/>
              <a:gd name="connsiteY29" fmla="*/ 163917 h 2110523"/>
              <a:gd name="connsiteX30" fmla="*/ 2782468 w 4444645"/>
              <a:gd name="connsiteY30" fmla="*/ 309772 h 2110523"/>
              <a:gd name="connsiteX31" fmla="*/ 2788078 w 4444645"/>
              <a:gd name="connsiteY31" fmla="*/ 377090 h 2110523"/>
              <a:gd name="connsiteX32" fmla="*/ 2816127 w 4444645"/>
              <a:gd name="connsiteY32" fmla="*/ 405139 h 2110523"/>
              <a:gd name="connsiteX33" fmla="*/ 2922714 w 4444645"/>
              <a:gd name="connsiteY33" fmla="*/ 461237 h 2110523"/>
              <a:gd name="connsiteX34" fmla="*/ 2956373 w 4444645"/>
              <a:gd name="connsiteY34" fmla="*/ 517336 h 2110523"/>
              <a:gd name="connsiteX35" fmla="*/ 3135887 w 4444645"/>
              <a:gd name="connsiteY35" fmla="*/ 562214 h 2110523"/>
              <a:gd name="connsiteX36" fmla="*/ 3276132 w 4444645"/>
              <a:gd name="connsiteY36" fmla="*/ 556604 h 2110523"/>
              <a:gd name="connsiteX37" fmla="*/ 3876382 w 4444645"/>
              <a:gd name="connsiteY37" fmla="*/ 337822 h 2110523"/>
              <a:gd name="connsiteX38" fmla="*/ 4050334 w 4444645"/>
              <a:gd name="connsiteY38" fmla="*/ 374523 h 2110523"/>
              <a:gd name="connsiteX39" fmla="*/ 4156873 w 4444645"/>
              <a:gd name="connsiteY39" fmla="*/ 382700 h 2110523"/>
              <a:gd name="connsiteX40" fmla="*/ 4368049 w 4444645"/>
              <a:gd name="connsiteY40" fmla="*/ 381372 h 2110523"/>
              <a:gd name="connsiteX41" fmla="*/ 4444645 w 4444645"/>
              <a:gd name="connsiteY41" fmla="*/ 404021 h 2110523"/>
              <a:gd name="connsiteX0" fmla="*/ 0 w 4444645"/>
              <a:gd name="connsiteY0" fmla="*/ 2110523 h 2110523"/>
              <a:gd name="connsiteX1" fmla="*/ 151465 w 4444645"/>
              <a:gd name="connsiteY1" fmla="*/ 2015156 h 2110523"/>
              <a:gd name="connsiteX2" fmla="*/ 230002 w 4444645"/>
              <a:gd name="connsiteY2" fmla="*/ 1858082 h 2110523"/>
              <a:gd name="connsiteX3" fmla="*/ 403906 w 4444645"/>
              <a:gd name="connsiteY3" fmla="*/ 1801983 h 2110523"/>
              <a:gd name="connsiteX4" fmla="*/ 460004 w 4444645"/>
              <a:gd name="connsiteY4" fmla="*/ 1717836 h 2110523"/>
              <a:gd name="connsiteX5" fmla="*/ 729276 w 4444645"/>
              <a:gd name="connsiteY5" fmla="*/ 1471004 h 2110523"/>
              <a:gd name="connsiteX6" fmla="*/ 835862 w 4444645"/>
              <a:gd name="connsiteY6" fmla="*/ 1313929 h 2110523"/>
              <a:gd name="connsiteX7" fmla="*/ 1138792 w 4444645"/>
              <a:gd name="connsiteY7" fmla="*/ 1274661 h 2110523"/>
              <a:gd name="connsiteX8" fmla="*/ 1284647 w 4444645"/>
              <a:gd name="connsiteY8" fmla="*/ 1269051 h 2110523"/>
              <a:gd name="connsiteX9" fmla="*/ 1363185 w 4444645"/>
              <a:gd name="connsiteY9" fmla="*/ 1207343 h 2110523"/>
              <a:gd name="connsiteX10" fmla="*/ 1514650 w 4444645"/>
              <a:gd name="connsiteY10" fmla="*/ 1201733 h 2110523"/>
              <a:gd name="connsiteX11" fmla="*/ 1739042 w 4444645"/>
              <a:gd name="connsiteY11" fmla="*/ 1078317 h 2110523"/>
              <a:gd name="connsiteX12" fmla="*/ 1963435 w 4444645"/>
              <a:gd name="connsiteY12" fmla="*/ 803436 h 2110523"/>
              <a:gd name="connsiteX13" fmla="*/ 2013923 w 4444645"/>
              <a:gd name="connsiteY13" fmla="*/ 764168 h 2110523"/>
              <a:gd name="connsiteX14" fmla="*/ 2036363 w 4444645"/>
              <a:gd name="connsiteY14" fmla="*/ 651971 h 2110523"/>
              <a:gd name="connsiteX15" fmla="*/ 2176608 w 4444645"/>
              <a:gd name="connsiteY15" fmla="*/ 545385 h 2110523"/>
              <a:gd name="connsiteX16" fmla="*/ 2210267 w 4444645"/>
              <a:gd name="connsiteY16" fmla="*/ 506116 h 2110523"/>
              <a:gd name="connsiteX17" fmla="*/ 2199047 w 4444645"/>
              <a:gd name="connsiteY17" fmla="*/ 416359 h 2110523"/>
              <a:gd name="connsiteX18" fmla="*/ 2221487 w 4444645"/>
              <a:gd name="connsiteY18" fmla="*/ 326602 h 2110523"/>
              <a:gd name="connsiteX19" fmla="*/ 2232706 w 4444645"/>
              <a:gd name="connsiteY19" fmla="*/ 259284 h 2110523"/>
              <a:gd name="connsiteX20" fmla="*/ 2266365 w 4444645"/>
              <a:gd name="connsiteY20" fmla="*/ 231235 h 2110523"/>
              <a:gd name="connsiteX21" fmla="*/ 2384171 w 4444645"/>
              <a:gd name="connsiteY21" fmla="*/ 214406 h 2110523"/>
              <a:gd name="connsiteX22" fmla="*/ 2440269 w 4444645"/>
              <a:gd name="connsiteY22" fmla="*/ 186356 h 2110523"/>
              <a:gd name="connsiteX23" fmla="*/ 2462709 w 4444645"/>
              <a:gd name="connsiteY23" fmla="*/ 158307 h 2110523"/>
              <a:gd name="connsiteX24" fmla="*/ 2479538 w 4444645"/>
              <a:gd name="connsiteY24" fmla="*/ 68550 h 2110523"/>
              <a:gd name="connsiteX25" fmla="*/ 2490758 w 4444645"/>
              <a:gd name="connsiteY25" fmla="*/ 23672 h 2110523"/>
              <a:gd name="connsiteX26" fmla="*/ 2546856 w 4444645"/>
              <a:gd name="connsiteY26" fmla="*/ 6842 h 2110523"/>
              <a:gd name="connsiteX27" fmla="*/ 2636613 w 4444645"/>
              <a:gd name="connsiteY27" fmla="*/ 1233 h 2110523"/>
              <a:gd name="connsiteX28" fmla="*/ 2687101 w 4444645"/>
              <a:gd name="connsiteY28" fmla="*/ 29282 h 2110523"/>
              <a:gd name="connsiteX29" fmla="*/ 2743200 w 4444645"/>
              <a:gd name="connsiteY29" fmla="*/ 163917 h 2110523"/>
              <a:gd name="connsiteX30" fmla="*/ 2782468 w 4444645"/>
              <a:gd name="connsiteY30" fmla="*/ 309772 h 2110523"/>
              <a:gd name="connsiteX31" fmla="*/ 2788078 w 4444645"/>
              <a:gd name="connsiteY31" fmla="*/ 377090 h 2110523"/>
              <a:gd name="connsiteX32" fmla="*/ 2816127 w 4444645"/>
              <a:gd name="connsiteY32" fmla="*/ 405139 h 2110523"/>
              <a:gd name="connsiteX33" fmla="*/ 2922714 w 4444645"/>
              <a:gd name="connsiteY33" fmla="*/ 461237 h 2110523"/>
              <a:gd name="connsiteX34" fmla="*/ 2956373 w 4444645"/>
              <a:gd name="connsiteY34" fmla="*/ 517336 h 2110523"/>
              <a:gd name="connsiteX35" fmla="*/ 3135887 w 4444645"/>
              <a:gd name="connsiteY35" fmla="*/ 562214 h 2110523"/>
              <a:gd name="connsiteX36" fmla="*/ 3276132 w 4444645"/>
              <a:gd name="connsiteY36" fmla="*/ 556604 h 2110523"/>
              <a:gd name="connsiteX37" fmla="*/ 3876382 w 4444645"/>
              <a:gd name="connsiteY37" fmla="*/ 337822 h 2110523"/>
              <a:gd name="connsiteX38" fmla="*/ 4050334 w 4444645"/>
              <a:gd name="connsiteY38" fmla="*/ 374523 h 2110523"/>
              <a:gd name="connsiteX39" fmla="*/ 4156873 w 4444645"/>
              <a:gd name="connsiteY39" fmla="*/ 382700 h 2110523"/>
              <a:gd name="connsiteX40" fmla="*/ 4368049 w 4444645"/>
              <a:gd name="connsiteY40" fmla="*/ 391646 h 2110523"/>
              <a:gd name="connsiteX41" fmla="*/ 4444645 w 4444645"/>
              <a:gd name="connsiteY41" fmla="*/ 404021 h 2110523"/>
              <a:gd name="connsiteX0" fmla="*/ 0 w 4444645"/>
              <a:gd name="connsiteY0" fmla="*/ 2110523 h 2110523"/>
              <a:gd name="connsiteX1" fmla="*/ 151465 w 4444645"/>
              <a:gd name="connsiteY1" fmla="*/ 2015156 h 2110523"/>
              <a:gd name="connsiteX2" fmla="*/ 230002 w 4444645"/>
              <a:gd name="connsiteY2" fmla="*/ 1858082 h 2110523"/>
              <a:gd name="connsiteX3" fmla="*/ 403906 w 4444645"/>
              <a:gd name="connsiteY3" fmla="*/ 1801983 h 2110523"/>
              <a:gd name="connsiteX4" fmla="*/ 460004 w 4444645"/>
              <a:gd name="connsiteY4" fmla="*/ 1717836 h 2110523"/>
              <a:gd name="connsiteX5" fmla="*/ 729276 w 4444645"/>
              <a:gd name="connsiteY5" fmla="*/ 1471004 h 2110523"/>
              <a:gd name="connsiteX6" fmla="*/ 835862 w 4444645"/>
              <a:gd name="connsiteY6" fmla="*/ 1313929 h 2110523"/>
              <a:gd name="connsiteX7" fmla="*/ 1138792 w 4444645"/>
              <a:gd name="connsiteY7" fmla="*/ 1274661 h 2110523"/>
              <a:gd name="connsiteX8" fmla="*/ 1284647 w 4444645"/>
              <a:gd name="connsiteY8" fmla="*/ 1269051 h 2110523"/>
              <a:gd name="connsiteX9" fmla="*/ 1363185 w 4444645"/>
              <a:gd name="connsiteY9" fmla="*/ 1207343 h 2110523"/>
              <a:gd name="connsiteX10" fmla="*/ 1514650 w 4444645"/>
              <a:gd name="connsiteY10" fmla="*/ 1201733 h 2110523"/>
              <a:gd name="connsiteX11" fmla="*/ 1739042 w 4444645"/>
              <a:gd name="connsiteY11" fmla="*/ 1078317 h 2110523"/>
              <a:gd name="connsiteX12" fmla="*/ 1963435 w 4444645"/>
              <a:gd name="connsiteY12" fmla="*/ 803436 h 2110523"/>
              <a:gd name="connsiteX13" fmla="*/ 2013923 w 4444645"/>
              <a:gd name="connsiteY13" fmla="*/ 764168 h 2110523"/>
              <a:gd name="connsiteX14" fmla="*/ 2036363 w 4444645"/>
              <a:gd name="connsiteY14" fmla="*/ 651971 h 2110523"/>
              <a:gd name="connsiteX15" fmla="*/ 2176608 w 4444645"/>
              <a:gd name="connsiteY15" fmla="*/ 545385 h 2110523"/>
              <a:gd name="connsiteX16" fmla="*/ 2210267 w 4444645"/>
              <a:gd name="connsiteY16" fmla="*/ 506116 h 2110523"/>
              <a:gd name="connsiteX17" fmla="*/ 2199047 w 4444645"/>
              <a:gd name="connsiteY17" fmla="*/ 416359 h 2110523"/>
              <a:gd name="connsiteX18" fmla="*/ 2221487 w 4444645"/>
              <a:gd name="connsiteY18" fmla="*/ 326602 h 2110523"/>
              <a:gd name="connsiteX19" fmla="*/ 2232706 w 4444645"/>
              <a:gd name="connsiteY19" fmla="*/ 259284 h 2110523"/>
              <a:gd name="connsiteX20" fmla="*/ 2266365 w 4444645"/>
              <a:gd name="connsiteY20" fmla="*/ 231235 h 2110523"/>
              <a:gd name="connsiteX21" fmla="*/ 2384171 w 4444645"/>
              <a:gd name="connsiteY21" fmla="*/ 214406 h 2110523"/>
              <a:gd name="connsiteX22" fmla="*/ 2440269 w 4444645"/>
              <a:gd name="connsiteY22" fmla="*/ 186356 h 2110523"/>
              <a:gd name="connsiteX23" fmla="*/ 2462709 w 4444645"/>
              <a:gd name="connsiteY23" fmla="*/ 158307 h 2110523"/>
              <a:gd name="connsiteX24" fmla="*/ 2479538 w 4444645"/>
              <a:gd name="connsiteY24" fmla="*/ 68550 h 2110523"/>
              <a:gd name="connsiteX25" fmla="*/ 2490758 w 4444645"/>
              <a:gd name="connsiteY25" fmla="*/ 23672 h 2110523"/>
              <a:gd name="connsiteX26" fmla="*/ 2546856 w 4444645"/>
              <a:gd name="connsiteY26" fmla="*/ 6842 h 2110523"/>
              <a:gd name="connsiteX27" fmla="*/ 2636613 w 4444645"/>
              <a:gd name="connsiteY27" fmla="*/ 1233 h 2110523"/>
              <a:gd name="connsiteX28" fmla="*/ 2687101 w 4444645"/>
              <a:gd name="connsiteY28" fmla="*/ 29282 h 2110523"/>
              <a:gd name="connsiteX29" fmla="*/ 2743200 w 4444645"/>
              <a:gd name="connsiteY29" fmla="*/ 163917 h 2110523"/>
              <a:gd name="connsiteX30" fmla="*/ 2782468 w 4444645"/>
              <a:gd name="connsiteY30" fmla="*/ 309772 h 2110523"/>
              <a:gd name="connsiteX31" fmla="*/ 2788078 w 4444645"/>
              <a:gd name="connsiteY31" fmla="*/ 377090 h 2110523"/>
              <a:gd name="connsiteX32" fmla="*/ 2816127 w 4444645"/>
              <a:gd name="connsiteY32" fmla="*/ 405139 h 2110523"/>
              <a:gd name="connsiteX33" fmla="*/ 2922714 w 4444645"/>
              <a:gd name="connsiteY33" fmla="*/ 461237 h 2110523"/>
              <a:gd name="connsiteX34" fmla="*/ 2956373 w 4444645"/>
              <a:gd name="connsiteY34" fmla="*/ 517336 h 2110523"/>
              <a:gd name="connsiteX35" fmla="*/ 3135887 w 4444645"/>
              <a:gd name="connsiteY35" fmla="*/ 562214 h 2110523"/>
              <a:gd name="connsiteX36" fmla="*/ 3276132 w 4444645"/>
              <a:gd name="connsiteY36" fmla="*/ 556604 h 2110523"/>
              <a:gd name="connsiteX37" fmla="*/ 3876382 w 4444645"/>
              <a:gd name="connsiteY37" fmla="*/ 337822 h 2110523"/>
              <a:gd name="connsiteX38" fmla="*/ 4050334 w 4444645"/>
              <a:gd name="connsiteY38" fmla="*/ 374523 h 2110523"/>
              <a:gd name="connsiteX39" fmla="*/ 4156873 w 4444645"/>
              <a:gd name="connsiteY39" fmla="*/ 382700 h 2110523"/>
              <a:gd name="connsiteX40" fmla="*/ 4368049 w 4444645"/>
              <a:gd name="connsiteY40" fmla="*/ 391646 h 2110523"/>
              <a:gd name="connsiteX41" fmla="*/ 4444645 w 4444645"/>
              <a:gd name="connsiteY41" fmla="*/ 404021 h 2110523"/>
              <a:gd name="connsiteX0" fmla="*/ 0 w 4461769"/>
              <a:gd name="connsiteY0" fmla="*/ 2110523 h 2110523"/>
              <a:gd name="connsiteX1" fmla="*/ 151465 w 4461769"/>
              <a:gd name="connsiteY1" fmla="*/ 2015156 h 2110523"/>
              <a:gd name="connsiteX2" fmla="*/ 230002 w 4461769"/>
              <a:gd name="connsiteY2" fmla="*/ 1858082 h 2110523"/>
              <a:gd name="connsiteX3" fmla="*/ 403906 w 4461769"/>
              <a:gd name="connsiteY3" fmla="*/ 1801983 h 2110523"/>
              <a:gd name="connsiteX4" fmla="*/ 460004 w 4461769"/>
              <a:gd name="connsiteY4" fmla="*/ 1717836 h 2110523"/>
              <a:gd name="connsiteX5" fmla="*/ 729276 w 4461769"/>
              <a:gd name="connsiteY5" fmla="*/ 1471004 h 2110523"/>
              <a:gd name="connsiteX6" fmla="*/ 835862 w 4461769"/>
              <a:gd name="connsiteY6" fmla="*/ 1313929 h 2110523"/>
              <a:gd name="connsiteX7" fmla="*/ 1138792 w 4461769"/>
              <a:gd name="connsiteY7" fmla="*/ 1274661 h 2110523"/>
              <a:gd name="connsiteX8" fmla="*/ 1284647 w 4461769"/>
              <a:gd name="connsiteY8" fmla="*/ 1269051 h 2110523"/>
              <a:gd name="connsiteX9" fmla="*/ 1363185 w 4461769"/>
              <a:gd name="connsiteY9" fmla="*/ 1207343 h 2110523"/>
              <a:gd name="connsiteX10" fmla="*/ 1514650 w 4461769"/>
              <a:gd name="connsiteY10" fmla="*/ 1201733 h 2110523"/>
              <a:gd name="connsiteX11" fmla="*/ 1739042 w 4461769"/>
              <a:gd name="connsiteY11" fmla="*/ 1078317 h 2110523"/>
              <a:gd name="connsiteX12" fmla="*/ 1963435 w 4461769"/>
              <a:gd name="connsiteY12" fmla="*/ 803436 h 2110523"/>
              <a:gd name="connsiteX13" fmla="*/ 2013923 w 4461769"/>
              <a:gd name="connsiteY13" fmla="*/ 764168 h 2110523"/>
              <a:gd name="connsiteX14" fmla="*/ 2036363 w 4461769"/>
              <a:gd name="connsiteY14" fmla="*/ 651971 h 2110523"/>
              <a:gd name="connsiteX15" fmla="*/ 2176608 w 4461769"/>
              <a:gd name="connsiteY15" fmla="*/ 545385 h 2110523"/>
              <a:gd name="connsiteX16" fmla="*/ 2210267 w 4461769"/>
              <a:gd name="connsiteY16" fmla="*/ 506116 h 2110523"/>
              <a:gd name="connsiteX17" fmla="*/ 2199047 w 4461769"/>
              <a:gd name="connsiteY17" fmla="*/ 416359 h 2110523"/>
              <a:gd name="connsiteX18" fmla="*/ 2221487 w 4461769"/>
              <a:gd name="connsiteY18" fmla="*/ 326602 h 2110523"/>
              <a:gd name="connsiteX19" fmla="*/ 2232706 w 4461769"/>
              <a:gd name="connsiteY19" fmla="*/ 259284 h 2110523"/>
              <a:gd name="connsiteX20" fmla="*/ 2266365 w 4461769"/>
              <a:gd name="connsiteY20" fmla="*/ 231235 h 2110523"/>
              <a:gd name="connsiteX21" fmla="*/ 2384171 w 4461769"/>
              <a:gd name="connsiteY21" fmla="*/ 214406 h 2110523"/>
              <a:gd name="connsiteX22" fmla="*/ 2440269 w 4461769"/>
              <a:gd name="connsiteY22" fmla="*/ 186356 h 2110523"/>
              <a:gd name="connsiteX23" fmla="*/ 2462709 w 4461769"/>
              <a:gd name="connsiteY23" fmla="*/ 158307 h 2110523"/>
              <a:gd name="connsiteX24" fmla="*/ 2479538 w 4461769"/>
              <a:gd name="connsiteY24" fmla="*/ 68550 h 2110523"/>
              <a:gd name="connsiteX25" fmla="*/ 2490758 w 4461769"/>
              <a:gd name="connsiteY25" fmla="*/ 23672 h 2110523"/>
              <a:gd name="connsiteX26" fmla="*/ 2546856 w 4461769"/>
              <a:gd name="connsiteY26" fmla="*/ 6842 h 2110523"/>
              <a:gd name="connsiteX27" fmla="*/ 2636613 w 4461769"/>
              <a:gd name="connsiteY27" fmla="*/ 1233 h 2110523"/>
              <a:gd name="connsiteX28" fmla="*/ 2687101 w 4461769"/>
              <a:gd name="connsiteY28" fmla="*/ 29282 h 2110523"/>
              <a:gd name="connsiteX29" fmla="*/ 2743200 w 4461769"/>
              <a:gd name="connsiteY29" fmla="*/ 163917 h 2110523"/>
              <a:gd name="connsiteX30" fmla="*/ 2782468 w 4461769"/>
              <a:gd name="connsiteY30" fmla="*/ 309772 h 2110523"/>
              <a:gd name="connsiteX31" fmla="*/ 2788078 w 4461769"/>
              <a:gd name="connsiteY31" fmla="*/ 377090 h 2110523"/>
              <a:gd name="connsiteX32" fmla="*/ 2816127 w 4461769"/>
              <a:gd name="connsiteY32" fmla="*/ 405139 h 2110523"/>
              <a:gd name="connsiteX33" fmla="*/ 2922714 w 4461769"/>
              <a:gd name="connsiteY33" fmla="*/ 461237 h 2110523"/>
              <a:gd name="connsiteX34" fmla="*/ 2956373 w 4461769"/>
              <a:gd name="connsiteY34" fmla="*/ 517336 h 2110523"/>
              <a:gd name="connsiteX35" fmla="*/ 3135887 w 4461769"/>
              <a:gd name="connsiteY35" fmla="*/ 562214 h 2110523"/>
              <a:gd name="connsiteX36" fmla="*/ 3276132 w 4461769"/>
              <a:gd name="connsiteY36" fmla="*/ 556604 h 2110523"/>
              <a:gd name="connsiteX37" fmla="*/ 3876382 w 4461769"/>
              <a:gd name="connsiteY37" fmla="*/ 337822 h 2110523"/>
              <a:gd name="connsiteX38" fmla="*/ 4050334 w 4461769"/>
              <a:gd name="connsiteY38" fmla="*/ 374523 h 2110523"/>
              <a:gd name="connsiteX39" fmla="*/ 4156873 w 4461769"/>
              <a:gd name="connsiteY39" fmla="*/ 382700 h 2110523"/>
              <a:gd name="connsiteX40" fmla="*/ 4368049 w 4461769"/>
              <a:gd name="connsiteY40" fmla="*/ 391646 h 2110523"/>
              <a:gd name="connsiteX41" fmla="*/ 4461769 w 4461769"/>
              <a:gd name="connsiteY41" fmla="*/ 441693 h 2110523"/>
              <a:gd name="connsiteX0" fmla="*/ 0 w 4461769"/>
              <a:gd name="connsiteY0" fmla="*/ 2110523 h 2110523"/>
              <a:gd name="connsiteX1" fmla="*/ 151465 w 4461769"/>
              <a:gd name="connsiteY1" fmla="*/ 2015156 h 2110523"/>
              <a:gd name="connsiteX2" fmla="*/ 230002 w 4461769"/>
              <a:gd name="connsiteY2" fmla="*/ 1858082 h 2110523"/>
              <a:gd name="connsiteX3" fmla="*/ 403906 w 4461769"/>
              <a:gd name="connsiteY3" fmla="*/ 1801983 h 2110523"/>
              <a:gd name="connsiteX4" fmla="*/ 460004 w 4461769"/>
              <a:gd name="connsiteY4" fmla="*/ 1717836 h 2110523"/>
              <a:gd name="connsiteX5" fmla="*/ 729276 w 4461769"/>
              <a:gd name="connsiteY5" fmla="*/ 1471004 h 2110523"/>
              <a:gd name="connsiteX6" fmla="*/ 835862 w 4461769"/>
              <a:gd name="connsiteY6" fmla="*/ 1313929 h 2110523"/>
              <a:gd name="connsiteX7" fmla="*/ 1138792 w 4461769"/>
              <a:gd name="connsiteY7" fmla="*/ 1274661 h 2110523"/>
              <a:gd name="connsiteX8" fmla="*/ 1284647 w 4461769"/>
              <a:gd name="connsiteY8" fmla="*/ 1269051 h 2110523"/>
              <a:gd name="connsiteX9" fmla="*/ 1363185 w 4461769"/>
              <a:gd name="connsiteY9" fmla="*/ 1207343 h 2110523"/>
              <a:gd name="connsiteX10" fmla="*/ 1514650 w 4461769"/>
              <a:gd name="connsiteY10" fmla="*/ 1201733 h 2110523"/>
              <a:gd name="connsiteX11" fmla="*/ 1739042 w 4461769"/>
              <a:gd name="connsiteY11" fmla="*/ 1078317 h 2110523"/>
              <a:gd name="connsiteX12" fmla="*/ 1963435 w 4461769"/>
              <a:gd name="connsiteY12" fmla="*/ 803436 h 2110523"/>
              <a:gd name="connsiteX13" fmla="*/ 2013923 w 4461769"/>
              <a:gd name="connsiteY13" fmla="*/ 764168 h 2110523"/>
              <a:gd name="connsiteX14" fmla="*/ 2036363 w 4461769"/>
              <a:gd name="connsiteY14" fmla="*/ 651971 h 2110523"/>
              <a:gd name="connsiteX15" fmla="*/ 2176608 w 4461769"/>
              <a:gd name="connsiteY15" fmla="*/ 545385 h 2110523"/>
              <a:gd name="connsiteX16" fmla="*/ 2210267 w 4461769"/>
              <a:gd name="connsiteY16" fmla="*/ 506116 h 2110523"/>
              <a:gd name="connsiteX17" fmla="*/ 2199047 w 4461769"/>
              <a:gd name="connsiteY17" fmla="*/ 416359 h 2110523"/>
              <a:gd name="connsiteX18" fmla="*/ 2221487 w 4461769"/>
              <a:gd name="connsiteY18" fmla="*/ 326602 h 2110523"/>
              <a:gd name="connsiteX19" fmla="*/ 2232706 w 4461769"/>
              <a:gd name="connsiteY19" fmla="*/ 259284 h 2110523"/>
              <a:gd name="connsiteX20" fmla="*/ 2266365 w 4461769"/>
              <a:gd name="connsiteY20" fmla="*/ 231235 h 2110523"/>
              <a:gd name="connsiteX21" fmla="*/ 2384171 w 4461769"/>
              <a:gd name="connsiteY21" fmla="*/ 214406 h 2110523"/>
              <a:gd name="connsiteX22" fmla="*/ 2440269 w 4461769"/>
              <a:gd name="connsiteY22" fmla="*/ 186356 h 2110523"/>
              <a:gd name="connsiteX23" fmla="*/ 2462709 w 4461769"/>
              <a:gd name="connsiteY23" fmla="*/ 158307 h 2110523"/>
              <a:gd name="connsiteX24" fmla="*/ 2479538 w 4461769"/>
              <a:gd name="connsiteY24" fmla="*/ 68550 h 2110523"/>
              <a:gd name="connsiteX25" fmla="*/ 2490758 w 4461769"/>
              <a:gd name="connsiteY25" fmla="*/ 23672 h 2110523"/>
              <a:gd name="connsiteX26" fmla="*/ 2546856 w 4461769"/>
              <a:gd name="connsiteY26" fmla="*/ 6842 h 2110523"/>
              <a:gd name="connsiteX27" fmla="*/ 2636613 w 4461769"/>
              <a:gd name="connsiteY27" fmla="*/ 1233 h 2110523"/>
              <a:gd name="connsiteX28" fmla="*/ 2687101 w 4461769"/>
              <a:gd name="connsiteY28" fmla="*/ 29282 h 2110523"/>
              <a:gd name="connsiteX29" fmla="*/ 2743200 w 4461769"/>
              <a:gd name="connsiteY29" fmla="*/ 163917 h 2110523"/>
              <a:gd name="connsiteX30" fmla="*/ 2782468 w 4461769"/>
              <a:gd name="connsiteY30" fmla="*/ 309772 h 2110523"/>
              <a:gd name="connsiteX31" fmla="*/ 2788078 w 4461769"/>
              <a:gd name="connsiteY31" fmla="*/ 377090 h 2110523"/>
              <a:gd name="connsiteX32" fmla="*/ 2816127 w 4461769"/>
              <a:gd name="connsiteY32" fmla="*/ 405139 h 2110523"/>
              <a:gd name="connsiteX33" fmla="*/ 2922714 w 4461769"/>
              <a:gd name="connsiteY33" fmla="*/ 461237 h 2110523"/>
              <a:gd name="connsiteX34" fmla="*/ 2956373 w 4461769"/>
              <a:gd name="connsiteY34" fmla="*/ 517336 h 2110523"/>
              <a:gd name="connsiteX35" fmla="*/ 3135887 w 4461769"/>
              <a:gd name="connsiteY35" fmla="*/ 562214 h 2110523"/>
              <a:gd name="connsiteX36" fmla="*/ 3276132 w 4461769"/>
              <a:gd name="connsiteY36" fmla="*/ 556604 h 2110523"/>
              <a:gd name="connsiteX37" fmla="*/ 3876382 w 4461769"/>
              <a:gd name="connsiteY37" fmla="*/ 337822 h 2110523"/>
              <a:gd name="connsiteX38" fmla="*/ 3986919 w 4461769"/>
              <a:gd name="connsiteY38" fmla="*/ 329711 h 2110523"/>
              <a:gd name="connsiteX39" fmla="*/ 4050334 w 4461769"/>
              <a:gd name="connsiteY39" fmla="*/ 374523 h 2110523"/>
              <a:gd name="connsiteX40" fmla="*/ 4156873 w 4461769"/>
              <a:gd name="connsiteY40" fmla="*/ 382700 h 2110523"/>
              <a:gd name="connsiteX41" fmla="*/ 4368049 w 4461769"/>
              <a:gd name="connsiteY41" fmla="*/ 391646 h 2110523"/>
              <a:gd name="connsiteX42" fmla="*/ 4461769 w 4461769"/>
              <a:gd name="connsiteY42" fmla="*/ 441693 h 2110523"/>
              <a:gd name="connsiteX0" fmla="*/ 0 w 4461769"/>
              <a:gd name="connsiteY0" fmla="*/ 2110523 h 2110523"/>
              <a:gd name="connsiteX1" fmla="*/ 151465 w 4461769"/>
              <a:gd name="connsiteY1" fmla="*/ 2015156 h 2110523"/>
              <a:gd name="connsiteX2" fmla="*/ 230002 w 4461769"/>
              <a:gd name="connsiteY2" fmla="*/ 1858082 h 2110523"/>
              <a:gd name="connsiteX3" fmla="*/ 403906 w 4461769"/>
              <a:gd name="connsiteY3" fmla="*/ 1801983 h 2110523"/>
              <a:gd name="connsiteX4" fmla="*/ 460004 w 4461769"/>
              <a:gd name="connsiteY4" fmla="*/ 1717836 h 2110523"/>
              <a:gd name="connsiteX5" fmla="*/ 729276 w 4461769"/>
              <a:gd name="connsiteY5" fmla="*/ 1471004 h 2110523"/>
              <a:gd name="connsiteX6" fmla="*/ 835862 w 4461769"/>
              <a:gd name="connsiteY6" fmla="*/ 1313929 h 2110523"/>
              <a:gd name="connsiteX7" fmla="*/ 1138792 w 4461769"/>
              <a:gd name="connsiteY7" fmla="*/ 1274661 h 2110523"/>
              <a:gd name="connsiteX8" fmla="*/ 1284647 w 4461769"/>
              <a:gd name="connsiteY8" fmla="*/ 1269051 h 2110523"/>
              <a:gd name="connsiteX9" fmla="*/ 1363185 w 4461769"/>
              <a:gd name="connsiteY9" fmla="*/ 1207343 h 2110523"/>
              <a:gd name="connsiteX10" fmla="*/ 1514650 w 4461769"/>
              <a:gd name="connsiteY10" fmla="*/ 1201733 h 2110523"/>
              <a:gd name="connsiteX11" fmla="*/ 1739042 w 4461769"/>
              <a:gd name="connsiteY11" fmla="*/ 1078317 h 2110523"/>
              <a:gd name="connsiteX12" fmla="*/ 1963435 w 4461769"/>
              <a:gd name="connsiteY12" fmla="*/ 803436 h 2110523"/>
              <a:gd name="connsiteX13" fmla="*/ 2013923 w 4461769"/>
              <a:gd name="connsiteY13" fmla="*/ 764168 h 2110523"/>
              <a:gd name="connsiteX14" fmla="*/ 2036363 w 4461769"/>
              <a:gd name="connsiteY14" fmla="*/ 651971 h 2110523"/>
              <a:gd name="connsiteX15" fmla="*/ 2176608 w 4461769"/>
              <a:gd name="connsiteY15" fmla="*/ 545385 h 2110523"/>
              <a:gd name="connsiteX16" fmla="*/ 2210267 w 4461769"/>
              <a:gd name="connsiteY16" fmla="*/ 506116 h 2110523"/>
              <a:gd name="connsiteX17" fmla="*/ 2199047 w 4461769"/>
              <a:gd name="connsiteY17" fmla="*/ 416359 h 2110523"/>
              <a:gd name="connsiteX18" fmla="*/ 2221487 w 4461769"/>
              <a:gd name="connsiteY18" fmla="*/ 326602 h 2110523"/>
              <a:gd name="connsiteX19" fmla="*/ 2232706 w 4461769"/>
              <a:gd name="connsiteY19" fmla="*/ 259284 h 2110523"/>
              <a:gd name="connsiteX20" fmla="*/ 2266365 w 4461769"/>
              <a:gd name="connsiteY20" fmla="*/ 231235 h 2110523"/>
              <a:gd name="connsiteX21" fmla="*/ 2384171 w 4461769"/>
              <a:gd name="connsiteY21" fmla="*/ 214406 h 2110523"/>
              <a:gd name="connsiteX22" fmla="*/ 2440269 w 4461769"/>
              <a:gd name="connsiteY22" fmla="*/ 186356 h 2110523"/>
              <a:gd name="connsiteX23" fmla="*/ 2462709 w 4461769"/>
              <a:gd name="connsiteY23" fmla="*/ 158307 h 2110523"/>
              <a:gd name="connsiteX24" fmla="*/ 2479538 w 4461769"/>
              <a:gd name="connsiteY24" fmla="*/ 68550 h 2110523"/>
              <a:gd name="connsiteX25" fmla="*/ 2490758 w 4461769"/>
              <a:gd name="connsiteY25" fmla="*/ 23672 h 2110523"/>
              <a:gd name="connsiteX26" fmla="*/ 2546856 w 4461769"/>
              <a:gd name="connsiteY26" fmla="*/ 6842 h 2110523"/>
              <a:gd name="connsiteX27" fmla="*/ 2636613 w 4461769"/>
              <a:gd name="connsiteY27" fmla="*/ 1233 h 2110523"/>
              <a:gd name="connsiteX28" fmla="*/ 2687101 w 4461769"/>
              <a:gd name="connsiteY28" fmla="*/ 29282 h 2110523"/>
              <a:gd name="connsiteX29" fmla="*/ 2743200 w 4461769"/>
              <a:gd name="connsiteY29" fmla="*/ 163917 h 2110523"/>
              <a:gd name="connsiteX30" fmla="*/ 2782468 w 4461769"/>
              <a:gd name="connsiteY30" fmla="*/ 309772 h 2110523"/>
              <a:gd name="connsiteX31" fmla="*/ 2788078 w 4461769"/>
              <a:gd name="connsiteY31" fmla="*/ 377090 h 2110523"/>
              <a:gd name="connsiteX32" fmla="*/ 2816127 w 4461769"/>
              <a:gd name="connsiteY32" fmla="*/ 405139 h 2110523"/>
              <a:gd name="connsiteX33" fmla="*/ 2922714 w 4461769"/>
              <a:gd name="connsiteY33" fmla="*/ 461237 h 2110523"/>
              <a:gd name="connsiteX34" fmla="*/ 2956373 w 4461769"/>
              <a:gd name="connsiteY34" fmla="*/ 517336 h 2110523"/>
              <a:gd name="connsiteX35" fmla="*/ 3135887 w 4461769"/>
              <a:gd name="connsiteY35" fmla="*/ 562214 h 2110523"/>
              <a:gd name="connsiteX36" fmla="*/ 3276132 w 4461769"/>
              <a:gd name="connsiteY36" fmla="*/ 556604 h 2110523"/>
              <a:gd name="connsiteX37" fmla="*/ 3876382 w 4461769"/>
              <a:gd name="connsiteY37" fmla="*/ 337822 h 2110523"/>
              <a:gd name="connsiteX38" fmla="*/ 3993769 w 4461769"/>
              <a:gd name="connsiteY38" fmla="*/ 326286 h 2110523"/>
              <a:gd name="connsiteX39" fmla="*/ 4050334 w 4461769"/>
              <a:gd name="connsiteY39" fmla="*/ 374523 h 2110523"/>
              <a:gd name="connsiteX40" fmla="*/ 4156873 w 4461769"/>
              <a:gd name="connsiteY40" fmla="*/ 382700 h 2110523"/>
              <a:gd name="connsiteX41" fmla="*/ 4368049 w 4461769"/>
              <a:gd name="connsiteY41" fmla="*/ 391646 h 2110523"/>
              <a:gd name="connsiteX42" fmla="*/ 4461769 w 4461769"/>
              <a:gd name="connsiteY42" fmla="*/ 441693 h 2110523"/>
              <a:gd name="connsiteX0" fmla="*/ 0 w 4461769"/>
              <a:gd name="connsiteY0" fmla="*/ 2110523 h 2110523"/>
              <a:gd name="connsiteX1" fmla="*/ 151465 w 4461769"/>
              <a:gd name="connsiteY1" fmla="*/ 2015156 h 2110523"/>
              <a:gd name="connsiteX2" fmla="*/ 230002 w 4461769"/>
              <a:gd name="connsiteY2" fmla="*/ 1858082 h 2110523"/>
              <a:gd name="connsiteX3" fmla="*/ 403906 w 4461769"/>
              <a:gd name="connsiteY3" fmla="*/ 1801983 h 2110523"/>
              <a:gd name="connsiteX4" fmla="*/ 460004 w 4461769"/>
              <a:gd name="connsiteY4" fmla="*/ 1717836 h 2110523"/>
              <a:gd name="connsiteX5" fmla="*/ 729276 w 4461769"/>
              <a:gd name="connsiteY5" fmla="*/ 1471004 h 2110523"/>
              <a:gd name="connsiteX6" fmla="*/ 835862 w 4461769"/>
              <a:gd name="connsiteY6" fmla="*/ 1313929 h 2110523"/>
              <a:gd name="connsiteX7" fmla="*/ 1138792 w 4461769"/>
              <a:gd name="connsiteY7" fmla="*/ 1274661 h 2110523"/>
              <a:gd name="connsiteX8" fmla="*/ 1284647 w 4461769"/>
              <a:gd name="connsiteY8" fmla="*/ 1269051 h 2110523"/>
              <a:gd name="connsiteX9" fmla="*/ 1363185 w 4461769"/>
              <a:gd name="connsiteY9" fmla="*/ 1207343 h 2110523"/>
              <a:gd name="connsiteX10" fmla="*/ 1514650 w 4461769"/>
              <a:gd name="connsiteY10" fmla="*/ 1201733 h 2110523"/>
              <a:gd name="connsiteX11" fmla="*/ 1739042 w 4461769"/>
              <a:gd name="connsiteY11" fmla="*/ 1078317 h 2110523"/>
              <a:gd name="connsiteX12" fmla="*/ 1963435 w 4461769"/>
              <a:gd name="connsiteY12" fmla="*/ 803436 h 2110523"/>
              <a:gd name="connsiteX13" fmla="*/ 2013923 w 4461769"/>
              <a:gd name="connsiteY13" fmla="*/ 764168 h 2110523"/>
              <a:gd name="connsiteX14" fmla="*/ 2036363 w 4461769"/>
              <a:gd name="connsiteY14" fmla="*/ 651971 h 2110523"/>
              <a:gd name="connsiteX15" fmla="*/ 2176608 w 4461769"/>
              <a:gd name="connsiteY15" fmla="*/ 545385 h 2110523"/>
              <a:gd name="connsiteX16" fmla="*/ 2210267 w 4461769"/>
              <a:gd name="connsiteY16" fmla="*/ 506116 h 2110523"/>
              <a:gd name="connsiteX17" fmla="*/ 2199047 w 4461769"/>
              <a:gd name="connsiteY17" fmla="*/ 416359 h 2110523"/>
              <a:gd name="connsiteX18" fmla="*/ 2221487 w 4461769"/>
              <a:gd name="connsiteY18" fmla="*/ 326602 h 2110523"/>
              <a:gd name="connsiteX19" fmla="*/ 2232706 w 4461769"/>
              <a:gd name="connsiteY19" fmla="*/ 259284 h 2110523"/>
              <a:gd name="connsiteX20" fmla="*/ 2266365 w 4461769"/>
              <a:gd name="connsiteY20" fmla="*/ 231235 h 2110523"/>
              <a:gd name="connsiteX21" fmla="*/ 2384171 w 4461769"/>
              <a:gd name="connsiteY21" fmla="*/ 214406 h 2110523"/>
              <a:gd name="connsiteX22" fmla="*/ 2440269 w 4461769"/>
              <a:gd name="connsiteY22" fmla="*/ 186356 h 2110523"/>
              <a:gd name="connsiteX23" fmla="*/ 2462709 w 4461769"/>
              <a:gd name="connsiteY23" fmla="*/ 158307 h 2110523"/>
              <a:gd name="connsiteX24" fmla="*/ 2479538 w 4461769"/>
              <a:gd name="connsiteY24" fmla="*/ 68550 h 2110523"/>
              <a:gd name="connsiteX25" fmla="*/ 2490758 w 4461769"/>
              <a:gd name="connsiteY25" fmla="*/ 23672 h 2110523"/>
              <a:gd name="connsiteX26" fmla="*/ 2546856 w 4461769"/>
              <a:gd name="connsiteY26" fmla="*/ 6842 h 2110523"/>
              <a:gd name="connsiteX27" fmla="*/ 2636613 w 4461769"/>
              <a:gd name="connsiteY27" fmla="*/ 1233 h 2110523"/>
              <a:gd name="connsiteX28" fmla="*/ 2687101 w 4461769"/>
              <a:gd name="connsiteY28" fmla="*/ 29282 h 2110523"/>
              <a:gd name="connsiteX29" fmla="*/ 2743200 w 4461769"/>
              <a:gd name="connsiteY29" fmla="*/ 163917 h 2110523"/>
              <a:gd name="connsiteX30" fmla="*/ 2782468 w 4461769"/>
              <a:gd name="connsiteY30" fmla="*/ 309772 h 2110523"/>
              <a:gd name="connsiteX31" fmla="*/ 2788078 w 4461769"/>
              <a:gd name="connsiteY31" fmla="*/ 377090 h 2110523"/>
              <a:gd name="connsiteX32" fmla="*/ 2816127 w 4461769"/>
              <a:gd name="connsiteY32" fmla="*/ 405139 h 2110523"/>
              <a:gd name="connsiteX33" fmla="*/ 2922714 w 4461769"/>
              <a:gd name="connsiteY33" fmla="*/ 461237 h 2110523"/>
              <a:gd name="connsiteX34" fmla="*/ 2956373 w 4461769"/>
              <a:gd name="connsiteY34" fmla="*/ 517336 h 2110523"/>
              <a:gd name="connsiteX35" fmla="*/ 3135887 w 4461769"/>
              <a:gd name="connsiteY35" fmla="*/ 562214 h 2110523"/>
              <a:gd name="connsiteX36" fmla="*/ 3276132 w 4461769"/>
              <a:gd name="connsiteY36" fmla="*/ 556604 h 2110523"/>
              <a:gd name="connsiteX37" fmla="*/ 3876382 w 4461769"/>
              <a:gd name="connsiteY37" fmla="*/ 337822 h 2110523"/>
              <a:gd name="connsiteX38" fmla="*/ 3993769 w 4461769"/>
              <a:gd name="connsiteY38" fmla="*/ 326286 h 2110523"/>
              <a:gd name="connsiteX39" fmla="*/ 4050334 w 4461769"/>
              <a:gd name="connsiteY39" fmla="*/ 374523 h 2110523"/>
              <a:gd name="connsiteX40" fmla="*/ 4156873 w 4461769"/>
              <a:gd name="connsiteY40" fmla="*/ 382700 h 2110523"/>
              <a:gd name="connsiteX41" fmla="*/ 4368049 w 4461769"/>
              <a:gd name="connsiteY41" fmla="*/ 391646 h 2110523"/>
              <a:gd name="connsiteX42" fmla="*/ 4461769 w 4461769"/>
              <a:gd name="connsiteY42" fmla="*/ 441693 h 2110523"/>
              <a:gd name="connsiteX0" fmla="*/ 0 w 4461769"/>
              <a:gd name="connsiteY0" fmla="*/ 2110523 h 2110523"/>
              <a:gd name="connsiteX1" fmla="*/ 151465 w 4461769"/>
              <a:gd name="connsiteY1" fmla="*/ 2015156 h 2110523"/>
              <a:gd name="connsiteX2" fmla="*/ 230002 w 4461769"/>
              <a:gd name="connsiteY2" fmla="*/ 1858082 h 2110523"/>
              <a:gd name="connsiteX3" fmla="*/ 403906 w 4461769"/>
              <a:gd name="connsiteY3" fmla="*/ 1801983 h 2110523"/>
              <a:gd name="connsiteX4" fmla="*/ 460004 w 4461769"/>
              <a:gd name="connsiteY4" fmla="*/ 1717836 h 2110523"/>
              <a:gd name="connsiteX5" fmla="*/ 729276 w 4461769"/>
              <a:gd name="connsiteY5" fmla="*/ 1471004 h 2110523"/>
              <a:gd name="connsiteX6" fmla="*/ 835862 w 4461769"/>
              <a:gd name="connsiteY6" fmla="*/ 1313929 h 2110523"/>
              <a:gd name="connsiteX7" fmla="*/ 1138792 w 4461769"/>
              <a:gd name="connsiteY7" fmla="*/ 1274661 h 2110523"/>
              <a:gd name="connsiteX8" fmla="*/ 1284647 w 4461769"/>
              <a:gd name="connsiteY8" fmla="*/ 1269051 h 2110523"/>
              <a:gd name="connsiteX9" fmla="*/ 1363185 w 4461769"/>
              <a:gd name="connsiteY9" fmla="*/ 1207343 h 2110523"/>
              <a:gd name="connsiteX10" fmla="*/ 1514650 w 4461769"/>
              <a:gd name="connsiteY10" fmla="*/ 1201733 h 2110523"/>
              <a:gd name="connsiteX11" fmla="*/ 1739042 w 4461769"/>
              <a:gd name="connsiteY11" fmla="*/ 1078317 h 2110523"/>
              <a:gd name="connsiteX12" fmla="*/ 1963435 w 4461769"/>
              <a:gd name="connsiteY12" fmla="*/ 803436 h 2110523"/>
              <a:gd name="connsiteX13" fmla="*/ 2013923 w 4461769"/>
              <a:gd name="connsiteY13" fmla="*/ 764168 h 2110523"/>
              <a:gd name="connsiteX14" fmla="*/ 2036363 w 4461769"/>
              <a:gd name="connsiteY14" fmla="*/ 651971 h 2110523"/>
              <a:gd name="connsiteX15" fmla="*/ 2176608 w 4461769"/>
              <a:gd name="connsiteY15" fmla="*/ 545385 h 2110523"/>
              <a:gd name="connsiteX16" fmla="*/ 2210267 w 4461769"/>
              <a:gd name="connsiteY16" fmla="*/ 506116 h 2110523"/>
              <a:gd name="connsiteX17" fmla="*/ 2199047 w 4461769"/>
              <a:gd name="connsiteY17" fmla="*/ 416359 h 2110523"/>
              <a:gd name="connsiteX18" fmla="*/ 2221487 w 4461769"/>
              <a:gd name="connsiteY18" fmla="*/ 326602 h 2110523"/>
              <a:gd name="connsiteX19" fmla="*/ 2232706 w 4461769"/>
              <a:gd name="connsiteY19" fmla="*/ 259284 h 2110523"/>
              <a:gd name="connsiteX20" fmla="*/ 2266365 w 4461769"/>
              <a:gd name="connsiteY20" fmla="*/ 231235 h 2110523"/>
              <a:gd name="connsiteX21" fmla="*/ 2384171 w 4461769"/>
              <a:gd name="connsiteY21" fmla="*/ 214406 h 2110523"/>
              <a:gd name="connsiteX22" fmla="*/ 2440269 w 4461769"/>
              <a:gd name="connsiteY22" fmla="*/ 186356 h 2110523"/>
              <a:gd name="connsiteX23" fmla="*/ 2462709 w 4461769"/>
              <a:gd name="connsiteY23" fmla="*/ 158307 h 2110523"/>
              <a:gd name="connsiteX24" fmla="*/ 2479538 w 4461769"/>
              <a:gd name="connsiteY24" fmla="*/ 68550 h 2110523"/>
              <a:gd name="connsiteX25" fmla="*/ 2490758 w 4461769"/>
              <a:gd name="connsiteY25" fmla="*/ 23672 h 2110523"/>
              <a:gd name="connsiteX26" fmla="*/ 2546856 w 4461769"/>
              <a:gd name="connsiteY26" fmla="*/ 6842 h 2110523"/>
              <a:gd name="connsiteX27" fmla="*/ 2636613 w 4461769"/>
              <a:gd name="connsiteY27" fmla="*/ 1233 h 2110523"/>
              <a:gd name="connsiteX28" fmla="*/ 2687101 w 4461769"/>
              <a:gd name="connsiteY28" fmla="*/ 29282 h 2110523"/>
              <a:gd name="connsiteX29" fmla="*/ 2743200 w 4461769"/>
              <a:gd name="connsiteY29" fmla="*/ 163917 h 2110523"/>
              <a:gd name="connsiteX30" fmla="*/ 2782468 w 4461769"/>
              <a:gd name="connsiteY30" fmla="*/ 309772 h 2110523"/>
              <a:gd name="connsiteX31" fmla="*/ 2788078 w 4461769"/>
              <a:gd name="connsiteY31" fmla="*/ 377090 h 2110523"/>
              <a:gd name="connsiteX32" fmla="*/ 2816127 w 4461769"/>
              <a:gd name="connsiteY32" fmla="*/ 405139 h 2110523"/>
              <a:gd name="connsiteX33" fmla="*/ 2922714 w 4461769"/>
              <a:gd name="connsiteY33" fmla="*/ 461237 h 2110523"/>
              <a:gd name="connsiteX34" fmla="*/ 2956373 w 4461769"/>
              <a:gd name="connsiteY34" fmla="*/ 517336 h 2110523"/>
              <a:gd name="connsiteX35" fmla="*/ 3135887 w 4461769"/>
              <a:gd name="connsiteY35" fmla="*/ 562214 h 2110523"/>
              <a:gd name="connsiteX36" fmla="*/ 3276132 w 4461769"/>
              <a:gd name="connsiteY36" fmla="*/ 556604 h 2110523"/>
              <a:gd name="connsiteX37" fmla="*/ 3876382 w 4461769"/>
              <a:gd name="connsiteY37" fmla="*/ 337822 h 2110523"/>
              <a:gd name="connsiteX38" fmla="*/ 3993769 w 4461769"/>
              <a:gd name="connsiteY38" fmla="*/ 326286 h 2110523"/>
              <a:gd name="connsiteX39" fmla="*/ 4050334 w 4461769"/>
              <a:gd name="connsiteY39" fmla="*/ 371098 h 2110523"/>
              <a:gd name="connsiteX40" fmla="*/ 4156873 w 4461769"/>
              <a:gd name="connsiteY40" fmla="*/ 382700 h 2110523"/>
              <a:gd name="connsiteX41" fmla="*/ 4368049 w 4461769"/>
              <a:gd name="connsiteY41" fmla="*/ 391646 h 2110523"/>
              <a:gd name="connsiteX42" fmla="*/ 4461769 w 4461769"/>
              <a:gd name="connsiteY42" fmla="*/ 441693 h 2110523"/>
              <a:gd name="connsiteX0" fmla="*/ 0 w 4461769"/>
              <a:gd name="connsiteY0" fmla="*/ 2110523 h 2110523"/>
              <a:gd name="connsiteX1" fmla="*/ 151465 w 4461769"/>
              <a:gd name="connsiteY1" fmla="*/ 2015156 h 2110523"/>
              <a:gd name="connsiteX2" fmla="*/ 230002 w 4461769"/>
              <a:gd name="connsiteY2" fmla="*/ 1858082 h 2110523"/>
              <a:gd name="connsiteX3" fmla="*/ 403906 w 4461769"/>
              <a:gd name="connsiteY3" fmla="*/ 1801983 h 2110523"/>
              <a:gd name="connsiteX4" fmla="*/ 460004 w 4461769"/>
              <a:gd name="connsiteY4" fmla="*/ 1717836 h 2110523"/>
              <a:gd name="connsiteX5" fmla="*/ 729276 w 4461769"/>
              <a:gd name="connsiteY5" fmla="*/ 1471004 h 2110523"/>
              <a:gd name="connsiteX6" fmla="*/ 835862 w 4461769"/>
              <a:gd name="connsiteY6" fmla="*/ 1313929 h 2110523"/>
              <a:gd name="connsiteX7" fmla="*/ 1138792 w 4461769"/>
              <a:gd name="connsiteY7" fmla="*/ 1274661 h 2110523"/>
              <a:gd name="connsiteX8" fmla="*/ 1284647 w 4461769"/>
              <a:gd name="connsiteY8" fmla="*/ 1269051 h 2110523"/>
              <a:gd name="connsiteX9" fmla="*/ 1363185 w 4461769"/>
              <a:gd name="connsiteY9" fmla="*/ 1207343 h 2110523"/>
              <a:gd name="connsiteX10" fmla="*/ 1514650 w 4461769"/>
              <a:gd name="connsiteY10" fmla="*/ 1201733 h 2110523"/>
              <a:gd name="connsiteX11" fmla="*/ 1739042 w 4461769"/>
              <a:gd name="connsiteY11" fmla="*/ 1078317 h 2110523"/>
              <a:gd name="connsiteX12" fmla="*/ 1963435 w 4461769"/>
              <a:gd name="connsiteY12" fmla="*/ 803436 h 2110523"/>
              <a:gd name="connsiteX13" fmla="*/ 2013923 w 4461769"/>
              <a:gd name="connsiteY13" fmla="*/ 764168 h 2110523"/>
              <a:gd name="connsiteX14" fmla="*/ 2036363 w 4461769"/>
              <a:gd name="connsiteY14" fmla="*/ 651971 h 2110523"/>
              <a:gd name="connsiteX15" fmla="*/ 2176608 w 4461769"/>
              <a:gd name="connsiteY15" fmla="*/ 545385 h 2110523"/>
              <a:gd name="connsiteX16" fmla="*/ 2210267 w 4461769"/>
              <a:gd name="connsiteY16" fmla="*/ 506116 h 2110523"/>
              <a:gd name="connsiteX17" fmla="*/ 2199047 w 4461769"/>
              <a:gd name="connsiteY17" fmla="*/ 416359 h 2110523"/>
              <a:gd name="connsiteX18" fmla="*/ 2221487 w 4461769"/>
              <a:gd name="connsiteY18" fmla="*/ 326602 h 2110523"/>
              <a:gd name="connsiteX19" fmla="*/ 2232706 w 4461769"/>
              <a:gd name="connsiteY19" fmla="*/ 259284 h 2110523"/>
              <a:gd name="connsiteX20" fmla="*/ 2266365 w 4461769"/>
              <a:gd name="connsiteY20" fmla="*/ 231235 h 2110523"/>
              <a:gd name="connsiteX21" fmla="*/ 2384171 w 4461769"/>
              <a:gd name="connsiteY21" fmla="*/ 214406 h 2110523"/>
              <a:gd name="connsiteX22" fmla="*/ 2440269 w 4461769"/>
              <a:gd name="connsiteY22" fmla="*/ 186356 h 2110523"/>
              <a:gd name="connsiteX23" fmla="*/ 2462709 w 4461769"/>
              <a:gd name="connsiteY23" fmla="*/ 158307 h 2110523"/>
              <a:gd name="connsiteX24" fmla="*/ 2479538 w 4461769"/>
              <a:gd name="connsiteY24" fmla="*/ 68550 h 2110523"/>
              <a:gd name="connsiteX25" fmla="*/ 2490758 w 4461769"/>
              <a:gd name="connsiteY25" fmla="*/ 23672 h 2110523"/>
              <a:gd name="connsiteX26" fmla="*/ 2546856 w 4461769"/>
              <a:gd name="connsiteY26" fmla="*/ 6842 h 2110523"/>
              <a:gd name="connsiteX27" fmla="*/ 2636613 w 4461769"/>
              <a:gd name="connsiteY27" fmla="*/ 1233 h 2110523"/>
              <a:gd name="connsiteX28" fmla="*/ 2687101 w 4461769"/>
              <a:gd name="connsiteY28" fmla="*/ 29282 h 2110523"/>
              <a:gd name="connsiteX29" fmla="*/ 2743200 w 4461769"/>
              <a:gd name="connsiteY29" fmla="*/ 163917 h 2110523"/>
              <a:gd name="connsiteX30" fmla="*/ 2782468 w 4461769"/>
              <a:gd name="connsiteY30" fmla="*/ 309772 h 2110523"/>
              <a:gd name="connsiteX31" fmla="*/ 2788078 w 4461769"/>
              <a:gd name="connsiteY31" fmla="*/ 377090 h 2110523"/>
              <a:gd name="connsiteX32" fmla="*/ 2816127 w 4461769"/>
              <a:gd name="connsiteY32" fmla="*/ 405139 h 2110523"/>
              <a:gd name="connsiteX33" fmla="*/ 2922714 w 4461769"/>
              <a:gd name="connsiteY33" fmla="*/ 461237 h 2110523"/>
              <a:gd name="connsiteX34" fmla="*/ 2956373 w 4461769"/>
              <a:gd name="connsiteY34" fmla="*/ 517336 h 2110523"/>
              <a:gd name="connsiteX35" fmla="*/ 3135887 w 4461769"/>
              <a:gd name="connsiteY35" fmla="*/ 562214 h 2110523"/>
              <a:gd name="connsiteX36" fmla="*/ 3276132 w 4461769"/>
              <a:gd name="connsiteY36" fmla="*/ 556604 h 2110523"/>
              <a:gd name="connsiteX37" fmla="*/ 3876382 w 4461769"/>
              <a:gd name="connsiteY37" fmla="*/ 337822 h 2110523"/>
              <a:gd name="connsiteX38" fmla="*/ 3993769 w 4461769"/>
              <a:gd name="connsiteY38" fmla="*/ 339985 h 2110523"/>
              <a:gd name="connsiteX39" fmla="*/ 4050334 w 4461769"/>
              <a:gd name="connsiteY39" fmla="*/ 371098 h 2110523"/>
              <a:gd name="connsiteX40" fmla="*/ 4156873 w 4461769"/>
              <a:gd name="connsiteY40" fmla="*/ 382700 h 2110523"/>
              <a:gd name="connsiteX41" fmla="*/ 4368049 w 4461769"/>
              <a:gd name="connsiteY41" fmla="*/ 391646 h 2110523"/>
              <a:gd name="connsiteX42" fmla="*/ 4461769 w 4461769"/>
              <a:gd name="connsiteY42" fmla="*/ 441693 h 2110523"/>
              <a:gd name="connsiteX0" fmla="*/ 0 w 4461769"/>
              <a:gd name="connsiteY0" fmla="*/ 2110523 h 2110523"/>
              <a:gd name="connsiteX1" fmla="*/ 151465 w 4461769"/>
              <a:gd name="connsiteY1" fmla="*/ 2015156 h 2110523"/>
              <a:gd name="connsiteX2" fmla="*/ 230002 w 4461769"/>
              <a:gd name="connsiteY2" fmla="*/ 1858082 h 2110523"/>
              <a:gd name="connsiteX3" fmla="*/ 403906 w 4461769"/>
              <a:gd name="connsiteY3" fmla="*/ 1801983 h 2110523"/>
              <a:gd name="connsiteX4" fmla="*/ 460004 w 4461769"/>
              <a:gd name="connsiteY4" fmla="*/ 1717836 h 2110523"/>
              <a:gd name="connsiteX5" fmla="*/ 729276 w 4461769"/>
              <a:gd name="connsiteY5" fmla="*/ 1471004 h 2110523"/>
              <a:gd name="connsiteX6" fmla="*/ 835862 w 4461769"/>
              <a:gd name="connsiteY6" fmla="*/ 1313929 h 2110523"/>
              <a:gd name="connsiteX7" fmla="*/ 1138792 w 4461769"/>
              <a:gd name="connsiteY7" fmla="*/ 1274661 h 2110523"/>
              <a:gd name="connsiteX8" fmla="*/ 1284647 w 4461769"/>
              <a:gd name="connsiteY8" fmla="*/ 1269051 h 2110523"/>
              <a:gd name="connsiteX9" fmla="*/ 1363185 w 4461769"/>
              <a:gd name="connsiteY9" fmla="*/ 1207343 h 2110523"/>
              <a:gd name="connsiteX10" fmla="*/ 1514650 w 4461769"/>
              <a:gd name="connsiteY10" fmla="*/ 1201733 h 2110523"/>
              <a:gd name="connsiteX11" fmla="*/ 1739042 w 4461769"/>
              <a:gd name="connsiteY11" fmla="*/ 1078317 h 2110523"/>
              <a:gd name="connsiteX12" fmla="*/ 1963435 w 4461769"/>
              <a:gd name="connsiteY12" fmla="*/ 803436 h 2110523"/>
              <a:gd name="connsiteX13" fmla="*/ 2013923 w 4461769"/>
              <a:gd name="connsiteY13" fmla="*/ 764168 h 2110523"/>
              <a:gd name="connsiteX14" fmla="*/ 2036363 w 4461769"/>
              <a:gd name="connsiteY14" fmla="*/ 651971 h 2110523"/>
              <a:gd name="connsiteX15" fmla="*/ 2176608 w 4461769"/>
              <a:gd name="connsiteY15" fmla="*/ 545385 h 2110523"/>
              <a:gd name="connsiteX16" fmla="*/ 2210267 w 4461769"/>
              <a:gd name="connsiteY16" fmla="*/ 506116 h 2110523"/>
              <a:gd name="connsiteX17" fmla="*/ 2199047 w 4461769"/>
              <a:gd name="connsiteY17" fmla="*/ 416359 h 2110523"/>
              <a:gd name="connsiteX18" fmla="*/ 2221487 w 4461769"/>
              <a:gd name="connsiteY18" fmla="*/ 326602 h 2110523"/>
              <a:gd name="connsiteX19" fmla="*/ 2232706 w 4461769"/>
              <a:gd name="connsiteY19" fmla="*/ 259284 h 2110523"/>
              <a:gd name="connsiteX20" fmla="*/ 2266365 w 4461769"/>
              <a:gd name="connsiteY20" fmla="*/ 231235 h 2110523"/>
              <a:gd name="connsiteX21" fmla="*/ 2384171 w 4461769"/>
              <a:gd name="connsiteY21" fmla="*/ 214406 h 2110523"/>
              <a:gd name="connsiteX22" fmla="*/ 2440269 w 4461769"/>
              <a:gd name="connsiteY22" fmla="*/ 186356 h 2110523"/>
              <a:gd name="connsiteX23" fmla="*/ 2462709 w 4461769"/>
              <a:gd name="connsiteY23" fmla="*/ 158307 h 2110523"/>
              <a:gd name="connsiteX24" fmla="*/ 2479538 w 4461769"/>
              <a:gd name="connsiteY24" fmla="*/ 68550 h 2110523"/>
              <a:gd name="connsiteX25" fmla="*/ 2490758 w 4461769"/>
              <a:gd name="connsiteY25" fmla="*/ 23672 h 2110523"/>
              <a:gd name="connsiteX26" fmla="*/ 2546856 w 4461769"/>
              <a:gd name="connsiteY26" fmla="*/ 6842 h 2110523"/>
              <a:gd name="connsiteX27" fmla="*/ 2636613 w 4461769"/>
              <a:gd name="connsiteY27" fmla="*/ 1233 h 2110523"/>
              <a:gd name="connsiteX28" fmla="*/ 2687101 w 4461769"/>
              <a:gd name="connsiteY28" fmla="*/ 29282 h 2110523"/>
              <a:gd name="connsiteX29" fmla="*/ 2743200 w 4461769"/>
              <a:gd name="connsiteY29" fmla="*/ 163917 h 2110523"/>
              <a:gd name="connsiteX30" fmla="*/ 2782468 w 4461769"/>
              <a:gd name="connsiteY30" fmla="*/ 309772 h 2110523"/>
              <a:gd name="connsiteX31" fmla="*/ 2788078 w 4461769"/>
              <a:gd name="connsiteY31" fmla="*/ 377090 h 2110523"/>
              <a:gd name="connsiteX32" fmla="*/ 2816127 w 4461769"/>
              <a:gd name="connsiteY32" fmla="*/ 405139 h 2110523"/>
              <a:gd name="connsiteX33" fmla="*/ 2922714 w 4461769"/>
              <a:gd name="connsiteY33" fmla="*/ 461237 h 2110523"/>
              <a:gd name="connsiteX34" fmla="*/ 2956373 w 4461769"/>
              <a:gd name="connsiteY34" fmla="*/ 517336 h 2110523"/>
              <a:gd name="connsiteX35" fmla="*/ 3135887 w 4461769"/>
              <a:gd name="connsiteY35" fmla="*/ 562214 h 2110523"/>
              <a:gd name="connsiteX36" fmla="*/ 3276132 w 4461769"/>
              <a:gd name="connsiteY36" fmla="*/ 556604 h 2110523"/>
              <a:gd name="connsiteX37" fmla="*/ 3890080 w 4461769"/>
              <a:gd name="connsiteY37" fmla="*/ 344672 h 2110523"/>
              <a:gd name="connsiteX38" fmla="*/ 3993769 w 4461769"/>
              <a:gd name="connsiteY38" fmla="*/ 339985 h 2110523"/>
              <a:gd name="connsiteX39" fmla="*/ 4050334 w 4461769"/>
              <a:gd name="connsiteY39" fmla="*/ 371098 h 2110523"/>
              <a:gd name="connsiteX40" fmla="*/ 4156873 w 4461769"/>
              <a:gd name="connsiteY40" fmla="*/ 382700 h 2110523"/>
              <a:gd name="connsiteX41" fmla="*/ 4368049 w 4461769"/>
              <a:gd name="connsiteY41" fmla="*/ 391646 h 2110523"/>
              <a:gd name="connsiteX42" fmla="*/ 4461769 w 4461769"/>
              <a:gd name="connsiteY42" fmla="*/ 441693 h 2110523"/>
              <a:gd name="connsiteX0" fmla="*/ 0 w 4461769"/>
              <a:gd name="connsiteY0" fmla="*/ 2110523 h 2110523"/>
              <a:gd name="connsiteX1" fmla="*/ 151465 w 4461769"/>
              <a:gd name="connsiteY1" fmla="*/ 2015156 h 2110523"/>
              <a:gd name="connsiteX2" fmla="*/ 230002 w 4461769"/>
              <a:gd name="connsiteY2" fmla="*/ 1858082 h 2110523"/>
              <a:gd name="connsiteX3" fmla="*/ 403906 w 4461769"/>
              <a:gd name="connsiteY3" fmla="*/ 1801983 h 2110523"/>
              <a:gd name="connsiteX4" fmla="*/ 460004 w 4461769"/>
              <a:gd name="connsiteY4" fmla="*/ 1717836 h 2110523"/>
              <a:gd name="connsiteX5" fmla="*/ 729276 w 4461769"/>
              <a:gd name="connsiteY5" fmla="*/ 1471004 h 2110523"/>
              <a:gd name="connsiteX6" fmla="*/ 835862 w 4461769"/>
              <a:gd name="connsiteY6" fmla="*/ 1313929 h 2110523"/>
              <a:gd name="connsiteX7" fmla="*/ 1138792 w 4461769"/>
              <a:gd name="connsiteY7" fmla="*/ 1274661 h 2110523"/>
              <a:gd name="connsiteX8" fmla="*/ 1284647 w 4461769"/>
              <a:gd name="connsiteY8" fmla="*/ 1269051 h 2110523"/>
              <a:gd name="connsiteX9" fmla="*/ 1363185 w 4461769"/>
              <a:gd name="connsiteY9" fmla="*/ 1207343 h 2110523"/>
              <a:gd name="connsiteX10" fmla="*/ 1514650 w 4461769"/>
              <a:gd name="connsiteY10" fmla="*/ 1201733 h 2110523"/>
              <a:gd name="connsiteX11" fmla="*/ 1739042 w 4461769"/>
              <a:gd name="connsiteY11" fmla="*/ 1078317 h 2110523"/>
              <a:gd name="connsiteX12" fmla="*/ 1963435 w 4461769"/>
              <a:gd name="connsiteY12" fmla="*/ 803436 h 2110523"/>
              <a:gd name="connsiteX13" fmla="*/ 2013923 w 4461769"/>
              <a:gd name="connsiteY13" fmla="*/ 764168 h 2110523"/>
              <a:gd name="connsiteX14" fmla="*/ 2036363 w 4461769"/>
              <a:gd name="connsiteY14" fmla="*/ 651971 h 2110523"/>
              <a:gd name="connsiteX15" fmla="*/ 2176608 w 4461769"/>
              <a:gd name="connsiteY15" fmla="*/ 545385 h 2110523"/>
              <a:gd name="connsiteX16" fmla="*/ 2210267 w 4461769"/>
              <a:gd name="connsiteY16" fmla="*/ 506116 h 2110523"/>
              <a:gd name="connsiteX17" fmla="*/ 2199047 w 4461769"/>
              <a:gd name="connsiteY17" fmla="*/ 416359 h 2110523"/>
              <a:gd name="connsiteX18" fmla="*/ 2221487 w 4461769"/>
              <a:gd name="connsiteY18" fmla="*/ 326602 h 2110523"/>
              <a:gd name="connsiteX19" fmla="*/ 2232706 w 4461769"/>
              <a:gd name="connsiteY19" fmla="*/ 259284 h 2110523"/>
              <a:gd name="connsiteX20" fmla="*/ 2266365 w 4461769"/>
              <a:gd name="connsiteY20" fmla="*/ 231235 h 2110523"/>
              <a:gd name="connsiteX21" fmla="*/ 2384171 w 4461769"/>
              <a:gd name="connsiteY21" fmla="*/ 214406 h 2110523"/>
              <a:gd name="connsiteX22" fmla="*/ 2440269 w 4461769"/>
              <a:gd name="connsiteY22" fmla="*/ 186356 h 2110523"/>
              <a:gd name="connsiteX23" fmla="*/ 2462709 w 4461769"/>
              <a:gd name="connsiteY23" fmla="*/ 158307 h 2110523"/>
              <a:gd name="connsiteX24" fmla="*/ 2479538 w 4461769"/>
              <a:gd name="connsiteY24" fmla="*/ 68550 h 2110523"/>
              <a:gd name="connsiteX25" fmla="*/ 2490758 w 4461769"/>
              <a:gd name="connsiteY25" fmla="*/ 23672 h 2110523"/>
              <a:gd name="connsiteX26" fmla="*/ 2546856 w 4461769"/>
              <a:gd name="connsiteY26" fmla="*/ 6842 h 2110523"/>
              <a:gd name="connsiteX27" fmla="*/ 2636613 w 4461769"/>
              <a:gd name="connsiteY27" fmla="*/ 1233 h 2110523"/>
              <a:gd name="connsiteX28" fmla="*/ 2687101 w 4461769"/>
              <a:gd name="connsiteY28" fmla="*/ 29282 h 2110523"/>
              <a:gd name="connsiteX29" fmla="*/ 2743200 w 4461769"/>
              <a:gd name="connsiteY29" fmla="*/ 163917 h 2110523"/>
              <a:gd name="connsiteX30" fmla="*/ 2782468 w 4461769"/>
              <a:gd name="connsiteY30" fmla="*/ 309772 h 2110523"/>
              <a:gd name="connsiteX31" fmla="*/ 2788078 w 4461769"/>
              <a:gd name="connsiteY31" fmla="*/ 377090 h 2110523"/>
              <a:gd name="connsiteX32" fmla="*/ 2816127 w 4461769"/>
              <a:gd name="connsiteY32" fmla="*/ 405139 h 2110523"/>
              <a:gd name="connsiteX33" fmla="*/ 2922714 w 4461769"/>
              <a:gd name="connsiteY33" fmla="*/ 461237 h 2110523"/>
              <a:gd name="connsiteX34" fmla="*/ 2956373 w 4461769"/>
              <a:gd name="connsiteY34" fmla="*/ 517336 h 2110523"/>
              <a:gd name="connsiteX35" fmla="*/ 3135887 w 4461769"/>
              <a:gd name="connsiteY35" fmla="*/ 562214 h 2110523"/>
              <a:gd name="connsiteX36" fmla="*/ 3276132 w 4461769"/>
              <a:gd name="connsiteY36" fmla="*/ 556604 h 2110523"/>
              <a:gd name="connsiteX37" fmla="*/ 3869532 w 4461769"/>
              <a:gd name="connsiteY37" fmla="*/ 344672 h 2110523"/>
              <a:gd name="connsiteX38" fmla="*/ 3993769 w 4461769"/>
              <a:gd name="connsiteY38" fmla="*/ 339985 h 2110523"/>
              <a:gd name="connsiteX39" fmla="*/ 4050334 w 4461769"/>
              <a:gd name="connsiteY39" fmla="*/ 371098 h 2110523"/>
              <a:gd name="connsiteX40" fmla="*/ 4156873 w 4461769"/>
              <a:gd name="connsiteY40" fmla="*/ 382700 h 2110523"/>
              <a:gd name="connsiteX41" fmla="*/ 4368049 w 4461769"/>
              <a:gd name="connsiteY41" fmla="*/ 391646 h 2110523"/>
              <a:gd name="connsiteX42" fmla="*/ 4461769 w 4461769"/>
              <a:gd name="connsiteY42" fmla="*/ 441693 h 2110523"/>
              <a:gd name="connsiteX0" fmla="*/ 0 w 4461769"/>
              <a:gd name="connsiteY0" fmla="*/ 2110523 h 2110523"/>
              <a:gd name="connsiteX1" fmla="*/ 151465 w 4461769"/>
              <a:gd name="connsiteY1" fmla="*/ 2015156 h 2110523"/>
              <a:gd name="connsiteX2" fmla="*/ 230002 w 4461769"/>
              <a:gd name="connsiteY2" fmla="*/ 1858082 h 2110523"/>
              <a:gd name="connsiteX3" fmla="*/ 403906 w 4461769"/>
              <a:gd name="connsiteY3" fmla="*/ 1801983 h 2110523"/>
              <a:gd name="connsiteX4" fmla="*/ 460004 w 4461769"/>
              <a:gd name="connsiteY4" fmla="*/ 1717836 h 2110523"/>
              <a:gd name="connsiteX5" fmla="*/ 729276 w 4461769"/>
              <a:gd name="connsiteY5" fmla="*/ 1471004 h 2110523"/>
              <a:gd name="connsiteX6" fmla="*/ 835862 w 4461769"/>
              <a:gd name="connsiteY6" fmla="*/ 1313929 h 2110523"/>
              <a:gd name="connsiteX7" fmla="*/ 1138792 w 4461769"/>
              <a:gd name="connsiteY7" fmla="*/ 1274661 h 2110523"/>
              <a:gd name="connsiteX8" fmla="*/ 1284647 w 4461769"/>
              <a:gd name="connsiteY8" fmla="*/ 1269051 h 2110523"/>
              <a:gd name="connsiteX9" fmla="*/ 1363185 w 4461769"/>
              <a:gd name="connsiteY9" fmla="*/ 1207343 h 2110523"/>
              <a:gd name="connsiteX10" fmla="*/ 1514650 w 4461769"/>
              <a:gd name="connsiteY10" fmla="*/ 1201733 h 2110523"/>
              <a:gd name="connsiteX11" fmla="*/ 1739042 w 4461769"/>
              <a:gd name="connsiteY11" fmla="*/ 1078317 h 2110523"/>
              <a:gd name="connsiteX12" fmla="*/ 1963435 w 4461769"/>
              <a:gd name="connsiteY12" fmla="*/ 803436 h 2110523"/>
              <a:gd name="connsiteX13" fmla="*/ 2013923 w 4461769"/>
              <a:gd name="connsiteY13" fmla="*/ 764168 h 2110523"/>
              <a:gd name="connsiteX14" fmla="*/ 2036363 w 4461769"/>
              <a:gd name="connsiteY14" fmla="*/ 651971 h 2110523"/>
              <a:gd name="connsiteX15" fmla="*/ 2176608 w 4461769"/>
              <a:gd name="connsiteY15" fmla="*/ 545385 h 2110523"/>
              <a:gd name="connsiteX16" fmla="*/ 2210267 w 4461769"/>
              <a:gd name="connsiteY16" fmla="*/ 506116 h 2110523"/>
              <a:gd name="connsiteX17" fmla="*/ 2199047 w 4461769"/>
              <a:gd name="connsiteY17" fmla="*/ 416359 h 2110523"/>
              <a:gd name="connsiteX18" fmla="*/ 2221487 w 4461769"/>
              <a:gd name="connsiteY18" fmla="*/ 326602 h 2110523"/>
              <a:gd name="connsiteX19" fmla="*/ 2232706 w 4461769"/>
              <a:gd name="connsiteY19" fmla="*/ 259284 h 2110523"/>
              <a:gd name="connsiteX20" fmla="*/ 2266365 w 4461769"/>
              <a:gd name="connsiteY20" fmla="*/ 231235 h 2110523"/>
              <a:gd name="connsiteX21" fmla="*/ 2384171 w 4461769"/>
              <a:gd name="connsiteY21" fmla="*/ 214406 h 2110523"/>
              <a:gd name="connsiteX22" fmla="*/ 2440269 w 4461769"/>
              <a:gd name="connsiteY22" fmla="*/ 186356 h 2110523"/>
              <a:gd name="connsiteX23" fmla="*/ 2462709 w 4461769"/>
              <a:gd name="connsiteY23" fmla="*/ 158307 h 2110523"/>
              <a:gd name="connsiteX24" fmla="*/ 2479538 w 4461769"/>
              <a:gd name="connsiteY24" fmla="*/ 68550 h 2110523"/>
              <a:gd name="connsiteX25" fmla="*/ 2490758 w 4461769"/>
              <a:gd name="connsiteY25" fmla="*/ 23672 h 2110523"/>
              <a:gd name="connsiteX26" fmla="*/ 2546856 w 4461769"/>
              <a:gd name="connsiteY26" fmla="*/ 6842 h 2110523"/>
              <a:gd name="connsiteX27" fmla="*/ 2636613 w 4461769"/>
              <a:gd name="connsiteY27" fmla="*/ 1233 h 2110523"/>
              <a:gd name="connsiteX28" fmla="*/ 2687101 w 4461769"/>
              <a:gd name="connsiteY28" fmla="*/ 29282 h 2110523"/>
              <a:gd name="connsiteX29" fmla="*/ 2743200 w 4461769"/>
              <a:gd name="connsiteY29" fmla="*/ 163917 h 2110523"/>
              <a:gd name="connsiteX30" fmla="*/ 2782468 w 4461769"/>
              <a:gd name="connsiteY30" fmla="*/ 309772 h 2110523"/>
              <a:gd name="connsiteX31" fmla="*/ 2788078 w 4461769"/>
              <a:gd name="connsiteY31" fmla="*/ 377090 h 2110523"/>
              <a:gd name="connsiteX32" fmla="*/ 2816127 w 4461769"/>
              <a:gd name="connsiteY32" fmla="*/ 405139 h 2110523"/>
              <a:gd name="connsiteX33" fmla="*/ 2922714 w 4461769"/>
              <a:gd name="connsiteY33" fmla="*/ 461237 h 2110523"/>
              <a:gd name="connsiteX34" fmla="*/ 2956373 w 4461769"/>
              <a:gd name="connsiteY34" fmla="*/ 517336 h 2110523"/>
              <a:gd name="connsiteX35" fmla="*/ 3135887 w 4461769"/>
              <a:gd name="connsiteY35" fmla="*/ 562214 h 2110523"/>
              <a:gd name="connsiteX36" fmla="*/ 3199233 w 4461769"/>
              <a:gd name="connsiteY36" fmla="*/ 566017 h 2110523"/>
              <a:gd name="connsiteX37" fmla="*/ 3276132 w 4461769"/>
              <a:gd name="connsiteY37" fmla="*/ 556604 h 2110523"/>
              <a:gd name="connsiteX38" fmla="*/ 3869532 w 4461769"/>
              <a:gd name="connsiteY38" fmla="*/ 344672 h 2110523"/>
              <a:gd name="connsiteX39" fmla="*/ 3993769 w 4461769"/>
              <a:gd name="connsiteY39" fmla="*/ 339985 h 2110523"/>
              <a:gd name="connsiteX40" fmla="*/ 4050334 w 4461769"/>
              <a:gd name="connsiteY40" fmla="*/ 371098 h 2110523"/>
              <a:gd name="connsiteX41" fmla="*/ 4156873 w 4461769"/>
              <a:gd name="connsiteY41" fmla="*/ 382700 h 2110523"/>
              <a:gd name="connsiteX42" fmla="*/ 4368049 w 4461769"/>
              <a:gd name="connsiteY42" fmla="*/ 391646 h 2110523"/>
              <a:gd name="connsiteX43" fmla="*/ 4461769 w 4461769"/>
              <a:gd name="connsiteY43" fmla="*/ 441693 h 2110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4461769" h="2110523">
                <a:moveTo>
                  <a:pt x="0" y="2110523"/>
                </a:moveTo>
                <a:cubicBezTo>
                  <a:pt x="56565" y="2083876"/>
                  <a:pt x="113131" y="2057229"/>
                  <a:pt x="151465" y="2015156"/>
                </a:cubicBezTo>
                <a:cubicBezTo>
                  <a:pt x="189799" y="1973083"/>
                  <a:pt x="187929" y="1893611"/>
                  <a:pt x="230002" y="1858082"/>
                </a:cubicBezTo>
                <a:cubicBezTo>
                  <a:pt x="272076" y="1822553"/>
                  <a:pt x="365572" y="1825357"/>
                  <a:pt x="403906" y="1801983"/>
                </a:cubicBezTo>
                <a:cubicBezTo>
                  <a:pt x="442240" y="1778609"/>
                  <a:pt x="405776" y="1772999"/>
                  <a:pt x="460004" y="1717836"/>
                </a:cubicBezTo>
                <a:cubicBezTo>
                  <a:pt x="514232" y="1662673"/>
                  <a:pt x="666633" y="1538322"/>
                  <a:pt x="729276" y="1471004"/>
                </a:cubicBezTo>
                <a:cubicBezTo>
                  <a:pt x="791919" y="1403686"/>
                  <a:pt x="767609" y="1346653"/>
                  <a:pt x="835862" y="1313929"/>
                </a:cubicBezTo>
                <a:cubicBezTo>
                  <a:pt x="904115" y="1281205"/>
                  <a:pt x="1063995" y="1282141"/>
                  <a:pt x="1138792" y="1274661"/>
                </a:cubicBezTo>
                <a:cubicBezTo>
                  <a:pt x="1213589" y="1267181"/>
                  <a:pt x="1247248" y="1280271"/>
                  <a:pt x="1284647" y="1269051"/>
                </a:cubicBezTo>
                <a:cubicBezTo>
                  <a:pt x="1322046" y="1257831"/>
                  <a:pt x="1324851" y="1218563"/>
                  <a:pt x="1363185" y="1207343"/>
                </a:cubicBezTo>
                <a:cubicBezTo>
                  <a:pt x="1401519" y="1196123"/>
                  <a:pt x="1452007" y="1223237"/>
                  <a:pt x="1514650" y="1201733"/>
                </a:cubicBezTo>
                <a:cubicBezTo>
                  <a:pt x="1577293" y="1180229"/>
                  <a:pt x="1664245" y="1144700"/>
                  <a:pt x="1739042" y="1078317"/>
                </a:cubicBezTo>
                <a:cubicBezTo>
                  <a:pt x="1813839" y="1011934"/>
                  <a:pt x="1917622" y="855794"/>
                  <a:pt x="1963435" y="803436"/>
                </a:cubicBezTo>
                <a:cubicBezTo>
                  <a:pt x="2009249" y="751078"/>
                  <a:pt x="2001768" y="789412"/>
                  <a:pt x="2013923" y="764168"/>
                </a:cubicBezTo>
                <a:cubicBezTo>
                  <a:pt x="2026078" y="738924"/>
                  <a:pt x="2009249" y="688435"/>
                  <a:pt x="2036363" y="651971"/>
                </a:cubicBezTo>
                <a:cubicBezTo>
                  <a:pt x="2063477" y="615507"/>
                  <a:pt x="2147624" y="569694"/>
                  <a:pt x="2176608" y="545385"/>
                </a:cubicBezTo>
                <a:cubicBezTo>
                  <a:pt x="2205592" y="521076"/>
                  <a:pt x="2206527" y="527620"/>
                  <a:pt x="2210267" y="506116"/>
                </a:cubicBezTo>
                <a:cubicBezTo>
                  <a:pt x="2214007" y="484612"/>
                  <a:pt x="2197177" y="446278"/>
                  <a:pt x="2199047" y="416359"/>
                </a:cubicBezTo>
                <a:cubicBezTo>
                  <a:pt x="2200917" y="386440"/>
                  <a:pt x="2215877" y="352781"/>
                  <a:pt x="2221487" y="326602"/>
                </a:cubicBezTo>
                <a:cubicBezTo>
                  <a:pt x="2227097" y="300423"/>
                  <a:pt x="2225226" y="275178"/>
                  <a:pt x="2232706" y="259284"/>
                </a:cubicBezTo>
                <a:cubicBezTo>
                  <a:pt x="2240186" y="243390"/>
                  <a:pt x="2241121" y="238715"/>
                  <a:pt x="2266365" y="231235"/>
                </a:cubicBezTo>
                <a:cubicBezTo>
                  <a:pt x="2291609" y="223755"/>
                  <a:pt x="2355187" y="221886"/>
                  <a:pt x="2384171" y="214406"/>
                </a:cubicBezTo>
                <a:cubicBezTo>
                  <a:pt x="2413155" y="206926"/>
                  <a:pt x="2427179" y="195706"/>
                  <a:pt x="2440269" y="186356"/>
                </a:cubicBezTo>
                <a:cubicBezTo>
                  <a:pt x="2453359" y="177006"/>
                  <a:pt x="2456164" y="177941"/>
                  <a:pt x="2462709" y="158307"/>
                </a:cubicBezTo>
                <a:cubicBezTo>
                  <a:pt x="2469254" y="138673"/>
                  <a:pt x="2474863" y="90989"/>
                  <a:pt x="2479538" y="68550"/>
                </a:cubicBezTo>
                <a:cubicBezTo>
                  <a:pt x="2484213" y="46111"/>
                  <a:pt x="2479538" y="33957"/>
                  <a:pt x="2490758" y="23672"/>
                </a:cubicBezTo>
                <a:cubicBezTo>
                  <a:pt x="2501978" y="13387"/>
                  <a:pt x="2522547" y="10582"/>
                  <a:pt x="2546856" y="6842"/>
                </a:cubicBezTo>
                <a:cubicBezTo>
                  <a:pt x="2571165" y="3102"/>
                  <a:pt x="2613239" y="-2507"/>
                  <a:pt x="2636613" y="1233"/>
                </a:cubicBezTo>
                <a:cubicBezTo>
                  <a:pt x="2659987" y="4973"/>
                  <a:pt x="2669336" y="2168"/>
                  <a:pt x="2687101" y="29282"/>
                </a:cubicBezTo>
                <a:cubicBezTo>
                  <a:pt x="2704866" y="56396"/>
                  <a:pt x="2727306" y="117169"/>
                  <a:pt x="2743200" y="163917"/>
                </a:cubicBezTo>
                <a:cubicBezTo>
                  <a:pt x="2759095" y="210665"/>
                  <a:pt x="2774988" y="274243"/>
                  <a:pt x="2782468" y="309772"/>
                </a:cubicBezTo>
                <a:cubicBezTo>
                  <a:pt x="2789948" y="345301"/>
                  <a:pt x="2782468" y="361195"/>
                  <a:pt x="2788078" y="377090"/>
                </a:cubicBezTo>
                <a:cubicBezTo>
                  <a:pt x="2793688" y="392984"/>
                  <a:pt x="2793688" y="391114"/>
                  <a:pt x="2816127" y="405139"/>
                </a:cubicBezTo>
                <a:cubicBezTo>
                  <a:pt x="2838566" y="419163"/>
                  <a:pt x="2899340" y="442538"/>
                  <a:pt x="2922714" y="461237"/>
                </a:cubicBezTo>
                <a:cubicBezTo>
                  <a:pt x="2946088" y="479936"/>
                  <a:pt x="2920844" y="500507"/>
                  <a:pt x="2956373" y="517336"/>
                </a:cubicBezTo>
                <a:cubicBezTo>
                  <a:pt x="2991902" y="534165"/>
                  <a:pt x="3095410" y="554101"/>
                  <a:pt x="3135887" y="562214"/>
                </a:cubicBezTo>
                <a:cubicBezTo>
                  <a:pt x="3176364" y="570327"/>
                  <a:pt x="3175859" y="566952"/>
                  <a:pt x="3199233" y="566017"/>
                </a:cubicBezTo>
                <a:cubicBezTo>
                  <a:pt x="3222607" y="565082"/>
                  <a:pt x="3164416" y="593495"/>
                  <a:pt x="3276132" y="556604"/>
                </a:cubicBezTo>
                <a:cubicBezTo>
                  <a:pt x="3387848" y="519713"/>
                  <a:pt x="3749926" y="380775"/>
                  <a:pt x="3869532" y="344672"/>
                </a:cubicBezTo>
                <a:cubicBezTo>
                  <a:pt x="3989138" y="308569"/>
                  <a:pt x="3964777" y="333868"/>
                  <a:pt x="3993769" y="339985"/>
                </a:cubicBezTo>
                <a:cubicBezTo>
                  <a:pt x="4012487" y="363226"/>
                  <a:pt x="4020296" y="363408"/>
                  <a:pt x="4050334" y="371098"/>
                </a:cubicBezTo>
                <a:cubicBezTo>
                  <a:pt x="4080372" y="378788"/>
                  <a:pt x="4103921" y="379275"/>
                  <a:pt x="4156873" y="382700"/>
                </a:cubicBezTo>
                <a:cubicBezTo>
                  <a:pt x="4209825" y="386125"/>
                  <a:pt x="4321079" y="401400"/>
                  <a:pt x="4368049" y="391646"/>
                </a:cubicBezTo>
                <a:cubicBezTo>
                  <a:pt x="4418444" y="402440"/>
                  <a:pt x="4435788" y="443626"/>
                  <a:pt x="4461769" y="441693"/>
                </a:cubicBezTo>
              </a:path>
            </a:pathLst>
          </a:custGeom>
          <a:noFill/>
          <a:ln w="38100">
            <a:solidFill>
              <a:srgbClr val="7DB354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олилиния 34">
            <a:extLst>
              <a:ext uri="{FF2B5EF4-FFF2-40B4-BE49-F238E27FC236}">
                <a16:creationId xmlns:a16="http://schemas.microsoft.com/office/drawing/2014/main" id="{AD07DD85-6E90-7F48-808F-4601A4A58013}"/>
              </a:ext>
            </a:extLst>
          </p:cNvPr>
          <p:cNvSpPr/>
          <p:nvPr/>
        </p:nvSpPr>
        <p:spPr>
          <a:xfrm>
            <a:off x="1242124" y="1455645"/>
            <a:ext cx="4542595" cy="3252106"/>
          </a:xfrm>
          <a:custGeom>
            <a:avLst/>
            <a:gdLst>
              <a:gd name="connsiteX0" fmla="*/ 0 w 4543951"/>
              <a:gd name="connsiteY0" fmla="*/ 0 h 3225644"/>
              <a:gd name="connsiteX1" fmla="*/ 785374 w 4543951"/>
              <a:gd name="connsiteY1" fmla="*/ 325369 h 3225644"/>
              <a:gd name="connsiteX2" fmla="*/ 1239769 w 4543951"/>
              <a:gd name="connsiteY2" fmla="*/ 678787 h 3225644"/>
              <a:gd name="connsiteX3" fmla="*/ 1671725 w 4543951"/>
              <a:gd name="connsiteY3" fmla="*/ 1020986 h 3225644"/>
              <a:gd name="connsiteX4" fmla="*/ 2081242 w 4543951"/>
              <a:gd name="connsiteY4" fmla="*/ 1469771 h 3225644"/>
              <a:gd name="connsiteX5" fmla="*/ 2356123 w 4543951"/>
              <a:gd name="connsiteY5" fmla="*/ 1632456 h 3225644"/>
              <a:gd name="connsiteX6" fmla="*/ 2496368 w 4543951"/>
              <a:gd name="connsiteY6" fmla="*/ 1727823 h 3225644"/>
              <a:gd name="connsiteX7" fmla="*/ 2580515 w 4543951"/>
              <a:gd name="connsiteY7" fmla="*/ 1901727 h 3225644"/>
              <a:gd name="connsiteX8" fmla="*/ 2743200 w 4543951"/>
              <a:gd name="connsiteY8" fmla="*/ 2058802 h 3225644"/>
              <a:gd name="connsiteX9" fmla="*/ 3113448 w 4543951"/>
              <a:gd name="connsiteY9" fmla="*/ 2294414 h 3225644"/>
              <a:gd name="connsiteX10" fmla="*/ 3421988 w 4543951"/>
              <a:gd name="connsiteY10" fmla="*/ 2574905 h 3225644"/>
              <a:gd name="connsiteX11" fmla="*/ 3522964 w 4543951"/>
              <a:gd name="connsiteY11" fmla="*/ 2670272 h 3225644"/>
              <a:gd name="connsiteX12" fmla="*/ 3696869 w 4543951"/>
              <a:gd name="connsiteY12" fmla="*/ 2748810 h 3225644"/>
              <a:gd name="connsiteX13" fmla="*/ 3837114 w 4543951"/>
              <a:gd name="connsiteY13" fmla="*/ 2788078 h 3225644"/>
              <a:gd name="connsiteX14" fmla="*/ 4190532 w 4543951"/>
              <a:gd name="connsiteY14" fmla="*/ 2984422 h 3225644"/>
              <a:gd name="connsiteX15" fmla="*/ 4543951 w 4543951"/>
              <a:gd name="connsiteY15" fmla="*/ 3225644 h 3225644"/>
              <a:gd name="connsiteX0" fmla="*/ 0 w 4897369"/>
              <a:gd name="connsiteY0" fmla="*/ 0 h 3489306"/>
              <a:gd name="connsiteX1" fmla="*/ 785374 w 4897369"/>
              <a:gd name="connsiteY1" fmla="*/ 325369 h 3489306"/>
              <a:gd name="connsiteX2" fmla="*/ 1239769 w 4897369"/>
              <a:gd name="connsiteY2" fmla="*/ 678787 h 3489306"/>
              <a:gd name="connsiteX3" fmla="*/ 1671725 w 4897369"/>
              <a:gd name="connsiteY3" fmla="*/ 1020986 h 3489306"/>
              <a:gd name="connsiteX4" fmla="*/ 2081242 w 4897369"/>
              <a:gd name="connsiteY4" fmla="*/ 1469771 h 3489306"/>
              <a:gd name="connsiteX5" fmla="*/ 2356123 w 4897369"/>
              <a:gd name="connsiteY5" fmla="*/ 1632456 h 3489306"/>
              <a:gd name="connsiteX6" fmla="*/ 2496368 w 4897369"/>
              <a:gd name="connsiteY6" fmla="*/ 1727823 h 3489306"/>
              <a:gd name="connsiteX7" fmla="*/ 2580515 w 4897369"/>
              <a:gd name="connsiteY7" fmla="*/ 1901727 h 3489306"/>
              <a:gd name="connsiteX8" fmla="*/ 2743200 w 4897369"/>
              <a:gd name="connsiteY8" fmla="*/ 2058802 h 3489306"/>
              <a:gd name="connsiteX9" fmla="*/ 3113448 w 4897369"/>
              <a:gd name="connsiteY9" fmla="*/ 2294414 h 3489306"/>
              <a:gd name="connsiteX10" fmla="*/ 3421988 w 4897369"/>
              <a:gd name="connsiteY10" fmla="*/ 2574905 h 3489306"/>
              <a:gd name="connsiteX11" fmla="*/ 3522964 w 4897369"/>
              <a:gd name="connsiteY11" fmla="*/ 2670272 h 3489306"/>
              <a:gd name="connsiteX12" fmla="*/ 3696869 w 4897369"/>
              <a:gd name="connsiteY12" fmla="*/ 2748810 h 3489306"/>
              <a:gd name="connsiteX13" fmla="*/ 3837114 w 4897369"/>
              <a:gd name="connsiteY13" fmla="*/ 2788078 h 3489306"/>
              <a:gd name="connsiteX14" fmla="*/ 4190532 w 4897369"/>
              <a:gd name="connsiteY14" fmla="*/ 2984422 h 3489306"/>
              <a:gd name="connsiteX15" fmla="*/ 4897369 w 4897369"/>
              <a:gd name="connsiteY15" fmla="*/ 3489306 h 3489306"/>
              <a:gd name="connsiteX0" fmla="*/ 0 w 4897369"/>
              <a:gd name="connsiteY0" fmla="*/ 0 h 3489306"/>
              <a:gd name="connsiteX1" fmla="*/ 785374 w 4897369"/>
              <a:gd name="connsiteY1" fmla="*/ 325369 h 3489306"/>
              <a:gd name="connsiteX2" fmla="*/ 1239769 w 4897369"/>
              <a:gd name="connsiteY2" fmla="*/ 678787 h 3489306"/>
              <a:gd name="connsiteX3" fmla="*/ 1671725 w 4897369"/>
              <a:gd name="connsiteY3" fmla="*/ 1020986 h 3489306"/>
              <a:gd name="connsiteX4" fmla="*/ 2081242 w 4897369"/>
              <a:gd name="connsiteY4" fmla="*/ 1469771 h 3489306"/>
              <a:gd name="connsiteX5" fmla="*/ 2356123 w 4897369"/>
              <a:gd name="connsiteY5" fmla="*/ 1632456 h 3489306"/>
              <a:gd name="connsiteX6" fmla="*/ 2496368 w 4897369"/>
              <a:gd name="connsiteY6" fmla="*/ 1727823 h 3489306"/>
              <a:gd name="connsiteX7" fmla="*/ 2524417 w 4897369"/>
              <a:gd name="connsiteY7" fmla="*/ 1907337 h 3489306"/>
              <a:gd name="connsiteX8" fmla="*/ 2743200 w 4897369"/>
              <a:gd name="connsiteY8" fmla="*/ 2058802 h 3489306"/>
              <a:gd name="connsiteX9" fmla="*/ 3113448 w 4897369"/>
              <a:gd name="connsiteY9" fmla="*/ 2294414 h 3489306"/>
              <a:gd name="connsiteX10" fmla="*/ 3421988 w 4897369"/>
              <a:gd name="connsiteY10" fmla="*/ 2574905 h 3489306"/>
              <a:gd name="connsiteX11" fmla="*/ 3522964 w 4897369"/>
              <a:gd name="connsiteY11" fmla="*/ 2670272 h 3489306"/>
              <a:gd name="connsiteX12" fmla="*/ 3696869 w 4897369"/>
              <a:gd name="connsiteY12" fmla="*/ 2748810 h 3489306"/>
              <a:gd name="connsiteX13" fmla="*/ 3837114 w 4897369"/>
              <a:gd name="connsiteY13" fmla="*/ 2788078 h 3489306"/>
              <a:gd name="connsiteX14" fmla="*/ 4190532 w 4897369"/>
              <a:gd name="connsiteY14" fmla="*/ 2984422 h 3489306"/>
              <a:gd name="connsiteX15" fmla="*/ 4897369 w 4897369"/>
              <a:gd name="connsiteY15" fmla="*/ 3489306 h 3489306"/>
              <a:gd name="connsiteX0" fmla="*/ 0 w 4897369"/>
              <a:gd name="connsiteY0" fmla="*/ 0 h 3489306"/>
              <a:gd name="connsiteX1" fmla="*/ 785374 w 4897369"/>
              <a:gd name="connsiteY1" fmla="*/ 325369 h 3489306"/>
              <a:gd name="connsiteX2" fmla="*/ 1239769 w 4897369"/>
              <a:gd name="connsiteY2" fmla="*/ 678787 h 3489306"/>
              <a:gd name="connsiteX3" fmla="*/ 1671725 w 4897369"/>
              <a:gd name="connsiteY3" fmla="*/ 1020986 h 3489306"/>
              <a:gd name="connsiteX4" fmla="*/ 2081242 w 4897369"/>
              <a:gd name="connsiteY4" fmla="*/ 1469771 h 3489306"/>
              <a:gd name="connsiteX5" fmla="*/ 2356123 w 4897369"/>
              <a:gd name="connsiteY5" fmla="*/ 1632456 h 3489306"/>
              <a:gd name="connsiteX6" fmla="*/ 2445880 w 4897369"/>
              <a:gd name="connsiteY6" fmla="*/ 1649286 h 3489306"/>
              <a:gd name="connsiteX7" fmla="*/ 2496368 w 4897369"/>
              <a:gd name="connsiteY7" fmla="*/ 1727823 h 3489306"/>
              <a:gd name="connsiteX8" fmla="*/ 2524417 w 4897369"/>
              <a:gd name="connsiteY8" fmla="*/ 1907337 h 3489306"/>
              <a:gd name="connsiteX9" fmla="*/ 2743200 w 4897369"/>
              <a:gd name="connsiteY9" fmla="*/ 2058802 h 3489306"/>
              <a:gd name="connsiteX10" fmla="*/ 3113448 w 4897369"/>
              <a:gd name="connsiteY10" fmla="*/ 2294414 h 3489306"/>
              <a:gd name="connsiteX11" fmla="*/ 3421988 w 4897369"/>
              <a:gd name="connsiteY11" fmla="*/ 2574905 h 3489306"/>
              <a:gd name="connsiteX12" fmla="*/ 3522964 w 4897369"/>
              <a:gd name="connsiteY12" fmla="*/ 2670272 h 3489306"/>
              <a:gd name="connsiteX13" fmla="*/ 3696869 w 4897369"/>
              <a:gd name="connsiteY13" fmla="*/ 2748810 h 3489306"/>
              <a:gd name="connsiteX14" fmla="*/ 3837114 w 4897369"/>
              <a:gd name="connsiteY14" fmla="*/ 2788078 h 3489306"/>
              <a:gd name="connsiteX15" fmla="*/ 4190532 w 4897369"/>
              <a:gd name="connsiteY15" fmla="*/ 2984422 h 3489306"/>
              <a:gd name="connsiteX16" fmla="*/ 4897369 w 4897369"/>
              <a:gd name="connsiteY16" fmla="*/ 3489306 h 3489306"/>
              <a:gd name="connsiteX0" fmla="*/ 0 w 4897369"/>
              <a:gd name="connsiteY0" fmla="*/ 0 h 3489306"/>
              <a:gd name="connsiteX1" fmla="*/ 785374 w 4897369"/>
              <a:gd name="connsiteY1" fmla="*/ 325369 h 3489306"/>
              <a:gd name="connsiteX2" fmla="*/ 1239769 w 4897369"/>
              <a:gd name="connsiteY2" fmla="*/ 678787 h 3489306"/>
              <a:gd name="connsiteX3" fmla="*/ 1671725 w 4897369"/>
              <a:gd name="connsiteY3" fmla="*/ 1020986 h 3489306"/>
              <a:gd name="connsiteX4" fmla="*/ 2081242 w 4897369"/>
              <a:gd name="connsiteY4" fmla="*/ 1469771 h 3489306"/>
              <a:gd name="connsiteX5" fmla="*/ 2210267 w 4897369"/>
              <a:gd name="connsiteY5" fmla="*/ 1694164 h 3489306"/>
              <a:gd name="connsiteX6" fmla="*/ 2356123 w 4897369"/>
              <a:gd name="connsiteY6" fmla="*/ 1632456 h 3489306"/>
              <a:gd name="connsiteX7" fmla="*/ 2445880 w 4897369"/>
              <a:gd name="connsiteY7" fmla="*/ 1649286 h 3489306"/>
              <a:gd name="connsiteX8" fmla="*/ 2496368 w 4897369"/>
              <a:gd name="connsiteY8" fmla="*/ 1727823 h 3489306"/>
              <a:gd name="connsiteX9" fmla="*/ 2524417 w 4897369"/>
              <a:gd name="connsiteY9" fmla="*/ 1907337 h 3489306"/>
              <a:gd name="connsiteX10" fmla="*/ 2743200 w 4897369"/>
              <a:gd name="connsiteY10" fmla="*/ 2058802 h 3489306"/>
              <a:gd name="connsiteX11" fmla="*/ 3113448 w 4897369"/>
              <a:gd name="connsiteY11" fmla="*/ 2294414 h 3489306"/>
              <a:gd name="connsiteX12" fmla="*/ 3421988 w 4897369"/>
              <a:gd name="connsiteY12" fmla="*/ 2574905 h 3489306"/>
              <a:gd name="connsiteX13" fmla="*/ 3522964 w 4897369"/>
              <a:gd name="connsiteY13" fmla="*/ 2670272 h 3489306"/>
              <a:gd name="connsiteX14" fmla="*/ 3696869 w 4897369"/>
              <a:gd name="connsiteY14" fmla="*/ 2748810 h 3489306"/>
              <a:gd name="connsiteX15" fmla="*/ 3837114 w 4897369"/>
              <a:gd name="connsiteY15" fmla="*/ 2788078 h 3489306"/>
              <a:gd name="connsiteX16" fmla="*/ 4190532 w 4897369"/>
              <a:gd name="connsiteY16" fmla="*/ 2984422 h 3489306"/>
              <a:gd name="connsiteX17" fmla="*/ 4897369 w 4897369"/>
              <a:gd name="connsiteY17" fmla="*/ 3489306 h 3489306"/>
              <a:gd name="connsiteX0" fmla="*/ 0 w 4897369"/>
              <a:gd name="connsiteY0" fmla="*/ 0 h 3489306"/>
              <a:gd name="connsiteX1" fmla="*/ 785374 w 4897369"/>
              <a:gd name="connsiteY1" fmla="*/ 325369 h 3489306"/>
              <a:gd name="connsiteX2" fmla="*/ 1239769 w 4897369"/>
              <a:gd name="connsiteY2" fmla="*/ 678787 h 3489306"/>
              <a:gd name="connsiteX3" fmla="*/ 1671725 w 4897369"/>
              <a:gd name="connsiteY3" fmla="*/ 1020986 h 3489306"/>
              <a:gd name="connsiteX4" fmla="*/ 2081242 w 4897369"/>
              <a:gd name="connsiteY4" fmla="*/ 1469771 h 3489306"/>
              <a:gd name="connsiteX5" fmla="*/ 2227096 w 4897369"/>
              <a:gd name="connsiteY5" fmla="*/ 1598797 h 3489306"/>
              <a:gd name="connsiteX6" fmla="*/ 2356123 w 4897369"/>
              <a:gd name="connsiteY6" fmla="*/ 1632456 h 3489306"/>
              <a:gd name="connsiteX7" fmla="*/ 2445880 w 4897369"/>
              <a:gd name="connsiteY7" fmla="*/ 1649286 h 3489306"/>
              <a:gd name="connsiteX8" fmla="*/ 2496368 w 4897369"/>
              <a:gd name="connsiteY8" fmla="*/ 1727823 h 3489306"/>
              <a:gd name="connsiteX9" fmla="*/ 2524417 w 4897369"/>
              <a:gd name="connsiteY9" fmla="*/ 1907337 h 3489306"/>
              <a:gd name="connsiteX10" fmla="*/ 2743200 w 4897369"/>
              <a:gd name="connsiteY10" fmla="*/ 2058802 h 3489306"/>
              <a:gd name="connsiteX11" fmla="*/ 3113448 w 4897369"/>
              <a:gd name="connsiteY11" fmla="*/ 2294414 h 3489306"/>
              <a:gd name="connsiteX12" fmla="*/ 3421988 w 4897369"/>
              <a:gd name="connsiteY12" fmla="*/ 2574905 h 3489306"/>
              <a:gd name="connsiteX13" fmla="*/ 3522964 w 4897369"/>
              <a:gd name="connsiteY13" fmla="*/ 2670272 h 3489306"/>
              <a:gd name="connsiteX14" fmla="*/ 3696869 w 4897369"/>
              <a:gd name="connsiteY14" fmla="*/ 2748810 h 3489306"/>
              <a:gd name="connsiteX15" fmla="*/ 3837114 w 4897369"/>
              <a:gd name="connsiteY15" fmla="*/ 2788078 h 3489306"/>
              <a:gd name="connsiteX16" fmla="*/ 4190532 w 4897369"/>
              <a:gd name="connsiteY16" fmla="*/ 2984422 h 3489306"/>
              <a:gd name="connsiteX17" fmla="*/ 4897369 w 4897369"/>
              <a:gd name="connsiteY17" fmla="*/ 3489306 h 3489306"/>
              <a:gd name="connsiteX0" fmla="*/ 0 w 4897369"/>
              <a:gd name="connsiteY0" fmla="*/ 0 h 3489306"/>
              <a:gd name="connsiteX1" fmla="*/ 785374 w 4897369"/>
              <a:gd name="connsiteY1" fmla="*/ 325369 h 3489306"/>
              <a:gd name="connsiteX2" fmla="*/ 1239769 w 4897369"/>
              <a:gd name="connsiteY2" fmla="*/ 678787 h 3489306"/>
              <a:gd name="connsiteX3" fmla="*/ 1671725 w 4897369"/>
              <a:gd name="connsiteY3" fmla="*/ 1020986 h 3489306"/>
              <a:gd name="connsiteX4" fmla="*/ 2081242 w 4897369"/>
              <a:gd name="connsiteY4" fmla="*/ 1469771 h 3489306"/>
              <a:gd name="connsiteX5" fmla="*/ 2159779 w 4897369"/>
              <a:gd name="connsiteY5" fmla="*/ 1520260 h 3489306"/>
              <a:gd name="connsiteX6" fmla="*/ 2227096 w 4897369"/>
              <a:gd name="connsiteY6" fmla="*/ 1598797 h 3489306"/>
              <a:gd name="connsiteX7" fmla="*/ 2356123 w 4897369"/>
              <a:gd name="connsiteY7" fmla="*/ 1632456 h 3489306"/>
              <a:gd name="connsiteX8" fmla="*/ 2445880 w 4897369"/>
              <a:gd name="connsiteY8" fmla="*/ 1649286 h 3489306"/>
              <a:gd name="connsiteX9" fmla="*/ 2496368 w 4897369"/>
              <a:gd name="connsiteY9" fmla="*/ 1727823 h 3489306"/>
              <a:gd name="connsiteX10" fmla="*/ 2524417 w 4897369"/>
              <a:gd name="connsiteY10" fmla="*/ 1907337 h 3489306"/>
              <a:gd name="connsiteX11" fmla="*/ 2743200 w 4897369"/>
              <a:gd name="connsiteY11" fmla="*/ 2058802 h 3489306"/>
              <a:gd name="connsiteX12" fmla="*/ 3113448 w 4897369"/>
              <a:gd name="connsiteY12" fmla="*/ 2294414 h 3489306"/>
              <a:gd name="connsiteX13" fmla="*/ 3421988 w 4897369"/>
              <a:gd name="connsiteY13" fmla="*/ 2574905 h 3489306"/>
              <a:gd name="connsiteX14" fmla="*/ 3522964 w 4897369"/>
              <a:gd name="connsiteY14" fmla="*/ 2670272 h 3489306"/>
              <a:gd name="connsiteX15" fmla="*/ 3696869 w 4897369"/>
              <a:gd name="connsiteY15" fmla="*/ 2748810 h 3489306"/>
              <a:gd name="connsiteX16" fmla="*/ 3837114 w 4897369"/>
              <a:gd name="connsiteY16" fmla="*/ 2788078 h 3489306"/>
              <a:gd name="connsiteX17" fmla="*/ 4190532 w 4897369"/>
              <a:gd name="connsiteY17" fmla="*/ 2984422 h 3489306"/>
              <a:gd name="connsiteX18" fmla="*/ 4897369 w 4897369"/>
              <a:gd name="connsiteY18" fmla="*/ 3489306 h 3489306"/>
              <a:gd name="connsiteX0" fmla="*/ 0 w 4897369"/>
              <a:gd name="connsiteY0" fmla="*/ 0 h 3489306"/>
              <a:gd name="connsiteX1" fmla="*/ 785374 w 4897369"/>
              <a:gd name="connsiteY1" fmla="*/ 325369 h 3489306"/>
              <a:gd name="connsiteX2" fmla="*/ 1239769 w 4897369"/>
              <a:gd name="connsiteY2" fmla="*/ 678787 h 3489306"/>
              <a:gd name="connsiteX3" fmla="*/ 1671725 w 4897369"/>
              <a:gd name="connsiteY3" fmla="*/ 1020986 h 3489306"/>
              <a:gd name="connsiteX4" fmla="*/ 2081242 w 4897369"/>
              <a:gd name="connsiteY4" fmla="*/ 1469771 h 3489306"/>
              <a:gd name="connsiteX5" fmla="*/ 2227096 w 4897369"/>
              <a:gd name="connsiteY5" fmla="*/ 1598797 h 3489306"/>
              <a:gd name="connsiteX6" fmla="*/ 2356123 w 4897369"/>
              <a:gd name="connsiteY6" fmla="*/ 1632456 h 3489306"/>
              <a:gd name="connsiteX7" fmla="*/ 2445880 w 4897369"/>
              <a:gd name="connsiteY7" fmla="*/ 1649286 h 3489306"/>
              <a:gd name="connsiteX8" fmla="*/ 2496368 w 4897369"/>
              <a:gd name="connsiteY8" fmla="*/ 1727823 h 3489306"/>
              <a:gd name="connsiteX9" fmla="*/ 2524417 w 4897369"/>
              <a:gd name="connsiteY9" fmla="*/ 1907337 h 3489306"/>
              <a:gd name="connsiteX10" fmla="*/ 2743200 w 4897369"/>
              <a:gd name="connsiteY10" fmla="*/ 2058802 h 3489306"/>
              <a:gd name="connsiteX11" fmla="*/ 3113448 w 4897369"/>
              <a:gd name="connsiteY11" fmla="*/ 2294414 h 3489306"/>
              <a:gd name="connsiteX12" fmla="*/ 3421988 w 4897369"/>
              <a:gd name="connsiteY12" fmla="*/ 2574905 h 3489306"/>
              <a:gd name="connsiteX13" fmla="*/ 3522964 w 4897369"/>
              <a:gd name="connsiteY13" fmla="*/ 2670272 h 3489306"/>
              <a:gd name="connsiteX14" fmla="*/ 3696869 w 4897369"/>
              <a:gd name="connsiteY14" fmla="*/ 2748810 h 3489306"/>
              <a:gd name="connsiteX15" fmla="*/ 3837114 w 4897369"/>
              <a:gd name="connsiteY15" fmla="*/ 2788078 h 3489306"/>
              <a:gd name="connsiteX16" fmla="*/ 4190532 w 4897369"/>
              <a:gd name="connsiteY16" fmla="*/ 2984422 h 3489306"/>
              <a:gd name="connsiteX17" fmla="*/ 4897369 w 4897369"/>
              <a:gd name="connsiteY17" fmla="*/ 3489306 h 3489306"/>
              <a:gd name="connsiteX0" fmla="*/ 0 w 4827626"/>
              <a:gd name="connsiteY0" fmla="*/ 0 h 3528052"/>
              <a:gd name="connsiteX1" fmla="*/ 715631 w 4827626"/>
              <a:gd name="connsiteY1" fmla="*/ 364115 h 3528052"/>
              <a:gd name="connsiteX2" fmla="*/ 1170026 w 4827626"/>
              <a:gd name="connsiteY2" fmla="*/ 717533 h 3528052"/>
              <a:gd name="connsiteX3" fmla="*/ 1601982 w 4827626"/>
              <a:gd name="connsiteY3" fmla="*/ 1059732 h 3528052"/>
              <a:gd name="connsiteX4" fmla="*/ 2011499 w 4827626"/>
              <a:gd name="connsiteY4" fmla="*/ 1508517 h 3528052"/>
              <a:gd name="connsiteX5" fmla="*/ 2157353 w 4827626"/>
              <a:gd name="connsiteY5" fmla="*/ 1637543 h 3528052"/>
              <a:gd name="connsiteX6" fmla="*/ 2286380 w 4827626"/>
              <a:gd name="connsiteY6" fmla="*/ 1671202 h 3528052"/>
              <a:gd name="connsiteX7" fmla="*/ 2376137 w 4827626"/>
              <a:gd name="connsiteY7" fmla="*/ 1688032 h 3528052"/>
              <a:gd name="connsiteX8" fmla="*/ 2426625 w 4827626"/>
              <a:gd name="connsiteY8" fmla="*/ 1766569 h 3528052"/>
              <a:gd name="connsiteX9" fmla="*/ 2454674 w 4827626"/>
              <a:gd name="connsiteY9" fmla="*/ 1946083 h 3528052"/>
              <a:gd name="connsiteX10" fmla="*/ 2673457 w 4827626"/>
              <a:gd name="connsiteY10" fmla="*/ 2097548 h 3528052"/>
              <a:gd name="connsiteX11" fmla="*/ 3043705 w 4827626"/>
              <a:gd name="connsiteY11" fmla="*/ 2333160 h 3528052"/>
              <a:gd name="connsiteX12" fmla="*/ 3352245 w 4827626"/>
              <a:gd name="connsiteY12" fmla="*/ 2613651 h 3528052"/>
              <a:gd name="connsiteX13" fmla="*/ 3453221 w 4827626"/>
              <a:gd name="connsiteY13" fmla="*/ 2709018 h 3528052"/>
              <a:gd name="connsiteX14" fmla="*/ 3627126 w 4827626"/>
              <a:gd name="connsiteY14" fmla="*/ 2787556 h 3528052"/>
              <a:gd name="connsiteX15" fmla="*/ 3767371 w 4827626"/>
              <a:gd name="connsiteY15" fmla="*/ 2826824 h 3528052"/>
              <a:gd name="connsiteX16" fmla="*/ 4120789 w 4827626"/>
              <a:gd name="connsiteY16" fmla="*/ 3023168 h 3528052"/>
              <a:gd name="connsiteX17" fmla="*/ 4827626 w 4827626"/>
              <a:gd name="connsiteY17" fmla="*/ 3528052 h 3528052"/>
              <a:gd name="connsiteX0" fmla="*/ 0 w 4827626"/>
              <a:gd name="connsiteY0" fmla="*/ 0 h 3528052"/>
              <a:gd name="connsiteX1" fmla="*/ 715631 w 4827626"/>
              <a:gd name="connsiteY1" fmla="*/ 364115 h 3528052"/>
              <a:gd name="connsiteX2" fmla="*/ 1170026 w 4827626"/>
              <a:gd name="connsiteY2" fmla="*/ 717533 h 3528052"/>
              <a:gd name="connsiteX3" fmla="*/ 1601982 w 4827626"/>
              <a:gd name="connsiteY3" fmla="*/ 1059732 h 3528052"/>
              <a:gd name="connsiteX4" fmla="*/ 2011499 w 4827626"/>
              <a:gd name="connsiteY4" fmla="*/ 1508517 h 3528052"/>
              <a:gd name="connsiteX5" fmla="*/ 2157353 w 4827626"/>
              <a:gd name="connsiteY5" fmla="*/ 1637543 h 3528052"/>
              <a:gd name="connsiteX6" fmla="*/ 2286380 w 4827626"/>
              <a:gd name="connsiteY6" fmla="*/ 1671202 h 3528052"/>
              <a:gd name="connsiteX7" fmla="*/ 2376137 w 4827626"/>
              <a:gd name="connsiteY7" fmla="*/ 1688032 h 3528052"/>
              <a:gd name="connsiteX8" fmla="*/ 2426625 w 4827626"/>
              <a:gd name="connsiteY8" fmla="*/ 1766569 h 3528052"/>
              <a:gd name="connsiteX9" fmla="*/ 2454674 w 4827626"/>
              <a:gd name="connsiteY9" fmla="*/ 1946083 h 3528052"/>
              <a:gd name="connsiteX10" fmla="*/ 2673457 w 4827626"/>
              <a:gd name="connsiteY10" fmla="*/ 2097548 h 3528052"/>
              <a:gd name="connsiteX11" fmla="*/ 3043705 w 4827626"/>
              <a:gd name="connsiteY11" fmla="*/ 2333160 h 3528052"/>
              <a:gd name="connsiteX12" fmla="*/ 3352245 w 4827626"/>
              <a:gd name="connsiteY12" fmla="*/ 2613651 h 3528052"/>
              <a:gd name="connsiteX13" fmla="*/ 3453221 w 4827626"/>
              <a:gd name="connsiteY13" fmla="*/ 2709018 h 3528052"/>
              <a:gd name="connsiteX14" fmla="*/ 3627126 w 4827626"/>
              <a:gd name="connsiteY14" fmla="*/ 2787556 h 3528052"/>
              <a:gd name="connsiteX15" fmla="*/ 3767371 w 4827626"/>
              <a:gd name="connsiteY15" fmla="*/ 2826824 h 3528052"/>
              <a:gd name="connsiteX16" fmla="*/ 4120789 w 4827626"/>
              <a:gd name="connsiteY16" fmla="*/ 3023168 h 3528052"/>
              <a:gd name="connsiteX17" fmla="*/ 4827626 w 4827626"/>
              <a:gd name="connsiteY17" fmla="*/ 3528052 h 3528052"/>
              <a:gd name="connsiteX0" fmla="*/ 0 w 4819877"/>
              <a:gd name="connsiteY0" fmla="*/ 0 h 3543550"/>
              <a:gd name="connsiteX1" fmla="*/ 707882 w 4819877"/>
              <a:gd name="connsiteY1" fmla="*/ 379613 h 3543550"/>
              <a:gd name="connsiteX2" fmla="*/ 1162277 w 4819877"/>
              <a:gd name="connsiteY2" fmla="*/ 733031 h 3543550"/>
              <a:gd name="connsiteX3" fmla="*/ 1594233 w 4819877"/>
              <a:gd name="connsiteY3" fmla="*/ 1075230 h 3543550"/>
              <a:gd name="connsiteX4" fmla="*/ 2003750 w 4819877"/>
              <a:gd name="connsiteY4" fmla="*/ 1524015 h 3543550"/>
              <a:gd name="connsiteX5" fmla="*/ 2149604 w 4819877"/>
              <a:gd name="connsiteY5" fmla="*/ 1653041 h 3543550"/>
              <a:gd name="connsiteX6" fmla="*/ 2278631 w 4819877"/>
              <a:gd name="connsiteY6" fmla="*/ 1686700 h 3543550"/>
              <a:gd name="connsiteX7" fmla="*/ 2368388 w 4819877"/>
              <a:gd name="connsiteY7" fmla="*/ 1703530 h 3543550"/>
              <a:gd name="connsiteX8" fmla="*/ 2418876 w 4819877"/>
              <a:gd name="connsiteY8" fmla="*/ 1782067 h 3543550"/>
              <a:gd name="connsiteX9" fmla="*/ 2446925 w 4819877"/>
              <a:gd name="connsiteY9" fmla="*/ 1961581 h 3543550"/>
              <a:gd name="connsiteX10" fmla="*/ 2665708 w 4819877"/>
              <a:gd name="connsiteY10" fmla="*/ 2113046 h 3543550"/>
              <a:gd name="connsiteX11" fmla="*/ 3035956 w 4819877"/>
              <a:gd name="connsiteY11" fmla="*/ 2348658 h 3543550"/>
              <a:gd name="connsiteX12" fmla="*/ 3344496 w 4819877"/>
              <a:gd name="connsiteY12" fmla="*/ 2629149 h 3543550"/>
              <a:gd name="connsiteX13" fmla="*/ 3445472 w 4819877"/>
              <a:gd name="connsiteY13" fmla="*/ 2724516 h 3543550"/>
              <a:gd name="connsiteX14" fmla="*/ 3619377 w 4819877"/>
              <a:gd name="connsiteY14" fmla="*/ 2803054 h 3543550"/>
              <a:gd name="connsiteX15" fmla="*/ 3759622 w 4819877"/>
              <a:gd name="connsiteY15" fmla="*/ 2842322 h 3543550"/>
              <a:gd name="connsiteX16" fmla="*/ 4113040 w 4819877"/>
              <a:gd name="connsiteY16" fmla="*/ 3038666 h 3543550"/>
              <a:gd name="connsiteX17" fmla="*/ 4819877 w 4819877"/>
              <a:gd name="connsiteY17" fmla="*/ 3543550 h 3543550"/>
              <a:gd name="connsiteX0" fmla="*/ 8653 w 4828530"/>
              <a:gd name="connsiteY0" fmla="*/ 0 h 3543550"/>
              <a:gd name="connsiteX1" fmla="*/ 67269 w 4828530"/>
              <a:gd name="connsiteY1" fmla="*/ 81057 h 3543550"/>
              <a:gd name="connsiteX2" fmla="*/ 716535 w 4828530"/>
              <a:gd name="connsiteY2" fmla="*/ 379613 h 3543550"/>
              <a:gd name="connsiteX3" fmla="*/ 1170930 w 4828530"/>
              <a:gd name="connsiteY3" fmla="*/ 733031 h 3543550"/>
              <a:gd name="connsiteX4" fmla="*/ 1602886 w 4828530"/>
              <a:gd name="connsiteY4" fmla="*/ 1075230 h 3543550"/>
              <a:gd name="connsiteX5" fmla="*/ 2012403 w 4828530"/>
              <a:gd name="connsiteY5" fmla="*/ 1524015 h 3543550"/>
              <a:gd name="connsiteX6" fmla="*/ 2158257 w 4828530"/>
              <a:gd name="connsiteY6" fmla="*/ 1653041 h 3543550"/>
              <a:gd name="connsiteX7" fmla="*/ 2287284 w 4828530"/>
              <a:gd name="connsiteY7" fmla="*/ 1686700 h 3543550"/>
              <a:gd name="connsiteX8" fmla="*/ 2377041 w 4828530"/>
              <a:gd name="connsiteY8" fmla="*/ 1703530 h 3543550"/>
              <a:gd name="connsiteX9" fmla="*/ 2427529 w 4828530"/>
              <a:gd name="connsiteY9" fmla="*/ 1782067 h 3543550"/>
              <a:gd name="connsiteX10" fmla="*/ 2455578 w 4828530"/>
              <a:gd name="connsiteY10" fmla="*/ 1961581 h 3543550"/>
              <a:gd name="connsiteX11" fmla="*/ 2674361 w 4828530"/>
              <a:gd name="connsiteY11" fmla="*/ 2113046 h 3543550"/>
              <a:gd name="connsiteX12" fmla="*/ 3044609 w 4828530"/>
              <a:gd name="connsiteY12" fmla="*/ 2348658 h 3543550"/>
              <a:gd name="connsiteX13" fmla="*/ 3353149 w 4828530"/>
              <a:gd name="connsiteY13" fmla="*/ 2629149 h 3543550"/>
              <a:gd name="connsiteX14" fmla="*/ 3454125 w 4828530"/>
              <a:gd name="connsiteY14" fmla="*/ 2724516 h 3543550"/>
              <a:gd name="connsiteX15" fmla="*/ 3628030 w 4828530"/>
              <a:gd name="connsiteY15" fmla="*/ 2803054 h 3543550"/>
              <a:gd name="connsiteX16" fmla="*/ 3768275 w 4828530"/>
              <a:gd name="connsiteY16" fmla="*/ 2842322 h 3543550"/>
              <a:gd name="connsiteX17" fmla="*/ 4121693 w 4828530"/>
              <a:gd name="connsiteY17" fmla="*/ 3038666 h 3543550"/>
              <a:gd name="connsiteX18" fmla="*/ 4828530 w 4828530"/>
              <a:gd name="connsiteY18" fmla="*/ 3543550 h 354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828530" h="3543550">
                <a:moveTo>
                  <a:pt x="8653" y="0"/>
                </a:moveTo>
                <a:cubicBezTo>
                  <a:pt x="26171" y="10926"/>
                  <a:pt x="-50711" y="17788"/>
                  <a:pt x="67269" y="81057"/>
                </a:cubicBezTo>
                <a:cubicBezTo>
                  <a:pt x="185249" y="144326"/>
                  <a:pt x="532592" y="270951"/>
                  <a:pt x="716535" y="379613"/>
                </a:cubicBezTo>
                <a:cubicBezTo>
                  <a:pt x="900478" y="488275"/>
                  <a:pt x="1170930" y="733031"/>
                  <a:pt x="1170930" y="733031"/>
                </a:cubicBezTo>
                <a:cubicBezTo>
                  <a:pt x="1318655" y="848967"/>
                  <a:pt x="1462641" y="943399"/>
                  <a:pt x="1602886" y="1075230"/>
                </a:cubicBezTo>
                <a:cubicBezTo>
                  <a:pt x="1743132" y="1207061"/>
                  <a:pt x="1919841" y="1427713"/>
                  <a:pt x="2012403" y="1524015"/>
                </a:cubicBezTo>
                <a:cubicBezTo>
                  <a:pt x="2104965" y="1620317"/>
                  <a:pt x="2112444" y="1625927"/>
                  <a:pt x="2158257" y="1653041"/>
                </a:cubicBezTo>
                <a:cubicBezTo>
                  <a:pt x="2204070" y="1680155"/>
                  <a:pt x="2250820" y="1678285"/>
                  <a:pt x="2287284" y="1686700"/>
                </a:cubicBezTo>
                <a:cubicBezTo>
                  <a:pt x="2323748" y="1695115"/>
                  <a:pt x="2353667" y="1687636"/>
                  <a:pt x="2377041" y="1703530"/>
                </a:cubicBezTo>
                <a:cubicBezTo>
                  <a:pt x="2400415" y="1719424"/>
                  <a:pt x="2414440" y="1739059"/>
                  <a:pt x="2427529" y="1782067"/>
                </a:cubicBezTo>
                <a:cubicBezTo>
                  <a:pt x="2440618" y="1825075"/>
                  <a:pt x="2414439" y="1906418"/>
                  <a:pt x="2455578" y="1961581"/>
                </a:cubicBezTo>
                <a:cubicBezTo>
                  <a:pt x="2496717" y="2016744"/>
                  <a:pt x="2576189" y="2048533"/>
                  <a:pt x="2674361" y="2113046"/>
                </a:cubicBezTo>
                <a:cubicBezTo>
                  <a:pt x="2772533" y="2177559"/>
                  <a:pt x="2931478" y="2262641"/>
                  <a:pt x="3044609" y="2348658"/>
                </a:cubicBezTo>
                <a:cubicBezTo>
                  <a:pt x="3157740" y="2434675"/>
                  <a:pt x="3284896" y="2566506"/>
                  <a:pt x="3353149" y="2629149"/>
                </a:cubicBezTo>
                <a:cubicBezTo>
                  <a:pt x="3421402" y="2691792"/>
                  <a:pt x="3408312" y="2695532"/>
                  <a:pt x="3454125" y="2724516"/>
                </a:cubicBezTo>
                <a:cubicBezTo>
                  <a:pt x="3499939" y="2753500"/>
                  <a:pt x="3575672" y="2783420"/>
                  <a:pt x="3628030" y="2803054"/>
                </a:cubicBezTo>
                <a:cubicBezTo>
                  <a:pt x="3680388" y="2822688"/>
                  <a:pt x="3685998" y="2803053"/>
                  <a:pt x="3768275" y="2842322"/>
                </a:cubicBezTo>
                <a:cubicBezTo>
                  <a:pt x="3850552" y="2881591"/>
                  <a:pt x="3944984" y="2921795"/>
                  <a:pt x="4121693" y="3038666"/>
                </a:cubicBezTo>
                <a:cubicBezTo>
                  <a:pt x="4298402" y="3155537"/>
                  <a:pt x="4710723" y="3459403"/>
                  <a:pt x="4828530" y="3543550"/>
                </a:cubicBezTo>
              </a:path>
            </a:pathLst>
          </a:custGeom>
          <a:noFill/>
          <a:ln w="38100">
            <a:solidFill>
              <a:srgbClr val="D06539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407CFAAA-CC4C-6E43-BC9C-25336EC2B32F}"/>
              </a:ext>
            </a:extLst>
          </p:cNvPr>
          <p:cNvSpPr/>
          <p:nvPr/>
        </p:nvSpPr>
        <p:spPr>
          <a:xfrm>
            <a:off x="3135811" y="3028632"/>
            <a:ext cx="288224" cy="297371"/>
          </a:xfrm>
          <a:prstGeom prst="ellipse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41B58A8D-B9D2-1648-AB6F-8AE0A23E5B5D}"/>
              </a:ext>
            </a:extLst>
          </p:cNvPr>
          <p:cNvSpPr txBox="1"/>
          <p:nvPr/>
        </p:nvSpPr>
        <p:spPr>
          <a:xfrm>
            <a:off x="-19225" y="5268247"/>
            <a:ext cx="830677" cy="1818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i="1" dirty="0">
                <a:latin typeface="+mj-lt"/>
              </a:rPr>
              <a:t>Киевское напр.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6B3D9AA-0967-0E4B-9187-6DEA9586CD86}"/>
              </a:ext>
            </a:extLst>
          </p:cNvPr>
          <p:cNvSpPr txBox="1"/>
          <p:nvPr/>
        </p:nvSpPr>
        <p:spPr>
          <a:xfrm>
            <a:off x="1012398" y="1020944"/>
            <a:ext cx="1091966" cy="1818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i="1" dirty="0">
                <a:latin typeface="+mj-lt"/>
              </a:rPr>
              <a:t>Ленинградское напр.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600C973A-99CA-3240-9176-591E19FDD818}"/>
              </a:ext>
            </a:extLst>
          </p:cNvPr>
          <p:cNvSpPr txBox="1"/>
          <p:nvPr/>
        </p:nvSpPr>
        <p:spPr>
          <a:xfrm>
            <a:off x="5197770" y="4855801"/>
            <a:ext cx="877163" cy="1818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i="1" dirty="0">
                <a:latin typeface="+mj-lt"/>
              </a:rPr>
              <a:t>Рязанское напр.</a:t>
            </a: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538A77B8-ABC6-49E2-BE1D-5A3657003987}"/>
              </a:ext>
            </a:extLst>
          </p:cNvPr>
          <p:cNvSpPr/>
          <p:nvPr/>
        </p:nvSpPr>
        <p:spPr>
          <a:xfrm rot="5400000">
            <a:off x="3462297" y="2261152"/>
            <a:ext cx="124762" cy="7027878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60000">
                <a:schemeClr val="bg1">
                  <a:alpha val="77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Calibri"/>
              </a:rPr>
              <a:pPr/>
              <a:t>11</a:t>
            </a:fld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2" name="Заголовок 1">
            <a:extLst>
              <a:ext uri="{FF2B5EF4-FFF2-40B4-BE49-F238E27FC236}">
                <a16:creationId xmlns:a16="http://schemas.microsoft.com/office/drawing/2014/main" id="{963CFAF6-3747-8945-9C11-81C47C460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976" y="96150"/>
            <a:ext cx="7958151" cy="659632"/>
          </a:xfrm>
        </p:spPr>
        <p:txBody>
          <a:bodyPr>
            <a:normAutofit/>
          </a:bodyPr>
          <a:lstStyle/>
          <a:p>
            <a:r>
              <a:rPr lang="ru-RU" sz="2400" dirty="0"/>
              <a:t>Объёмы моделирования и анализа работы МЖУ</a:t>
            </a: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A50656E2-7A80-DA4A-91C4-2C9BE81D76D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57" t="17968" r="78578" b="36014"/>
          <a:stretch/>
        </p:blipFill>
        <p:spPr>
          <a:xfrm>
            <a:off x="2657437" y="1384972"/>
            <a:ext cx="246925" cy="124762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B64CBF6A-12FC-E34E-B8E0-26D4A63C94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57" t="17968" r="78578" b="36014"/>
          <a:stretch/>
        </p:blipFill>
        <p:spPr>
          <a:xfrm>
            <a:off x="1410657" y="3487612"/>
            <a:ext cx="246925" cy="124762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49EBAF65-3F75-484B-B839-36359DC6ACC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81" t="17968" r="59554" b="36014"/>
          <a:stretch/>
        </p:blipFill>
        <p:spPr>
          <a:xfrm>
            <a:off x="1042161" y="2252193"/>
            <a:ext cx="246925" cy="124762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3C991600-2F75-A440-932D-150EF7835A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81" t="17968" r="59554" b="36014"/>
          <a:stretch/>
        </p:blipFill>
        <p:spPr>
          <a:xfrm>
            <a:off x="2516473" y="5675930"/>
            <a:ext cx="246925" cy="124762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C5BFA244-2ECC-5A4C-B584-900797055A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182" t="17968" r="40653" b="36014"/>
          <a:stretch/>
        </p:blipFill>
        <p:spPr>
          <a:xfrm>
            <a:off x="1335311" y="1377298"/>
            <a:ext cx="246925" cy="124762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6D0A33EB-8C44-054C-865E-4A857E5DA84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609" t="17968" r="22226" b="36014"/>
          <a:stretch/>
        </p:blipFill>
        <p:spPr>
          <a:xfrm>
            <a:off x="726730" y="4981262"/>
            <a:ext cx="246925" cy="124762"/>
          </a:xfrm>
          <a:prstGeom prst="rect">
            <a:avLst/>
          </a:prstGeom>
        </p:spPr>
      </p:pic>
      <p:pic>
        <p:nvPicPr>
          <p:cNvPr id="66" name="Рисунок 65">
            <a:extLst>
              <a:ext uri="{FF2B5EF4-FFF2-40B4-BE49-F238E27FC236}">
                <a16:creationId xmlns:a16="http://schemas.microsoft.com/office/drawing/2014/main" id="{9DA2F4EE-7574-8745-AA76-58FD5960FBD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8703" t="17968" r="3132" b="36014"/>
          <a:stretch/>
        </p:blipFill>
        <p:spPr>
          <a:xfrm>
            <a:off x="3845185" y="5642037"/>
            <a:ext cx="246925" cy="124762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77D468B5-1CEE-1C41-8D72-102959C80FC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182" t="17968" r="40653" b="36014"/>
          <a:stretch/>
        </p:blipFill>
        <p:spPr>
          <a:xfrm>
            <a:off x="5392372" y="4779224"/>
            <a:ext cx="246925" cy="124762"/>
          </a:xfrm>
          <a:prstGeom prst="rect">
            <a:avLst/>
          </a:prstGeom>
        </p:spPr>
      </p:pic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925A0456-3F47-4F4A-9EA8-412518A0CD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8703" t="17968" r="3132" b="36014"/>
          <a:stretch/>
        </p:blipFill>
        <p:spPr>
          <a:xfrm>
            <a:off x="4135161" y="1385281"/>
            <a:ext cx="246925" cy="124762"/>
          </a:xfrm>
          <a:prstGeom prst="rect">
            <a:avLst/>
          </a:prstGeom>
        </p:spPr>
      </p:pic>
      <p:pic>
        <p:nvPicPr>
          <p:cNvPr id="64" name="Рисунок 63">
            <a:extLst>
              <a:ext uri="{FF2B5EF4-FFF2-40B4-BE49-F238E27FC236}">
                <a16:creationId xmlns:a16="http://schemas.microsoft.com/office/drawing/2014/main" id="{02982853-CDEE-044F-8606-875405278C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609" t="17968" r="22226" b="36014"/>
          <a:stretch/>
        </p:blipFill>
        <p:spPr>
          <a:xfrm>
            <a:off x="4790913" y="3714331"/>
            <a:ext cx="246925" cy="124762"/>
          </a:xfrm>
          <a:prstGeom prst="rect">
            <a:avLst/>
          </a:prstGeom>
        </p:spPr>
      </p:pic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BC3950A1-ECD0-8546-AF8E-EFF9AFCD840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8703" t="17968" r="3132" b="36014"/>
          <a:stretch/>
        </p:blipFill>
        <p:spPr>
          <a:xfrm>
            <a:off x="4202497" y="1955338"/>
            <a:ext cx="246925" cy="124762"/>
          </a:xfrm>
          <a:prstGeom prst="rect">
            <a:avLst/>
          </a:prstGeom>
        </p:spPr>
      </p:pic>
      <p:sp>
        <p:nvSpPr>
          <p:cNvPr id="67" name="Параллелограмм 66">
            <a:extLst>
              <a:ext uri="{FF2B5EF4-FFF2-40B4-BE49-F238E27FC236}">
                <a16:creationId xmlns:a16="http://schemas.microsoft.com/office/drawing/2014/main" id="{C52FC15C-7635-BA46-A353-B3954689D647}"/>
              </a:ext>
            </a:extLst>
          </p:cNvPr>
          <p:cNvSpPr/>
          <p:nvPr/>
        </p:nvSpPr>
        <p:spPr>
          <a:xfrm>
            <a:off x="5665991" y="1161630"/>
            <a:ext cx="4584861" cy="309335"/>
          </a:xfrm>
          <a:prstGeom prst="parallelogram">
            <a:avLst>
              <a:gd name="adj" fmla="val 31452"/>
            </a:avLst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8"/>
            <a:r>
              <a:rPr lang="ru-RU" sz="1400" b="1" i="1" dirty="0">
                <a:latin typeface="+mj-lt"/>
              </a:rPr>
              <a:t>Цели и задачи моделирования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3157EC-C963-C74C-8026-E3169F291EF8}"/>
              </a:ext>
            </a:extLst>
          </p:cNvPr>
          <p:cNvSpPr txBox="1"/>
          <p:nvPr/>
        </p:nvSpPr>
        <p:spPr>
          <a:xfrm>
            <a:off x="5741219" y="1811094"/>
            <a:ext cx="412797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1288" indent="-141288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100" dirty="0">
                <a:latin typeface="+mj-lt"/>
              </a:rPr>
              <a:t>Проверка пропускной способности железнодорожных станций, участков и направлений Московского транспортного узла для различных вариантов развития инфраструктуры;</a:t>
            </a:r>
          </a:p>
          <a:p>
            <a:pPr marL="141288" indent="-141288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100" dirty="0">
                <a:latin typeface="+mj-lt"/>
              </a:rPr>
              <a:t>Оценка влияния сервиса МЦД на движение поездов других категорий (пригородные поезда дальних зон, экспрессы, поезда дальнего следования, ВСМ, грузовые поезда);</a:t>
            </a:r>
          </a:p>
          <a:p>
            <a:pPr marL="141288" indent="-141288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100" dirty="0">
                <a:latin typeface="+mj-lt"/>
              </a:rPr>
              <a:t>Оценка изменения размеров движения на технологию работы Московского  железнодорожного узла</a:t>
            </a:r>
          </a:p>
        </p:txBody>
      </p:sp>
      <p:sp>
        <p:nvSpPr>
          <p:cNvPr id="68" name="Параллелограмм 67">
            <a:extLst>
              <a:ext uri="{FF2B5EF4-FFF2-40B4-BE49-F238E27FC236}">
                <a16:creationId xmlns:a16="http://schemas.microsoft.com/office/drawing/2014/main" id="{5DB6C99E-F935-6940-B6A9-2D62996E1661}"/>
              </a:ext>
            </a:extLst>
          </p:cNvPr>
          <p:cNvSpPr/>
          <p:nvPr/>
        </p:nvSpPr>
        <p:spPr>
          <a:xfrm>
            <a:off x="5691937" y="3770731"/>
            <a:ext cx="4584861" cy="309335"/>
          </a:xfrm>
          <a:prstGeom prst="parallelogram">
            <a:avLst>
              <a:gd name="adj" fmla="val 31452"/>
            </a:avLst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8"/>
            <a:r>
              <a:rPr lang="ru-RU" sz="1400" b="1" i="1" dirty="0">
                <a:latin typeface="+mj-lt"/>
              </a:rPr>
              <a:t>Ключевые объекты исследования: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EF8B9F-ED6B-D349-A01A-753FCF0334C8}"/>
              </a:ext>
            </a:extLst>
          </p:cNvPr>
          <p:cNvSpPr txBox="1"/>
          <p:nvPr/>
        </p:nvSpPr>
        <p:spPr>
          <a:xfrm>
            <a:off x="5730485" y="4136818"/>
            <a:ext cx="2993850" cy="207749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41288" indent="-141288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100" b="1" dirty="0">
                <a:latin typeface="+mj-lt"/>
              </a:rPr>
              <a:t>Движение пассажирских поездов</a:t>
            </a:r>
          </a:p>
          <a:p>
            <a:pPr marL="141288" indent="-141288">
              <a:spcAft>
                <a:spcPts val="600"/>
              </a:spcAft>
              <a:buFont typeface="Wingdings" pitchFamily="2" charset="2"/>
              <a:buChar char="§"/>
            </a:pPr>
            <a:endParaRPr lang="ru-RU" sz="1100" b="1" dirty="0">
              <a:latin typeface="+mj-lt"/>
            </a:endParaRPr>
          </a:p>
          <a:p>
            <a:pPr marL="141288" indent="-141288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100" b="1" dirty="0">
                <a:latin typeface="+mj-lt"/>
              </a:rPr>
              <a:t>Пригородные направления </a:t>
            </a:r>
            <a:r>
              <a:rPr lang="ru-RU" sz="1100" dirty="0">
                <a:latin typeface="+mj-lt"/>
              </a:rPr>
              <a:t>Московского транспортного узла</a:t>
            </a:r>
          </a:p>
          <a:p>
            <a:pPr marL="141288" indent="-141288">
              <a:spcAft>
                <a:spcPts val="600"/>
              </a:spcAft>
              <a:buFont typeface="Wingdings" pitchFamily="2" charset="2"/>
              <a:buChar char="§"/>
            </a:pPr>
            <a:endParaRPr lang="ru-RU" sz="1100" dirty="0">
              <a:latin typeface="+mj-lt"/>
            </a:endParaRPr>
          </a:p>
          <a:p>
            <a:pPr marL="141288" indent="-141288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100" b="1" dirty="0">
                <a:latin typeface="+mj-lt"/>
              </a:rPr>
              <a:t>Станции и участки в границах функционирования сервиса МЦД</a:t>
            </a:r>
          </a:p>
          <a:p>
            <a:pPr marL="141288" indent="-141288">
              <a:spcAft>
                <a:spcPts val="600"/>
              </a:spcAft>
              <a:buFont typeface="Wingdings" pitchFamily="2" charset="2"/>
              <a:buChar char="§"/>
            </a:pPr>
            <a:endParaRPr lang="ru-RU" sz="1100" b="1" dirty="0">
              <a:latin typeface="+mj-lt"/>
            </a:endParaRPr>
          </a:p>
          <a:p>
            <a:pPr marL="141288" indent="-141288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100" b="1" dirty="0">
                <a:latin typeface="+mj-lt"/>
              </a:rPr>
              <a:t>Пассажирские станции</a:t>
            </a:r>
            <a:endParaRPr lang="ru-RU" sz="1100" dirty="0">
              <a:latin typeface="+mj-lt"/>
            </a:endParaRPr>
          </a:p>
        </p:txBody>
      </p:sp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5E3F1BA8-0CD1-DF47-9963-2F6F4790B1D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03264" y="4259479"/>
            <a:ext cx="1283732" cy="770239"/>
          </a:xfrm>
          <a:prstGeom prst="rect">
            <a:avLst/>
          </a:prstGeom>
          <a:ln>
            <a:solidFill>
              <a:srgbClr val="002060"/>
            </a:solidFill>
          </a:ln>
        </p:spPr>
      </p:pic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7AEDE14D-0938-F447-9A72-EF5652C63AE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00941" y="5359152"/>
            <a:ext cx="1286055" cy="771633"/>
          </a:xfrm>
          <a:prstGeom prst="rect">
            <a:avLst/>
          </a:prstGeom>
          <a:ln>
            <a:solidFill>
              <a:srgbClr val="002060"/>
            </a:solidFill>
          </a:ln>
        </p:spPr>
      </p:pic>
      <p:pic>
        <p:nvPicPr>
          <p:cNvPr id="90" name="Рисунок 89" descr="Исследование">
            <a:extLst>
              <a:ext uri="{FF2B5EF4-FFF2-40B4-BE49-F238E27FC236}">
                <a16:creationId xmlns:a16="http://schemas.microsoft.com/office/drawing/2014/main" id="{11927AB2-1E87-864B-8C5C-F5AC5030C9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58895" y="914639"/>
            <a:ext cx="274672" cy="274672"/>
          </a:xfrm>
          <a:prstGeom prst="rect">
            <a:avLst/>
          </a:prstGeom>
        </p:spPr>
      </p:pic>
      <p:pic>
        <p:nvPicPr>
          <p:cNvPr id="92" name="Рисунок 91" descr="Блок-схема">
            <a:extLst>
              <a:ext uri="{FF2B5EF4-FFF2-40B4-BE49-F238E27FC236}">
                <a16:creationId xmlns:a16="http://schemas.microsoft.com/office/drawing/2014/main" id="{997DDA09-0B99-1847-BDD5-9608814A97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10241" y="3778126"/>
            <a:ext cx="274672" cy="274672"/>
          </a:xfrm>
          <a:prstGeom prst="rect">
            <a:avLst/>
          </a:prstGeom>
        </p:spPr>
      </p:pic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2198EA2C-1143-4C42-90A8-B6AA8759F0E6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287" b="7212"/>
          <a:stretch/>
        </p:blipFill>
        <p:spPr>
          <a:xfrm>
            <a:off x="1177392" y="4326963"/>
            <a:ext cx="1183235" cy="775182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4" name="Рисунок 73">
            <a:extLst>
              <a:ext uri="{FF2B5EF4-FFF2-40B4-BE49-F238E27FC236}">
                <a16:creationId xmlns:a16="http://schemas.microsoft.com/office/drawing/2014/main" id="{85950FF3-4340-43C4-BF9C-CE0DB6D9D883}"/>
              </a:ext>
            </a:extLst>
          </p:cNvPr>
          <p:cNvPicPr/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941"/>
          <a:stretch/>
        </p:blipFill>
        <p:spPr>
          <a:xfrm>
            <a:off x="3878464" y="2176610"/>
            <a:ext cx="1930317" cy="462811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Овал 1"/>
          <p:cNvSpPr/>
          <p:nvPr/>
        </p:nvSpPr>
        <p:spPr>
          <a:xfrm>
            <a:off x="1507086" y="3726084"/>
            <a:ext cx="200569" cy="192613"/>
          </a:xfrm>
          <a:prstGeom prst="ellipse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" name="Прямая соединительная линия 5"/>
          <p:cNvCxnSpPr>
            <a:stCxn id="2" idx="4"/>
            <a:endCxn id="73" idx="0"/>
          </p:cNvCxnSpPr>
          <p:nvPr/>
        </p:nvCxnSpPr>
        <p:spPr>
          <a:xfrm>
            <a:off x="1607371" y="3918697"/>
            <a:ext cx="161639" cy="408266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>
            <a:endCxn id="74" idx="2"/>
          </p:cNvCxnSpPr>
          <p:nvPr/>
        </p:nvCxnSpPr>
        <p:spPr>
          <a:xfrm flipV="1">
            <a:off x="3394447" y="2639421"/>
            <a:ext cx="1449176" cy="450229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Рисунок 92">
            <a:extLst>
              <a:ext uri="{FF2B5EF4-FFF2-40B4-BE49-F238E27FC236}">
                <a16:creationId xmlns:a16="http://schemas.microsoft.com/office/drawing/2014/main" id="{418B2AD7-6390-4980-8F34-D6A80A1662F9}"/>
              </a:ext>
            </a:extLst>
          </p:cNvPr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2318" y="4170997"/>
            <a:ext cx="1907681" cy="497482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5" name="Рисунок 94">
            <a:extLst>
              <a:ext uri="{FF2B5EF4-FFF2-40B4-BE49-F238E27FC236}">
                <a16:creationId xmlns:a16="http://schemas.microsoft.com/office/drawing/2014/main" id="{10CCE829-14C9-4FAC-934A-CE1803870BC1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1958"/>
          <a:stretch/>
        </p:blipFill>
        <p:spPr>
          <a:xfrm>
            <a:off x="71179" y="2799170"/>
            <a:ext cx="1419344" cy="358823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sp>
        <p:nvSpPr>
          <p:cNvPr id="99" name="Овал 98"/>
          <p:cNvSpPr/>
          <p:nvPr/>
        </p:nvSpPr>
        <p:spPr>
          <a:xfrm>
            <a:off x="1160867" y="2489078"/>
            <a:ext cx="200569" cy="192613"/>
          </a:xfrm>
          <a:prstGeom prst="ellipse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Овал 99"/>
          <p:cNvSpPr/>
          <p:nvPr/>
        </p:nvSpPr>
        <p:spPr>
          <a:xfrm>
            <a:off x="3108785" y="3369465"/>
            <a:ext cx="200569" cy="192613"/>
          </a:xfrm>
          <a:prstGeom prst="ellipse">
            <a:avLst/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1" name="Прямая соединительная линия 100"/>
          <p:cNvCxnSpPr>
            <a:endCxn id="93" idx="0"/>
          </p:cNvCxnSpPr>
          <p:nvPr/>
        </p:nvCxnSpPr>
        <p:spPr>
          <a:xfrm>
            <a:off x="3301358" y="3529729"/>
            <a:ext cx="634801" cy="641268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Прямая соединительная линия 101"/>
          <p:cNvCxnSpPr>
            <a:endCxn id="95" idx="0"/>
          </p:cNvCxnSpPr>
          <p:nvPr/>
        </p:nvCxnSpPr>
        <p:spPr>
          <a:xfrm flipH="1">
            <a:off x="780851" y="2615604"/>
            <a:ext cx="387858" cy="183566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16815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Рисунок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616" y="1005231"/>
            <a:ext cx="5510126" cy="5200916"/>
          </a:xfrm>
          <a:prstGeom prst="rect">
            <a:avLst/>
          </a:prstGeom>
        </p:spPr>
      </p:pic>
      <p:pic>
        <p:nvPicPr>
          <p:cNvPr id="87" name="Рисунок 8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-2117828" y="3432123"/>
            <a:ext cx="5332765" cy="443702"/>
          </a:xfrm>
          <a:prstGeom prst="rect">
            <a:avLst/>
          </a:prstGeom>
        </p:spPr>
      </p:pic>
      <p:pic>
        <p:nvPicPr>
          <p:cNvPr id="92" name="Рисунок 9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137042" y="5802455"/>
            <a:ext cx="7612411" cy="44370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3294" y="156437"/>
            <a:ext cx="7646342" cy="659632"/>
          </a:xfrm>
        </p:spPr>
        <p:txBody>
          <a:bodyPr>
            <a:normAutofit fontScale="90000"/>
          </a:bodyPr>
          <a:lstStyle/>
          <a:p>
            <a:r>
              <a:rPr lang="ru-RU" sz="2400" dirty="0"/>
              <a:t>Моделирование объектов железнодорожной инфраструктуры в границах МЦД-1, МЦД</a:t>
            </a:r>
            <a:r>
              <a:rPr lang="en-US" sz="2400" dirty="0"/>
              <a:t>-2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Calibri"/>
              </a:rPr>
              <a:pPr/>
              <a:t>12</a:t>
            </a:fld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625970" y="1008408"/>
            <a:ext cx="2417769" cy="5197739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Полилиния 35"/>
          <p:cNvSpPr/>
          <p:nvPr/>
        </p:nvSpPr>
        <p:spPr>
          <a:xfrm>
            <a:off x="987328" y="1150012"/>
            <a:ext cx="1539823" cy="2961983"/>
          </a:xfrm>
          <a:custGeom>
            <a:avLst/>
            <a:gdLst>
              <a:gd name="connsiteX0" fmla="*/ 1032206 w 1539823"/>
              <a:gd name="connsiteY0" fmla="*/ 0 h 2961983"/>
              <a:gd name="connsiteX1" fmla="*/ 1071474 w 1539823"/>
              <a:gd name="connsiteY1" fmla="*/ 140246 h 2961983"/>
              <a:gd name="connsiteX2" fmla="*/ 1110743 w 1539823"/>
              <a:gd name="connsiteY2" fmla="*/ 274881 h 2961983"/>
              <a:gd name="connsiteX3" fmla="*/ 1155622 w 1539823"/>
              <a:gd name="connsiteY3" fmla="*/ 476835 h 2961983"/>
              <a:gd name="connsiteX4" fmla="*/ 1200500 w 1539823"/>
              <a:gd name="connsiteY4" fmla="*/ 611470 h 2961983"/>
              <a:gd name="connsiteX5" fmla="*/ 1234159 w 1539823"/>
              <a:gd name="connsiteY5" fmla="*/ 729276 h 2961983"/>
              <a:gd name="connsiteX6" fmla="*/ 1256598 w 1539823"/>
              <a:gd name="connsiteY6" fmla="*/ 802204 h 2961983"/>
              <a:gd name="connsiteX7" fmla="*/ 1290257 w 1539823"/>
              <a:gd name="connsiteY7" fmla="*/ 931230 h 2961983"/>
              <a:gd name="connsiteX8" fmla="*/ 1307087 w 1539823"/>
              <a:gd name="connsiteY8" fmla="*/ 981718 h 2961983"/>
              <a:gd name="connsiteX9" fmla="*/ 1430503 w 1539823"/>
              <a:gd name="connsiteY9" fmla="*/ 1049036 h 2961983"/>
              <a:gd name="connsiteX10" fmla="*/ 1447332 w 1539823"/>
              <a:gd name="connsiteY10" fmla="*/ 1150013 h 2961983"/>
              <a:gd name="connsiteX11" fmla="*/ 1452942 w 1539823"/>
              <a:gd name="connsiteY11" fmla="*/ 1256599 h 2961983"/>
              <a:gd name="connsiteX12" fmla="*/ 1475381 w 1539823"/>
              <a:gd name="connsiteY12" fmla="*/ 1323917 h 2961983"/>
              <a:gd name="connsiteX13" fmla="*/ 1469771 w 1539823"/>
              <a:gd name="connsiteY13" fmla="*/ 1396844 h 2961983"/>
              <a:gd name="connsiteX14" fmla="*/ 1480991 w 1539823"/>
              <a:gd name="connsiteY14" fmla="*/ 1480992 h 2961983"/>
              <a:gd name="connsiteX15" fmla="*/ 1469771 w 1539823"/>
              <a:gd name="connsiteY15" fmla="*/ 1537090 h 2961983"/>
              <a:gd name="connsiteX16" fmla="*/ 1475381 w 1539823"/>
              <a:gd name="connsiteY16" fmla="*/ 1615627 h 2961983"/>
              <a:gd name="connsiteX17" fmla="*/ 1486601 w 1539823"/>
              <a:gd name="connsiteY17" fmla="*/ 1705384 h 2961983"/>
              <a:gd name="connsiteX18" fmla="*/ 1497820 w 1539823"/>
              <a:gd name="connsiteY18" fmla="*/ 1761482 h 2961983"/>
              <a:gd name="connsiteX19" fmla="*/ 1525870 w 1539823"/>
              <a:gd name="connsiteY19" fmla="*/ 1851240 h 2961983"/>
              <a:gd name="connsiteX20" fmla="*/ 1537089 w 1539823"/>
              <a:gd name="connsiteY20" fmla="*/ 1890508 h 2961983"/>
              <a:gd name="connsiteX21" fmla="*/ 1475381 w 1539823"/>
              <a:gd name="connsiteY21" fmla="*/ 2030754 h 2961983"/>
              <a:gd name="connsiteX22" fmla="*/ 1396844 w 1539823"/>
              <a:gd name="connsiteY22" fmla="*/ 2070022 h 2961983"/>
              <a:gd name="connsiteX23" fmla="*/ 1329526 w 1539823"/>
              <a:gd name="connsiteY23" fmla="*/ 2070022 h 2961983"/>
              <a:gd name="connsiteX24" fmla="*/ 1284647 w 1539823"/>
              <a:gd name="connsiteY24" fmla="*/ 2126121 h 2961983"/>
              <a:gd name="connsiteX25" fmla="*/ 1250989 w 1539823"/>
              <a:gd name="connsiteY25" fmla="*/ 2243927 h 2961983"/>
              <a:gd name="connsiteX26" fmla="*/ 1217330 w 1539823"/>
              <a:gd name="connsiteY26" fmla="*/ 2288805 h 2961983"/>
              <a:gd name="connsiteX27" fmla="*/ 1172451 w 1539823"/>
              <a:gd name="connsiteY27" fmla="*/ 2333684 h 2961983"/>
              <a:gd name="connsiteX28" fmla="*/ 1116353 w 1539823"/>
              <a:gd name="connsiteY28" fmla="*/ 2401001 h 2961983"/>
              <a:gd name="connsiteX29" fmla="*/ 914400 w 1539823"/>
              <a:gd name="connsiteY29" fmla="*/ 2445880 h 2961983"/>
              <a:gd name="connsiteX30" fmla="*/ 751715 w 1539823"/>
              <a:gd name="connsiteY30" fmla="*/ 2457100 h 2961983"/>
              <a:gd name="connsiteX31" fmla="*/ 667568 w 1539823"/>
              <a:gd name="connsiteY31" fmla="*/ 2451490 h 2961983"/>
              <a:gd name="connsiteX32" fmla="*/ 527322 w 1539823"/>
              <a:gd name="connsiteY32" fmla="*/ 2546857 h 2961983"/>
              <a:gd name="connsiteX33" fmla="*/ 443175 w 1539823"/>
              <a:gd name="connsiteY33" fmla="*/ 2597345 h 2961983"/>
              <a:gd name="connsiteX34" fmla="*/ 375857 w 1539823"/>
              <a:gd name="connsiteY34" fmla="*/ 2653443 h 2961983"/>
              <a:gd name="connsiteX35" fmla="*/ 319759 w 1539823"/>
              <a:gd name="connsiteY35" fmla="*/ 2737590 h 2961983"/>
              <a:gd name="connsiteX36" fmla="*/ 280490 w 1539823"/>
              <a:gd name="connsiteY36" fmla="*/ 2793689 h 2961983"/>
              <a:gd name="connsiteX37" fmla="*/ 241222 w 1539823"/>
              <a:gd name="connsiteY37" fmla="*/ 2827348 h 2961983"/>
              <a:gd name="connsiteX38" fmla="*/ 140245 w 1539823"/>
              <a:gd name="connsiteY38" fmla="*/ 2866616 h 2961983"/>
              <a:gd name="connsiteX39" fmla="*/ 56098 w 1539823"/>
              <a:gd name="connsiteY39" fmla="*/ 2917105 h 2961983"/>
              <a:gd name="connsiteX40" fmla="*/ 0 w 1539823"/>
              <a:gd name="connsiteY40" fmla="*/ 2961983 h 2961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539823" h="2961983">
                <a:moveTo>
                  <a:pt x="1032206" y="0"/>
                </a:moveTo>
                <a:cubicBezTo>
                  <a:pt x="1045295" y="47216"/>
                  <a:pt x="1058385" y="94433"/>
                  <a:pt x="1071474" y="140246"/>
                </a:cubicBezTo>
                <a:cubicBezTo>
                  <a:pt x="1084563" y="186059"/>
                  <a:pt x="1096718" y="218783"/>
                  <a:pt x="1110743" y="274881"/>
                </a:cubicBezTo>
                <a:cubicBezTo>
                  <a:pt x="1124768" y="330979"/>
                  <a:pt x="1140663" y="420737"/>
                  <a:pt x="1155622" y="476835"/>
                </a:cubicBezTo>
                <a:cubicBezTo>
                  <a:pt x="1170581" y="532933"/>
                  <a:pt x="1187411" y="569397"/>
                  <a:pt x="1200500" y="611470"/>
                </a:cubicBezTo>
                <a:cubicBezTo>
                  <a:pt x="1213589" y="653543"/>
                  <a:pt x="1224809" y="697487"/>
                  <a:pt x="1234159" y="729276"/>
                </a:cubicBezTo>
                <a:cubicBezTo>
                  <a:pt x="1243509" y="761065"/>
                  <a:pt x="1247248" y="768545"/>
                  <a:pt x="1256598" y="802204"/>
                </a:cubicBezTo>
                <a:cubicBezTo>
                  <a:pt x="1265948" y="835863"/>
                  <a:pt x="1281842" y="901311"/>
                  <a:pt x="1290257" y="931230"/>
                </a:cubicBezTo>
                <a:cubicBezTo>
                  <a:pt x="1298672" y="961149"/>
                  <a:pt x="1283713" y="962084"/>
                  <a:pt x="1307087" y="981718"/>
                </a:cubicBezTo>
                <a:cubicBezTo>
                  <a:pt x="1330461" y="1001352"/>
                  <a:pt x="1407129" y="1020987"/>
                  <a:pt x="1430503" y="1049036"/>
                </a:cubicBezTo>
                <a:cubicBezTo>
                  <a:pt x="1453877" y="1077085"/>
                  <a:pt x="1443592" y="1115419"/>
                  <a:pt x="1447332" y="1150013"/>
                </a:cubicBezTo>
                <a:cubicBezTo>
                  <a:pt x="1451072" y="1184607"/>
                  <a:pt x="1448267" y="1227615"/>
                  <a:pt x="1452942" y="1256599"/>
                </a:cubicBezTo>
                <a:cubicBezTo>
                  <a:pt x="1457617" y="1285583"/>
                  <a:pt x="1472576" y="1300543"/>
                  <a:pt x="1475381" y="1323917"/>
                </a:cubicBezTo>
                <a:cubicBezTo>
                  <a:pt x="1478186" y="1347291"/>
                  <a:pt x="1468836" y="1370665"/>
                  <a:pt x="1469771" y="1396844"/>
                </a:cubicBezTo>
                <a:cubicBezTo>
                  <a:pt x="1470706" y="1423023"/>
                  <a:pt x="1480991" y="1457618"/>
                  <a:pt x="1480991" y="1480992"/>
                </a:cubicBezTo>
                <a:cubicBezTo>
                  <a:pt x="1480991" y="1504366"/>
                  <a:pt x="1470706" y="1514651"/>
                  <a:pt x="1469771" y="1537090"/>
                </a:cubicBezTo>
                <a:cubicBezTo>
                  <a:pt x="1468836" y="1559529"/>
                  <a:pt x="1472576" y="1587578"/>
                  <a:pt x="1475381" y="1615627"/>
                </a:cubicBezTo>
                <a:cubicBezTo>
                  <a:pt x="1478186" y="1643676"/>
                  <a:pt x="1482861" y="1681075"/>
                  <a:pt x="1486601" y="1705384"/>
                </a:cubicBezTo>
                <a:cubicBezTo>
                  <a:pt x="1490341" y="1729693"/>
                  <a:pt x="1491275" y="1737173"/>
                  <a:pt x="1497820" y="1761482"/>
                </a:cubicBezTo>
                <a:cubicBezTo>
                  <a:pt x="1504365" y="1785791"/>
                  <a:pt x="1519325" y="1829736"/>
                  <a:pt x="1525870" y="1851240"/>
                </a:cubicBezTo>
                <a:cubicBezTo>
                  <a:pt x="1532415" y="1872744"/>
                  <a:pt x="1545504" y="1860589"/>
                  <a:pt x="1537089" y="1890508"/>
                </a:cubicBezTo>
                <a:cubicBezTo>
                  <a:pt x="1528674" y="1920427"/>
                  <a:pt x="1498755" y="2000835"/>
                  <a:pt x="1475381" y="2030754"/>
                </a:cubicBezTo>
                <a:cubicBezTo>
                  <a:pt x="1452007" y="2060673"/>
                  <a:pt x="1421153" y="2063477"/>
                  <a:pt x="1396844" y="2070022"/>
                </a:cubicBezTo>
                <a:cubicBezTo>
                  <a:pt x="1372535" y="2076567"/>
                  <a:pt x="1348225" y="2060672"/>
                  <a:pt x="1329526" y="2070022"/>
                </a:cubicBezTo>
                <a:cubicBezTo>
                  <a:pt x="1310827" y="2079372"/>
                  <a:pt x="1297736" y="2097137"/>
                  <a:pt x="1284647" y="2126121"/>
                </a:cubicBezTo>
                <a:cubicBezTo>
                  <a:pt x="1271558" y="2155105"/>
                  <a:pt x="1262208" y="2216813"/>
                  <a:pt x="1250989" y="2243927"/>
                </a:cubicBezTo>
                <a:cubicBezTo>
                  <a:pt x="1239770" y="2271041"/>
                  <a:pt x="1230420" y="2273846"/>
                  <a:pt x="1217330" y="2288805"/>
                </a:cubicBezTo>
                <a:cubicBezTo>
                  <a:pt x="1204240" y="2303765"/>
                  <a:pt x="1189280" y="2314985"/>
                  <a:pt x="1172451" y="2333684"/>
                </a:cubicBezTo>
                <a:cubicBezTo>
                  <a:pt x="1155622" y="2352383"/>
                  <a:pt x="1159362" y="2382302"/>
                  <a:pt x="1116353" y="2401001"/>
                </a:cubicBezTo>
                <a:cubicBezTo>
                  <a:pt x="1073345" y="2419700"/>
                  <a:pt x="975173" y="2436530"/>
                  <a:pt x="914400" y="2445880"/>
                </a:cubicBezTo>
                <a:cubicBezTo>
                  <a:pt x="853627" y="2455230"/>
                  <a:pt x="792854" y="2456165"/>
                  <a:pt x="751715" y="2457100"/>
                </a:cubicBezTo>
                <a:cubicBezTo>
                  <a:pt x="710576" y="2458035"/>
                  <a:pt x="704967" y="2436531"/>
                  <a:pt x="667568" y="2451490"/>
                </a:cubicBezTo>
                <a:cubicBezTo>
                  <a:pt x="630169" y="2466449"/>
                  <a:pt x="564721" y="2522548"/>
                  <a:pt x="527322" y="2546857"/>
                </a:cubicBezTo>
                <a:cubicBezTo>
                  <a:pt x="489923" y="2571166"/>
                  <a:pt x="468419" y="2579581"/>
                  <a:pt x="443175" y="2597345"/>
                </a:cubicBezTo>
                <a:cubicBezTo>
                  <a:pt x="417931" y="2615109"/>
                  <a:pt x="396426" y="2630069"/>
                  <a:pt x="375857" y="2653443"/>
                </a:cubicBezTo>
                <a:cubicBezTo>
                  <a:pt x="355288" y="2676817"/>
                  <a:pt x="335653" y="2714216"/>
                  <a:pt x="319759" y="2737590"/>
                </a:cubicBezTo>
                <a:cubicBezTo>
                  <a:pt x="303864" y="2760964"/>
                  <a:pt x="293579" y="2778729"/>
                  <a:pt x="280490" y="2793689"/>
                </a:cubicBezTo>
                <a:cubicBezTo>
                  <a:pt x="267400" y="2808649"/>
                  <a:pt x="264596" y="2815194"/>
                  <a:pt x="241222" y="2827348"/>
                </a:cubicBezTo>
                <a:cubicBezTo>
                  <a:pt x="217848" y="2839502"/>
                  <a:pt x="171099" y="2851657"/>
                  <a:pt x="140245" y="2866616"/>
                </a:cubicBezTo>
                <a:cubicBezTo>
                  <a:pt x="109391" y="2881575"/>
                  <a:pt x="79472" y="2901211"/>
                  <a:pt x="56098" y="2917105"/>
                </a:cubicBezTo>
                <a:cubicBezTo>
                  <a:pt x="32724" y="2932999"/>
                  <a:pt x="9350" y="2951698"/>
                  <a:pt x="0" y="2961983"/>
                </a:cubicBezTo>
              </a:path>
            </a:pathLst>
          </a:custGeom>
          <a:noFill/>
          <a:ln w="31750">
            <a:solidFill>
              <a:srgbClr val="F7A600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олилиния 39"/>
          <p:cNvSpPr/>
          <p:nvPr/>
        </p:nvSpPr>
        <p:spPr>
          <a:xfrm>
            <a:off x="521713" y="2602955"/>
            <a:ext cx="2710900" cy="3551013"/>
          </a:xfrm>
          <a:custGeom>
            <a:avLst/>
            <a:gdLst>
              <a:gd name="connsiteX0" fmla="*/ 0 w 2710900"/>
              <a:gd name="connsiteY0" fmla="*/ 0 h 3551013"/>
              <a:gd name="connsiteX1" fmla="*/ 117806 w 2710900"/>
              <a:gd name="connsiteY1" fmla="*/ 56098 h 3551013"/>
              <a:gd name="connsiteX2" fmla="*/ 213173 w 2710900"/>
              <a:gd name="connsiteY2" fmla="*/ 100976 h 3551013"/>
              <a:gd name="connsiteX3" fmla="*/ 302930 w 2710900"/>
              <a:gd name="connsiteY3" fmla="*/ 151465 h 3551013"/>
              <a:gd name="connsiteX4" fmla="*/ 375858 w 2710900"/>
              <a:gd name="connsiteY4" fmla="*/ 173904 h 3551013"/>
              <a:gd name="connsiteX5" fmla="*/ 420736 w 2710900"/>
              <a:gd name="connsiteY5" fmla="*/ 218782 h 3551013"/>
              <a:gd name="connsiteX6" fmla="*/ 476834 w 2710900"/>
              <a:gd name="connsiteY6" fmla="*/ 269271 h 3551013"/>
              <a:gd name="connsiteX7" fmla="*/ 555372 w 2710900"/>
              <a:gd name="connsiteY7" fmla="*/ 235612 h 3551013"/>
              <a:gd name="connsiteX8" fmla="*/ 594640 w 2710900"/>
              <a:gd name="connsiteY8" fmla="*/ 230002 h 3551013"/>
              <a:gd name="connsiteX9" fmla="*/ 678788 w 2710900"/>
              <a:gd name="connsiteY9" fmla="*/ 274881 h 3551013"/>
              <a:gd name="connsiteX10" fmla="*/ 740496 w 2710900"/>
              <a:gd name="connsiteY10" fmla="*/ 263661 h 3551013"/>
              <a:gd name="connsiteX11" fmla="*/ 824643 w 2710900"/>
              <a:gd name="connsiteY11" fmla="*/ 252441 h 3551013"/>
              <a:gd name="connsiteX12" fmla="*/ 914400 w 2710900"/>
              <a:gd name="connsiteY12" fmla="*/ 196343 h 3551013"/>
              <a:gd name="connsiteX13" fmla="*/ 964888 w 2710900"/>
              <a:gd name="connsiteY13" fmla="*/ 117806 h 3551013"/>
              <a:gd name="connsiteX14" fmla="*/ 1077085 w 2710900"/>
              <a:gd name="connsiteY14" fmla="*/ 100976 h 3551013"/>
              <a:gd name="connsiteX15" fmla="*/ 1161232 w 2710900"/>
              <a:gd name="connsiteY15" fmla="*/ 129025 h 3551013"/>
              <a:gd name="connsiteX16" fmla="*/ 1217330 w 2710900"/>
              <a:gd name="connsiteY16" fmla="*/ 117806 h 3551013"/>
              <a:gd name="connsiteX17" fmla="*/ 1295867 w 2710900"/>
              <a:gd name="connsiteY17" fmla="*/ 157074 h 3551013"/>
              <a:gd name="connsiteX18" fmla="*/ 1329526 w 2710900"/>
              <a:gd name="connsiteY18" fmla="*/ 190733 h 3551013"/>
              <a:gd name="connsiteX19" fmla="*/ 1335136 w 2710900"/>
              <a:gd name="connsiteY19" fmla="*/ 258051 h 3551013"/>
              <a:gd name="connsiteX20" fmla="*/ 1385624 w 2710900"/>
              <a:gd name="connsiteY20" fmla="*/ 286100 h 3551013"/>
              <a:gd name="connsiteX21" fmla="*/ 1469772 w 2710900"/>
              <a:gd name="connsiteY21" fmla="*/ 263661 h 3551013"/>
              <a:gd name="connsiteX22" fmla="*/ 1638066 w 2710900"/>
              <a:gd name="connsiteY22" fmla="*/ 258051 h 3551013"/>
              <a:gd name="connsiteX23" fmla="*/ 1722213 w 2710900"/>
              <a:gd name="connsiteY23" fmla="*/ 263661 h 3551013"/>
              <a:gd name="connsiteX24" fmla="*/ 1811970 w 2710900"/>
              <a:gd name="connsiteY24" fmla="*/ 308539 h 3551013"/>
              <a:gd name="connsiteX25" fmla="*/ 1868069 w 2710900"/>
              <a:gd name="connsiteY25" fmla="*/ 342198 h 3551013"/>
              <a:gd name="connsiteX26" fmla="*/ 1957826 w 2710900"/>
              <a:gd name="connsiteY26" fmla="*/ 314149 h 3551013"/>
              <a:gd name="connsiteX27" fmla="*/ 2041973 w 2710900"/>
              <a:gd name="connsiteY27" fmla="*/ 336589 h 3551013"/>
              <a:gd name="connsiteX28" fmla="*/ 2075632 w 2710900"/>
              <a:gd name="connsiteY28" fmla="*/ 375857 h 3551013"/>
              <a:gd name="connsiteX29" fmla="*/ 2193438 w 2710900"/>
              <a:gd name="connsiteY29" fmla="*/ 387077 h 3551013"/>
              <a:gd name="connsiteX30" fmla="*/ 2266366 w 2710900"/>
              <a:gd name="connsiteY30" fmla="*/ 448785 h 3551013"/>
              <a:gd name="connsiteX31" fmla="*/ 2288805 w 2710900"/>
              <a:gd name="connsiteY31" fmla="*/ 549762 h 3551013"/>
              <a:gd name="connsiteX32" fmla="*/ 2328074 w 2710900"/>
              <a:gd name="connsiteY32" fmla="*/ 617079 h 3551013"/>
              <a:gd name="connsiteX33" fmla="*/ 2356123 w 2710900"/>
              <a:gd name="connsiteY33" fmla="*/ 729276 h 3551013"/>
              <a:gd name="connsiteX34" fmla="*/ 2384172 w 2710900"/>
              <a:gd name="connsiteY34" fmla="*/ 796593 h 3551013"/>
              <a:gd name="connsiteX35" fmla="*/ 2462709 w 2710900"/>
              <a:gd name="connsiteY35" fmla="*/ 841472 h 3551013"/>
              <a:gd name="connsiteX36" fmla="*/ 2552466 w 2710900"/>
              <a:gd name="connsiteY36" fmla="*/ 920009 h 3551013"/>
              <a:gd name="connsiteX37" fmla="*/ 2602954 w 2710900"/>
              <a:gd name="connsiteY37" fmla="*/ 1037816 h 3551013"/>
              <a:gd name="connsiteX38" fmla="*/ 2675882 w 2710900"/>
              <a:gd name="connsiteY38" fmla="*/ 1127573 h 3551013"/>
              <a:gd name="connsiteX39" fmla="*/ 2681492 w 2710900"/>
              <a:gd name="connsiteY39" fmla="*/ 1211720 h 3551013"/>
              <a:gd name="connsiteX40" fmla="*/ 2709541 w 2710900"/>
              <a:gd name="connsiteY40" fmla="*/ 1318306 h 3551013"/>
              <a:gd name="connsiteX41" fmla="*/ 2703931 w 2710900"/>
              <a:gd name="connsiteY41" fmla="*/ 1380014 h 3551013"/>
              <a:gd name="connsiteX42" fmla="*/ 2681492 w 2710900"/>
              <a:gd name="connsiteY42" fmla="*/ 1452942 h 3551013"/>
              <a:gd name="connsiteX43" fmla="*/ 2614174 w 2710900"/>
              <a:gd name="connsiteY43" fmla="*/ 1570748 h 3551013"/>
              <a:gd name="connsiteX44" fmla="*/ 2513197 w 2710900"/>
              <a:gd name="connsiteY44" fmla="*/ 1699774 h 3551013"/>
              <a:gd name="connsiteX45" fmla="*/ 2473929 w 2710900"/>
              <a:gd name="connsiteY45" fmla="*/ 1789531 h 3551013"/>
              <a:gd name="connsiteX46" fmla="*/ 2395391 w 2710900"/>
              <a:gd name="connsiteY46" fmla="*/ 1918557 h 3551013"/>
              <a:gd name="connsiteX47" fmla="*/ 2294415 w 2710900"/>
              <a:gd name="connsiteY47" fmla="*/ 1980265 h 3551013"/>
              <a:gd name="connsiteX48" fmla="*/ 2215877 w 2710900"/>
              <a:gd name="connsiteY48" fmla="*/ 2064412 h 3551013"/>
              <a:gd name="connsiteX49" fmla="*/ 2165389 w 2710900"/>
              <a:gd name="connsiteY49" fmla="*/ 2126120 h 3551013"/>
              <a:gd name="connsiteX50" fmla="*/ 2142950 w 2710900"/>
              <a:gd name="connsiteY50" fmla="*/ 2204657 h 3551013"/>
              <a:gd name="connsiteX51" fmla="*/ 2131730 w 2710900"/>
              <a:gd name="connsiteY51" fmla="*/ 2339293 h 3551013"/>
              <a:gd name="connsiteX52" fmla="*/ 2047583 w 2710900"/>
              <a:gd name="connsiteY52" fmla="*/ 2412220 h 3551013"/>
              <a:gd name="connsiteX53" fmla="*/ 1946606 w 2710900"/>
              <a:gd name="connsiteY53" fmla="*/ 2507587 h 3551013"/>
              <a:gd name="connsiteX54" fmla="*/ 1873678 w 2710900"/>
              <a:gd name="connsiteY54" fmla="*/ 2838566 h 3551013"/>
              <a:gd name="connsiteX55" fmla="*/ 1840020 w 2710900"/>
              <a:gd name="connsiteY55" fmla="*/ 3096618 h 3551013"/>
              <a:gd name="connsiteX56" fmla="*/ 1868069 w 2710900"/>
              <a:gd name="connsiteY56" fmla="*/ 3259303 h 3551013"/>
              <a:gd name="connsiteX57" fmla="*/ 1907337 w 2710900"/>
              <a:gd name="connsiteY57" fmla="*/ 3393938 h 3551013"/>
              <a:gd name="connsiteX58" fmla="*/ 1896118 w 2710900"/>
              <a:gd name="connsiteY58" fmla="*/ 3551013 h 3551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710900" h="3551013">
                <a:moveTo>
                  <a:pt x="0" y="0"/>
                </a:moveTo>
                <a:lnTo>
                  <a:pt x="117806" y="56098"/>
                </a:lnTo>
                <a:cubicBezTo>
                  <a:pt x="153335" y="72927"/>
                  <a:pt x="182319" y="85082"/>
                  <a:pt x="213173" y="100976"/>
                </a:cubicBezTo>
                <a:cubicBezTo>
                  <a:pt x="244027" y="116871"/>
                  <a:pt x="275816" y="139310"/>
                  <a:pt x="302930" y="151465"/>
                </a:cubicBezTo>
                <a:cubicBezTo>
                  <a:pt x="330044" y="163620"/>
                  <a:pt x="356224" y="162685"/>
                  <a:pt x="375858" y="173904"/>
                </a:cubicBezTo>
                <a:cubicBezTo>
                  <a:pt x="395492" y="185123"/>
                  <a:pt x="403907" y="202888"/>
                  <a:pt x="420736" y="218782"/>
                </a:cubicBezTo>
                <a:cubicBezTo>
                  <a:pt x="437565" y="234676"/>
                  <a:pt x="454395" y="266466"/>
                  <a:pt x="476834" y="269271"/>
                </a:cubicBezTo>
                <a:cubicBezTo>
                  <a:pt x="499273" y="272076"/>
                  <a:pt x="535738" y="242157"/>
                  <a:pt x="555372" y="235612"/>
                </a:cubicBezTo>
                <a:cubicBezTo>
                  <a:pt x="575006" y="229067"/>
                  <a:pt x="574071" y="223457"/>
                  <a:pt x="594640" y="230002"/>
                </a:cubicBezTo>
                <a:cubicBezTo>
                  <a:pt x="615209" y="236547"/>
                  <a:pt x="654479" y="269271"/>
                  <a:pt x="678788" y="274881"/>
                </a:cubicBezTo>
                <a:cubicBezTo>
                  <a:pt x="703097" y="280491"/>
                  <a:pt x="716187" y="267401"/>
                  <a:pt x="740496" y="263661"/>
                </a:cubicBezTo>
                <a:cubicBezTo>
                  <a:pt x="764805" y="259921"/>
                  <a:pt x="795659" y="263661"/>
                  <a:pt x="824643" y="252441"/>
                </a:cubicBezTo>
                <a:cubicBezTo>
                  <a:pt x="853627" y="241221"/>
                  <a:pt x="891026" y="218782"/>
                  <a:pt x="914400" y="196343"/>
                </a:cubicBezTo>
                <a:cubicBezTo>
                  <a:pt x="937774" y="173904"/>
                  <a:pt x="937774" y="133701"/>
                  <a:pt x="964888" y="117806"/>
                </a:cubicBezTo>
                <a:cubicBezTo>
                  <a:pt x="992002" y="101911"/>
                  <a:pt x="1044361" y="99106"/>
                  <a:pt x="1077085" y="100976"/>
                </a:cubicBezTo>
                <a:cubicBezTo>
                  <a:pt x="1109809" y="102846"/>
                  <a:pt x="1137858" y="126220"/>
                  <a:pt x="1161232" y="129025"/>
                </a:cubicBezTo>
                <a:cubicBezTo>
                  <a:pt x="1184606" y="131830"/>
                  <a:pt x="1194891" y="113131"/>
                  <a:pt x="1217330" y="117806"/>
                </a:cubicBezTo>
                <a:cubicBezTo>
                  <a:pt x="1239769" y="122481"/>
                  <a:pt x="1277168" y="144920"/>
                  <a:pt x="1295867" y="157074"/>
                </a:cubicBezTo>
                <a:cubicBezTo>
                  <a:pt x="1314566" y="169228"/>
                  <a:pt x="1322981" y="173904"/>
                  <a:pt x="1329526" y="190733"/>
                </a:cubicBezTo>
                <a:cubicBezTo>
                  <a:pt x="1336071" y="207563"/>
                  <a:pt x="1325786" y="242157"/>
                  <a:pt x="1335136" y="258051"/>
                </a:cubicBezTo>
                <a:cubicBezTo>
                  <a:pt x="1344486" y="273946"/>
                  <a:pt x="1363185" y="285165"/>
                  <a:pt x="1385624" y="286100"/>
                </a:cubicBezTo>
                <a:cubicBezTo>
                  <a:pt x="1408063" y="287035"/>
                  <a:pt x="1427698" y="268336"/>
                  <a:pt x="1469772" y="263661"/>
                </a:cubicBezTo>
                <a:cubicBezTo>
                  <a:pt x="1511846" y="258986"/>
                  <a:pt x="1595993" y="258051"/>
                  <a:pt x="1638066" y="258051"/>
                </a:cubicBezTo>
                <a:cubicBezTo>
                  <a:pt x="1680139" y="258051"/>
                  <a:pt x="1693229" y="255246"/>
                  <a:pt x="1722213" y="263661"/>
                </a:cubicBezTo>
                <a:cubicBezTo>
                  <a:pt x="1751197" y="272076"/>
                  <a:pt x="1787661" y="295450"/>
                  <a:pt x="1811970" y="308539"/>
                </a:cubicBezTo>
                <a:cubicBezTo>
                  <a:pt x="1836279" y="321628"/>
                  <a:pt x="1843760" y="341263"/>
                  <a:pt x="1868069" y="342198"/>
                </a:cubicBezTo>
                <a:cubicBezTo>
                  <a:pt x="1892378" y="343133"/>
                  <a:pt x="1928842" y="315084"/>
                  <a:pt x="1957826" y="314149"/>
                </a:cubicBezTo>
                <a:cubicBezTo>
                  <a:pt x="1986810" y="313214"/>
                  <a:pt x="2022339" y="326304"/>
                  <a:pt x="2041973" y="336589"/>
                </a:cubicBezTo>
                <a:cubicBezTo>
                  <a:pt x="2061607" y="346874"/>
                  <a:pt x="2050388" y="367442"/>
                  <a:pt x="2075632" y="375857"/>
                </a:cubicBezTo>
                <a:cubicBezTo>
                  <a:pt x="2100876" y="384272"/>
                  <a:pt x="2161649" y="374922"/>
                  <a:pt x="2193438" y="387077"/>
                </a:cubicBezTo>
                <a:cubicBezTo>
                  <a:pt x="2225227" y="399232"/>
                  <a:pt x="2250471" y="421671"/>
                  <a:pt x="2266366" y="448785"/>
                </a:cubicBezTo>
                <a:cubicBezTo>
                  <a:pt x="2282261" y="475899"/>
                  <a:pt x="2278520" y="521713"/>
                  <a:pt x="2288805" y="549762"/>
                </a:cubicBezTo>
                <a:cubicBezTo>
                  <a:pt x="2299090" y="577811"/>
                  <a:pt x="2316854" y="587160"/>
                  <a:pt x="2328074" y="617079"/>
                </a:cubicBezTo>
                <a:cubicBezTo>
                  <a:pt x="2339294" y="646998"/>
                  <a:pt x="2346773" y="699357"/>
                  <a:pt x="2356123" y="729276"/>
                </a:cubicBezTo>
                <a:cubicBezTo>
                  <a:pt x="2365473" y="759195"/>
                  <a:pt x="2366408" y="777894"/>
                  <a:pt x="2384172" y="796593"/>
                </a:cubicBezTo>
                <a:cubicBezTo>
                  <a:pt x="2401936" y="815292"/>
                  <a:pt x="2434660" y="820903"/>
                  <a:pt x="2462709" y="841472"/>
                </a:cubicBezTo>
                <a:cubicBezTo>
                  <a:pt x="2490758" y="862041"/>
                  <a:pt x="2529092" y="887285"/>
                  <a:pt x="2552466" y="920009"/>
                </a:cubicBezTo>
                <a:cubicBezTo>
                  <a:pt x="2575840" y="952733"/>
                  <a:pt x="2582385" y="1003222"/>
                  <a:pt x="2602954" y="1037816"/>
                </a:cubicBezTo>
                <a:cubicBezTo>
                  <a:pt x="2623523" y="1072410"/>
                  <a:pt x="2662792" y="1098589"/>
                  <a:pt x="2675882" y="1127573"/>
                </a:cubicBezTo>
                <a:cubicBezTo>
                  <a:pt x="2688972" y="1156557"/>
                  <a:pt x="2675882" y="1179931"/>
                  <a:pt x="2681492" y="1211720"/>
                </a:cubicBezTo>
                <a:cubicBezTo>
                  <a:pt x="2687102" y="1243509"/>
                  <a:pt x="2705801" y="1290257"/>
                  <a:pt x="2709541" y="1318306"/>
                </a:cubicBezTo>
                <a:cubicBezTo>
                  <a:pt x="2713281" y="1346355"/>
                  <a:pt x="2708606" y="1357575"/>
                  <a:pt x="2703931" y="1380014"/>
                </a:cubicBezTo>
                <a:cubicBezTo>
                  <a:pt x="2699256" y="1402453"/>
                  <a:pt x="2696451" y="1421153"/>
                  <a:pt x="2681492" y="1452942"/>
                </a:cubicBezTo>
                <a:cubicBezTo>
                  <a:pt x="2666533" y="1484731"/>
                  <a:pt x="2642223" y="1529609"/>
                  <a:pt x="2614174" y="1570748"/>
                </a:cubicBezTo>
                <a:cubicBezTo>
                  <a:pt x="2586125" y="1611887"/>
                  <a:pt x="2536571" y="1663310"/>
                  <a:pt x="2513197" y="1699774"/>
                </a:cubicBezTo>
                <a:cubicBezTo>
                  <a:pt x="2489823" y="1736238"/>
                  <a:pt x="2493563" y="1753067"/>
                  <a:pt x="2473929" y="1789531"/>
                </a:cubicBezTo>
                <a:cubicBezTo>
                  <a:pt x="2454295" y="1825995"/>
                  <a:pt x="2425310" y="1886768"/>
                  <a:pt x="2395391" y="1918557"/>
                </a:cubicBezTo>
                <a:cubicBezTo>
                  <a:pt x="2365472" y="1950346"/>
                  <a:pt x="2324334" y="1955956"/>
                  <a:pt x="2294415" y="1980265"/>
                </a:cubicBezTo>
                <a:cubicBezTo>
                  <a:pt x="2264496" y="2004574"/>
                  <a:pt x="2237381" y="2040103"/>
                  <a:pt x="2215877" y="2064412"/>
                </a:cubicBezTo>
                <a:cubicBezTo>
                  <a:pt x="2194373" y="2088721"/>
                  <a:pt x="2177543" y="2102746"/>
                  <a:pt x="2165389" y="2126120"/>
                </a:cubicBezTo>
                <a:cubicBezTo>
                  <a:pt x="2153235" y="2149494"/>
                  <a:pt x="2148560" y="2169128"/>
                  <a:pt x="2142950" y="2204657"/>
                </a:cubicBezTo>
                <a:cubicBezTo>
                  <a:pt x="2137340" y="2240186"/>
                  <a:pt x="2147624" y="2304699"/>
                  <a:pt x="2131730" y="2339293"/>
                </a:cubicBezTo>
                <a:cubicBezTo>
                  <a:pt x="2115836" y="2373887"/>
                  <a:pt x="2078437" y="2384171"/>
                  <a:pt x="2047583" y="2412220"/>
                </a:cubicBezTo>
                <a:cubicBezTo>
                  <a:pt x="2016729" y="2440269"/>
                  <a:pt x="1975590" y="2436529"/>
                  <a:pt x="1946606" y="2507587"/>
                </a:cubicBezTo>
                <a:cubicBezTo>
                  <a:pt x="1917622" y="2578645"/>
                  <a:pt x="1891442" y="2740394"/>
                  <a:pt x="1873678" y="2838566"/>
                </a:cubicBezTo>
                <a:cubicBezTo>
                  <a:pt x="1855914" y="2936738"/>
                  <a:pt x="1840955" y="3026495"/>
                  <a:pt x="1840020" y="3096618"/>
                </a:cubicBezTo>
                <a:cubicBezTo>
                  <a:pt x="1839085" y="3166741"/>
                  <a:pt x="1856850" y="3209750"/>
                  <a:pt x="1868069" y="3259303"/>
                </a:cubicBezTo>
                <a:cubicBezTo>
                  <a:pt x="1879289" y="3308856"/>
                  <a:pt x="1902662" y="3345320"/>
                  <a:pt x="1907337" y="3393938"/>
                </a:cubicBezTo>
                <a:cubicBezTo>
                  <a:pt x="1912012" y="3442556"/>
                  <a:pt x="1904065" y="3496784"/>
                  <a:pt x="1896118" y="3551013"/>
                </a:cubicBezTo>
              </a:path>
            </a:pathLst>
          </a:custGeom>
          <a:noFill/>
          <a:ln w="31750">
            <a:solidFill>
              <a:srgbClr val="E94282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601120" y="2330694"/>
            <a:ext cx="10530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+mj-lt"/>
              </a:rPr>
              <a:t>Нахабино</a:t>
            </a: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407CFAAA-CC4C-6E43-BC9C-25336EC2B32F}"/>
              </a:ext>
            </a:extLst>
          </p:cNvPr>
          <p:cNvSpPr/>
          <p:nvPr/>
        </p:nvSpPr>
        <p:spPr>
          <a:xfrm>
            <a:off x="2592451" y="2885575"/>
            <a:ext cx="351886" cy="352383"/>
          </a:xfrm>
          <a:prstGeom prst="ellipse">
            <a:avLst/>
          </a:prstGeom>
          <a:solidFill>
            <a:srgbClr val="7030A0">
              <a:alpha val="22000"/>
            </a:srgbClr>
          </a:solidFill>
          <a:ln w="25400" cap="rnd">
            <a:solidFill>
              <a:srgbClr val="7030A0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82C39A2-EFDA-D241-AC6D-52FC06369C3D}"/>
              </a:ext>
            </a:extLst>
          </p:cNvPr>
          <p:cNvSpPr txBox="1"/>
          <p:nvPr/>
        </p:nvSpPr>
        <p:spPr>
          <a:xfrm>
            <a:off x="1931208" y="2528253"/>
            <a:ext cx="1706991" cy="307777"/>
          </a:xfrm>
          <a:prstGeom prst="rect">
            <a:avLst/>
          </a:prstGeom>
          <a:solidFill>
            <a:srgbClr val="F3F3F5">
              <a:alpha val="87000"/>
            </a:srgbClr>
          </a:solidFill>
        </p:spPr>
        <p:txBody>
          <a:bodyPr wrap="square" rtlCol="0">
            <a:spAutoFit/>
          </a:bodyPr>
          <a:lstStyle/>
          <a:p>
            <a:r>
              <a:rPr lang="ru-RU" sz="700" b="1" cap="all" dirty="0">
                <a:solidFill>
                  <a:srgbClr val="7030A0"/>
                </a:solidFill>
                <a:latin typeface="+mj-lt"/>
              </a:rPr>
              <a:t>УЧАСТОК Москва-КАЛАНЧЕВСКАЯ —Москва-Пасс.-Курская</a:t>
            </a: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49EBAF65-3F75-484B-B839-36359DC6ACC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81" t="17968" r="59554" b="36014"/>
          <a:stretch/>
        </p:blipFill>
        <p:spPr>
          <a:xfrm>
            <a:off x="707635" y="2285711"/>
            <a:ext cx="246925" cy="124762"/>
          </a:xfrm>
          <a:prstGeom prst="rect">
            <a:avLst/>
          </a:prstGeom>
        </p:spPr>
      </p:pic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5709C8FA-7417-7247-88C1-015FF7460B7D}"/>
              </a:ext>
            </a:extLst>
          </p:cNvPr>
          <p:cNvCxnSpPr>
            <a:cxnSpLocks/>
          </p:cNvCxnSpPr>
          <p:nvPr/>
        </p:nvCxnSpPr>
        <p:spPr>
          <a:xfrm flipH="1">
            <a:off x="3675303" y="1287339"/>
            <a:ext cx="3980861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64A4E988-982A-0B4D-AB8A-F547954BA15D}"/>
              </a:ext>
            </a:extLst>
          </p:cNvPr>
          <p:cNvSpPr/>
          <p:nvPr/>
        </p:nvSpPr>
        <p:spPr>
          <a:xfrm>
            <a:off x="3505051" y="3060678"/>
            <a:ext cx="4322519" cy="1562720"/>
          </a:xfrm>
          <a:prstGeom prst="roundRect">
            <a:avLst>
              <a:gd name="adj" fmla="val 450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ru-RU" sz="1200" b="1" kern="0" dirty="0">
                <a:solidFill>
                  <a:srgbClr val="C00000"/>
                </a:solidFill>
                <a:latin typeface="+mj-lt"/>
              </a:rPr>
              <a:t>2.Технология работы зонной ст. Одинцово</a:t>
            </a:r>
            <a:endParaRPr lang="ru-RU" sz="1200" b="1" dirty="0">
              <a:solidFill>
                <a:srgbClr val="C00000"/>
              </a:solidFill>
              <a:latin typeface="+mj-lt"/>
            </a:endParaRPr>
          </a:p>
          <a:p>
            <a:pPr algn="just"/>
            <a:r>
              <a:rPr lang="ru-RU" sz="1050" b="1" dirty="0">
                <a:solidFill>
                  <a:srgbClr val="002060"/>
                </a:solidFill>
              </a:rPr>
              <a:t>Цель моделирования: </a:t>
            </a:r>
            <a:r>
              <a:rPr lang="ru-RU" sz="1050" dirty="0">
                <a:solidFill>
                  <a:schemeClr val="tx1"/>
                </a:solidFill>
              </a:rPr>
              <a:t>повышение пропускной способности станции за счёт укладки одного или двух новых съездов</a:t>
            </a:r>
          </a:p>
          <a:p>
            <a:pPr algn="just"/>
            <a:endParaRPr lang="ru-RU" sz="1050" dirty="0">
              <a:solidFill>
                <a:schemeClr val="tx1"/>
              </a:solidFill>
            </a:endParaRPr>
          </a:p>
          <a:p>
            <a:pPr algn="just"/>
            <a:r>
              <a:rPr lang="ru-RU" sz="1050" b="1" dirty="0">
                <a:solidFill>
                  <a:srgbClr val="002060"/>
                </a:solidFill>
              </a:rPr>
              <a:t>Результаты: </a:t>
            </a:r>
            <a:r>
              <a:rPr lang="ru-RU" sz="1050" dirty="0">
                <a:solidFill>
                  <a:schemeClr val="tx1"/>
                </a:solidFill>
              </a:rPr>
              <a:t>укладка одного съезда позволяет ускорить пассажирские поезда, а двух съездов — увеличить пропускную способность станции до 15 пар поездов в час</a:t>
            </a:r>
            <a:endParaRPr lang="ru-RU" sz="105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2198EA2C-1143-4C42-90A8-B6AA8759F0E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287" b="7212"/>
          <a:stretch/>
        </p:blipFill>
        <p:spPr>
          <a:xfrm>
            <a:off x="7827570" y="3056193"/>
            <a:ext cx="2028631" cy="1564169"/>
          </a:xfrm>
          <a:prstGeom prst="roundRect">
            <a:avLst>
              <a:gd name="adj" fmla="val 3343"/>
            </a:avLst>
          </a:prstGeom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D3C26F3D-B3F0-BD4B-A8BB-A5C33469ADA2}"/>
              </a:ext>
            </a:extLst>
          </p:cNvPr>
          <p:cNvCxnSpPr>
            <a:cxnSpLocks/>
          </p:cNvCxnSpPr>
          <p:nvPr/>
        </p:nvCxnSpPr>
        <p:spPr>
          <a:xfrm flipH="1">
            <a:off x="3675303" y="5104457"/>
            <a:ext cx="3980859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575F517D-3BC0-4AC1-B2D6-842E3E57555E}"/>
              </a:ext>
            </a:extLst>
          </p:cNvPr>
          <p:cNvGrpSpPr/>
          <p:nvPr/>
        </p:nvGrpSpPr>
        <p:grpSpPr>
          <a:xfrm>
            <a:off x="7809637" y="4814031"/>
            <a:ext cx="2028632" cy="1393753"/>
            <a:chOff x="7858967" y="4712769"/>
            <a:chExt cx="1979301" cy="1495016"/>
          </a:xfrm>
        </p:grpSpPr>
        <p:pic>
          <p:nvPicPr>
            <p:cNvPr id="57" name="Рисунок 56">
              <a:extLst>
                <a:ext uri="{FF2B5EF4-FFF2-40B4-BE49-F238E27FC236}">
                  <a16:creationId xmlns:a16="http://schemas.microsoft.com/office/drawing/2014/main" id="{10CCE829-14C9-4FAC-934A-CE1803870B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58967" y="4712769"/>
              <a:ext cx="1979300" cy="1490205"/>
            </a:xfrm>
            <a:prstGeom prst="roundRect">
              <a:avLst>
                <a:gd name="adj" fmla="val 3343"/>
              </a:avLst>
            </a:prstGeom>
            <a:effectLst>
              <a:outerShdw blurRad="165100" dist="38100" dir="2700000" sx="99000" sy="99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53BB32A-FB79-48C5-BA9E-AD74778D5311}"/>
                </a:ext>
              </a:extLst>
            </p:cNvPr>
            <p:cNvSpPr txBox="1"/>
            <p:nvPr/>
          </p:nvSpPr>
          <p:spPr>
            <a:xfrm>
              <a:off x="9095874" y="4757219"/>
              <a:ext cx="742394" cy="338554"/>
            </a:xfrm>
            <a:prstGeom prst="rect">
              <a:avLst/>
            </a:prstGeom>
            <a:solidFill>
              <a:srgbClr val="FFFFFF">
                <a:alpha val="58824"/>
              </a:srgb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ru-RU" sz="800" dirty="0">
                  <a:solidFill>
                    <a:schemeClr val="tx1"/>
                  </a:solidFill>
                </a:rPr>
                <a:t>15…11 мин</a:t>
              </a:r>
            </a:p>
            <a:p>
              <a:pPr algn="ctr"/>
              <a:r>
                <a:rPr lang="ru-RU" sz="800" dirty="0">
                  <a:solidFill>
                    <a:schemeClr val="tx1"/>
                  </a:solidFill>
                </a:rPr>
                <a:t>4 пути</a:t>
              </a:r>
              <a:endParaRPr lang="ru-RU" sz="800" dirty="0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D76BB31-5867-4261-99D1-385E8AB3F0DD}"/>
                </a:ext>
              </a:extLst>
            </p:cNvPr>
            <p:cNvSpPr txBox="1"/>
            <p:nvPr/>
          </p:nvSpPr>
          <p:spPr>
            <a:xfrm>
              <a:off x="9095874" y="5316400"/>
              <a:ext cx="742394" cy="338554"/>
            </a:xfrm>
            <a:prstGeom prst="rect">
              <a:avLst/>
            </a:prstGeom>
            <a:solidFill>
              <a:srgbClr val="FFFFFF">
                <a:alpha val="58824"/>
              </a:srgb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ru-RU" sz="800" dirty="0">
                  <a:solidFill>
                    <a:schemeClr val="tx1"/>
                  </a:solidFill>
                </a:rPr>
                <a:t>10…6 мин</a:t>
              </a:r>
            </a:p>
            <a:p>
              <a:pPr algn="ctr"/>
              <a:r>
                <a:rPr lang="ru-RU" sz="800" dirty="0">
                  <a:solidFill>
                    <a:schemeClr val="tx1"/>
                  </a:solidFill>
                </a:rPr>
                <a:t>3 пути</a:t>
              </a:r>
              <a:endParaRPr lang="ru-RU" sz="800" dirty="0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CDE4C30-8CD1-4C5B-833B-7907FA99BBFD}"/>
                </a:ext>
              </a:extLst>
            </p:cNvPr>
            <p:cNvSpPr txBox="1"/>
            <p:nvPr/>
          </p:nvSpPr>
          <p:spPr>
            <a:xfrm>
              <a:off x="9095874" y="5869231"/>
              <a:ext cx="742394" cy="338554"/>
            </a:xfrm>
            <a:prstGeom prst="rect">
              <a:avLst/>
            </a:prstGeom>
            <a:solidFill>
              <a:srgbClr val="FFFFFF">
                <a:alpha val="58824"/>
              </a:srgb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ru-RU" sz="800" dirty="0">
                  <a:solidFill>
                    <a:schemeClr val="tx1"/>
                  </a:solidFill>
                </a:rPr>
                <a:t>5…2 мин</a:t>
              </a:r>
            </a:p>
            <a:p>
              <a:pPr algn="ctr"/>
              <a:r>
                <a:rPr lang="ru-RU" sz="800" dirty="0">
                  <a:solidFill>
                    <a:schemeClr val="tx1"/>
                  </a:solidFill>
                </a:rPr>
                <a:t>2 пути</a:t>
              </a:r>
              <a:endParaRPr lang="ru-RU" sz="800" dirty="0"/>
            </a:p>
          </p:txBody>
        </p:sp>
      </p:grp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1E44354F-C286-4B8E-98AB-1E060315CB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09636" y="1005232"/>
            <a:ext cx="2013404" cy="1880344"/>
          </a:xfrm>
          <a:prstGeom prst="roundRect">
            <a:avLst>
              <a:gd name="adj" fmla="val 3343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85950FF3-4340-43C4-BF9C-CE0DB6D9D883}"/>
              </a:ext>
            </a:extLst>
          </p:cNvPr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941"/>
          <a:stretch/>
        </p:blipFill>
        <p:spPr>
          <a:xfrm>
            <a:off x="7858792" y="1082728"/>
            <a:ext cx="1930317" cy="462811"/>
          </a:xfrm>
          <a:prstGeom prst="rect">
            <a:avLst/>
          </a:prstGeom>
        </p:spPr>
      </p:pic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8C477C29-1301-4114-B419-40C3EB800D6B}"/>
              </a:ext>
            </a:extLst>
          </p:cNvPr>
          <p:cNvPicPr/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7570" y="1654534"/>
            <a:ext cx="1954334" cy="976469"/>
          </a:xfrm>
          <a:prstGeom prst="rect">
            <a:avLst/>
          </a:prstGeom>
        </p:spPr>
      </p:pic>
      <p:sp>
        <p:nvSpPr>
          <p:cNvPr id="68" name="Овал 67"/>
          <p:cNvSpPr/>
          <p:nvPr/>
        </p:nvSpPr>
        <p:spPr>
          <a:xfrm>
            <a:off x="2702248" y="2985504"/>
            <a:ext cx="143753" cy="150259"/>
          </a:xfrm>
          <a:prstGeom prst="ellipse">
            <a:avLst/>
          </a:prstGeom>
          <a:solidFill>
            <a:srgbClr val="7030A0"/>
          </a:solidFill>
          <a:ln w="25400" cap="rnd">
            <a:solidFill>
              <a:srgbClr val="7030A0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294" y="937725"/>
            <a:ext cx="7612411" cy="443702"/>
          </a:xfrm>
          <a:prstGeom prst="rect">
            <a:avLst/>
          </a:prstGeom>
        </p:spPr>
      </p:pic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A50656E2-7A80-DA4A-91C4-2C9BE81D76D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57" t="17968" r="78578" b="36014"/>
          <a:stretch/>
        </p:blipFill>
        <p:spPr>
          <a:xfrm>
            <a:off x="1394742" y="1232987"/>
            <a:ext cx="246925" cy="124762"/>
          </a:xfrm>
          <a:prstGeom prst="rect">
            <a:avLst/>
          </a:prstGeom>
        </p:spPr>
      </p:pic>
      <p:sp>
        <p:nvSpPr>
          <p:cNvPr id="71" name="Прямоугольник 70"/>
          <p:cNvSpPr/>
          <p:nvPr/>
        </p:nvSpPr>
        <p:spPr>
          <a:xfrm>
            <a:off x="1349581" y="987591"/>
            <a:ext cx="81329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+mj-lt"/>
              </a:rPr>
              <a:t>Лобня</a:t>
            </a:r>
            <a:endParaRPr lang="ru-RU" sz="1200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72" name="Овал 71"/>
          <p:cNvSpPr/>
          <p:nvPr/>
        </p:nvSpPr>
        <p:spPr>
          <a:xfrm>
            <a:off x="1929331" y="1082728"/>
            <a:ext cx="143753" cy="150259"/>
          </a:xfrm>
          <a:prstGeom prst="ellipse">
            <a:avLst/>
          </a:prstGeom>
          <a:solidFill>
            <a:srgbClr val="7030A0"/>
          </a:solidFill>
          <a:ln w="25400" cap="rnd">
            <a:solidFill>
              <a:srgbClr val="7030A0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5" name="Скругленный прямоугольник 84">
            <a:extLst>
              <a:ext uri="{FF2B5EF4-FFF2-40B4-BE49-F238E27FC236}">
                <a16:creationId xmlns:a16="http://schemas.microsoft.com/office/drawing/2014/main" id="{05848C9F-2693-7A4B-9A60-EE6B8889C3D5}"/>
              </a:ext>
            </a:extLst>
          </p:cNvPr>
          <p:cNvSpPr/>
          <p:nvPr/>
        </p:nvSpPr>
        <p:spPr>
          <a:xfrm>
            <a:off x="3487117" y="987592"/>
            <a:ext cx="4322519" cy="1915624"/>
          </a:xfrm>
          <a:prstGeom prst="roundRect">
            <a:avLst>
              <a:gd name="adj" fmla="val 450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ru-RU" sz="1200" b="1" kern="0" dirty="0">
                <a:solidFill>
                  <a:srgbClr val="C00000"/>
                </a:solidFill>
                <a:latin typeface="+mj-lt"/>
              </a:rPr>
              <a:t>1.Работа участка Москва-Пасс.-Курская – Москва-Каланчевская</a:t>
            </a:r>
            <a:endParaRPr lang="ru-RU" sz="1200" b="1" dirty="0">
              <a:solidFill>
                <a:srgbClr val="C00000"/>
              </a:solidFill>
              <a:latin typeface="+mj-lt"/>
            </a:endParaRPr>
          </a:p>
          <a:p>
            <a:pPr algn="just"/>
            <a:r>
              <a:rPr lang="ru-RU" sz="1050" b="1" dirty="0">
                <a:solidFill>
                  <a:srgbClr val="002060"/>
                </a:solidFill>
              </a:rPr>
              <a:t>Цель моделирования: </a:t>
            </a:r>
            <a:r>
              <a:rPr lang="ru-RU" sz="1050" dirty="0">
                <a:solidFill>
                  <a:schemeClr val="tx1"/>
                </a:solidFill>
              </a:rPr>
              <a:t>разработка имитационных моделей транспортных потоков ст. Москва-Пассажирская-Курская, Москва-Техническая-Курская в увязке с проектами ВСМ и МЦД с учётом наличия 4 главных путей между этими станциями </a:t>
            </a:r>
          </a:p>
          <a:p>
            <a:pPr algn="just"/>
            <a:endParaRPr lang="ru-RU" sz="1050" b="1" dirty="0">
              <a:solidFill>
                <a:srgbClr val="002060"/>
              </a:solidFill>
            </a:endParaRPr>
          </a:p>
          <a:p>
            <a:pPr algn="just"/>
            <a:r>
              <a:rPr lang="ru-RU" sz="1050" b="1" dirty="0">
                <a:solidFill>
                  <a:srgbClr val="002060"/>
                </a:solidFill>
              </a:rPr>
              <a:t>Результаты:</a:t>
            </a:r>
            <a:r>
              <a:rPr lang="ru-RU" sz="1050" dirty="0">
                <a:solidFill>
                  <a:srgbClr val="002060"/>
                </a:solidFill>
              </a:rPr>
              <a:t> </a:t>
            </a:r>
            <a:r>
              <a:rPr lang="ru-RU" sz="1050" dirty="0">
                <a:solidFill>
                  <a:schemeClr val="tx1"/>
                </a:solidFill>
              </a:rPr>
              <a:t>При полном развитии проекта МЦД, невозможно обеспечить пропуск проектного количества поездов ВСМ, в соответствии с имеющейся технологией </a:t>
            </a:r>
            <a:endParaRPr lang="ru-RU" sz="105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0B9477E1-F681-4148-93B8-CDD32E14BA88}"/>
              </a:ext>
            </a:extLst>
          </p:cNvPr>
          <p:cNvCxnSpPr>
            <a:cxnSpLocks/>
          </p:cNvCxnSpPr>
          <p:nvPr/>
        </p:nvCxnSpPr>
        <p:spPr>
          <a:xfrm flipH="1">
            <a:off x="3594100" y="1287339"/>
            <a:ext cx="4155353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  <p:sp>
        <p:nvSpPr>
          <p:cNvPr id="88" name="Прямоугольник 87"/>
          <p:cNvSpPr/>
          <p:nvPr/>
        </p:nvSpPr>
        <p:spPr>
          <a:xfrm>
            <a:off x="472382" y="4077900"/>
            <a:ext cx="10750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+mj-lt"/>
              </a:rPr>
              <a:t>Одинцово</a:t>
            </a:r>
          </a:p>
        </p:txBody>
      </p:sp>
      <p:pic>
        <p:nvPicPr>
          <p:cNvPr id="89" name="Рисунок 88">
            <a:extLst>
              <a:ext uri="{FF2B5EF4-FFF2-40B4-BE49-F238E27FC236}">
                <a16:creationId xmlns:a16="http://schemas.microsoft.com/office/drawing/2014/main" id="{A50656E2-7A80-DA4A-91C4-2C9BE81D76D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57" t="17968" r="78578" b="36014"/>
          <a:stretch/>
        </p:blipFill>
        <p:spPr>
          <a:xfrm>
            <a:off x="521713" y="4340935"/>
            <a:ext cx="246925" cy="124762"/>
          </a:xfrm>
          <a:prstGeom prst="rect">
            <a:avLst/>
          </a:prstGeom>
        </p:spPr>
      </p:pic>
      <p:sp>
        <p:nvSpPr>
          <p:cNvPr id="90" name="Овал 89"/>
          <p:cNvSpPr/>
          <p:nvPr/>
        </p:nvSpPr>
        <p:spPr>
          <a:xfrm>
            <a:off x="902007" y="4026275"/>
            <a:ext cx="143753" cy="150259"/>
          </a:xfrm>
          <a:prstGeom prst="ellipse">
            <a:avLst/>
          </a:prstGeom>
          <a:solidFill>
            <a:srgbClr val="7030A0"/>
          </a:solidFill>
          <a:ln w="25400" cap="rnd">
            <a:solidFill>
              <a:srgbClr val="7030A0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1" name="Овал 90"/>
          <p:cNvSpPr/>
          <p:nvPr/>
        </p:nvSpPr>
        <p:spPr>
          <a:xfrm>
            <a:off x="461212" y="2522205"/>
            <a:ext cx="143753" cy="150259"/>
          </a:xfrm>
          <a:prstGeom prst="ellipse">
            <a:avLst/>
          </a:prstGeom>
          <a:solidFill>
            <a:srgbClr val="7030A0"/>
          </a:solidFill>
          <a:ln w="25400" cap="rnd">
            <a:solidFill>
              <a:srgbClr val="7030A0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3" name="Овал 92"/>
          <p:cNvSpPr/>
          <p:nvPr/>
        </p:nvSpPr>
        <p:spPr>
          <a:xfrm>
            <a:off x="2331107" y="6078838"/>
            <a:ext cx="143753" cy="150259"/>
          </a:xfrm>
          <a:prstGeom prst="ellipse">
            <a:avLst/>
          </a:prstGeom>
          <a:solidFill>
            <a:srgbClr val="7030A0"/>
          </a:solidFill>
          <a:ln w="25400" cap="rnd">
            <a:solidFill>
              <a:srgbClr val="7030A0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4" name="Прямоугольник 93"/>
          <p:cNvSpPr/>
          <p:nvPr/>
        </p:nvSpPr>
        <p:spPr>
          <a:xfrm>
            <a:off x="2452150" y="5973072"/>
            <a:ext cx="11136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+mj-lt"/>
              </a:rPr>
              <a:t>Подольск</a:t>
            </a:r>
          </a:p>
        </p:txBody>
      </p:sp>
      <p:pic>
        <p:nvPicPr>
          <p:cNvPr id="95" name="Рисунок 94">
            <a:extLst>
              <a:ext uri="{FF2B5EF4-FFF2-40B4-BE49-F238E27FC236}">
                <a16:creationId xmlns:a16="http://schemas.microsoft.com/office/drawing/2014/main" id="{49EBAF65-3F75-484B-B839-36359DC6ACC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81" t="17968" r="59554" b="36014"/>
          <a:stretch/>
        </p:blipFill>
        <p:spPr>
          <a:xfrm>
            <a:off x="2554561" y="5892162"/>
            <a:ext cx="246925" cy="124762"/>
          </a:xfrm>
          <a:prstGeom prst="rect">
            <a:avLst/>
          </a:prstGeom>
        </p:spPr>
      </p:pic>
      <p:sp>
        <p:nvSpPr>
          <p:cNvPr id="97" name="Скругленный прямоугольник 96">
            <a:extLst>
              <a:ext uri="{FF2B5EF4-FFF2-40B4-BE49-F238E27FC236}">
                <a16:creationId xmlns:a16="http://schemas.microsoft.com/office/drawing/2014/main" id="{B9C0917E-E368-B244-A43B-544419B2D3A6}"/>
              </a:ext>
            </a:extLst>
          </p:cNvPr>
          <p:cNvSpPr/>
          <p:nvPr/>
        </p:nvSpPr>
        <p:spPr>
          <a:xfrm>
            <a:off x="3487117" y="4814032"/>
            <a:ext cx="4322519" cy="1388942"/>
          </a:xfrm>
          <a:prstGeom prst="roundRect">
            <a:avLst>
              <a:gd name="adj" fmla="val 450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ru-RU" sz="1200" b="1" kern="0" dirty="0">
                <a:solidFill>
                  <a:srgbClr val="C00000"/>
                </a:solidFill>
                <a:latin typeface="+mj-lt"/>
              </a:rPr>
              <a:t>3.Сокращение времени оборота МЦД на зонных станциях</a:t>
            </a:r>
            <a:endParaRPr lang="ru-RU" sz="1200" b="1" dirty="0">
              <a:solidFill>
                <a:srgbClr val="C00000"/>
              </a:solidFill>
              <a:latin typeface="+mj-lt"/>
            </a:endParaRPr>
          </a:p>
          <a:p>
            <a:pPr algn="just"/>
            <a:r>
              <a:rPr lang="ru-RU" sz="1050" b="1" dirty="0">
                <a:solidFill>
                  <a:srgbClr val="002060"/>
                </a:solidFill>
              </a:rPr>
              <a:t>Цель моделирования: </a:t>
            </a:r>
            <a:r>
              <a:rPr lang="ru-RU" sz="1050" dirty="0">
                <a:solidFill>
                  <a:schemeClr val="tx1"/>
                </a:solidFill>
              </a:rPr>
              <a:t>определить зависимость количества путей для оборота от времени на оборот одного поезда</a:t>
            </a:r>
          </a:p>
          <a:p>
            <a:pPr algn="just"/>
            <a:endParaRPr lang="ru-RU" sz="1050" dirty="0">
              <a:solidFill>
                <a:schemeClr val="tx1"/>
              </a:solidFill>
            </a:endParaRPr>
          </a:p>
          <a:p>
            <a:pPr algn="just"/>
            <a:r>
              <a:rPr lang="ru-RU" sz="1050" b="1" dirty="0">
                <a:solidFill>
                  <a:srgbClr val="002060"/>
                </a:solidFill>
              </a:rPr>
              <a:t>Результаты:</a:t>
            </a:r>
            <a:r>
              <a:rPr lang="ru-RU" sz="1050" dirty="0">
                <a:solidFill>
                  <a:srgbClr val="002060"/>
                </a:solidFill>
              </a:rPr>
              <a:t> </a:t>
            </a:r>
            <a:r>
              <a:rPr lang="ru-RU" sz="1050" dirty="0">
                <a:solidFill>
                  <a:schemeClr val="tx1"/>
                </a:solidFill>
              </a:rPr>
              <a:t>при сокращении времени оборота, значительно сокращается потребность в развитии инфраструктуры</a:t>
            </a:r>
            <a:endParaRPr lang="ru-RU" sz="105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98" name="Прямая соединительная линия 97">
            <a:extLst>
              <a:ext uri="{FF2B5EF4-FFF2-40B4-BE49-F238E27FC236}">
                <a16:creationId xmlns:a16="http://schemas.microsoft.com/office/drawing/2014/main" id="{0B9477E1-F681-4148-93B8-CDD32E14BA88}"/>
              </a:ext>
            </a:extLst>
          </p:cNvPr>
          <p:cNvCxnSpPr>
            <a:cxnSpLocks/>
          </p:cNvCxnSpPr>
          <p:nvPr/>
        </p:nvCxnSpPr>
        <p:spPr>
          <a:xfrm flipH="1">
            <a:off x="3565786" y="5099209"/>
            <a:ext cx="3543226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20934911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4B3A6CC-62F4-2147-ABC4-094B95F83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+mj-lt"/>
              </a:rPr>
              <a:pPr/>
              <a:t>13</a:t>
            </a:fld>
            <a:endParaRPr lang="ru-RU">
              <a:solidFill>
                <a:prstClr val="white"/>
              </a:solidFill>
              <a:latin typeface="+mj-lt"/>
            </a:endParaRPr>
          </a:p>
        </p:txBody>
      </p:sp>
      <p:sp>
        <p:nvSpPr>
          <p:cNvPr id="45" name="Заголовок 1">
            <a:extLst>
              <a:ext uri="{FF2B5EF4-FFF2-40B4-BE49-F238E27FC236}">
                <a16:creationId xmlns:a16="http://schemas.microsoft.com/office/drawing/2014/main" id="{28A8A316-E7D3-5140-B25A-B736BFCDFF6F}"/>
              </a:ext>
            </a:extLst>
          </p:cNvPr>
          <p:cNvSpPr txBox="1">
            <a:spLocks/>
          </p:cNvSpPr>
          <p:nvPr/>
        </p:nvSpPr>
        <p:spPr>
          <a:xfrm>
            <a:off x="249035" y="67511"/>
            <a:ext cx="8846488" cy="646574"/>
          </a:xfrm>
          <a:prstGeom prst="rect">
            <a:avLst/>
          </a:prstGeom>
        </p:spPr>
        <p:txBody>
          <a:bodyPr vert="horz" lIns="122191" tIns="61096" rIns="122191" bIns="61096" rtlCol="0" anchor="ctr">
            <a:noAutofit/>
          </a:bodyPr>
          <a:lstStyle>
            <a:lvl1pPr algn="l" defTabSz="8728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71" kern="1200">
                <a:solidFill>
                  <a:srgbClr val="BF2D2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286" dirty="0"/>
              <a:t>Моделирование ст. Москва-Пасс.-Курская и Москва-Каланчевская</a:t>
            </a: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88CB075B-3E10-4347-8C25-ECD03CD5EF40}"/>
              </a:ext>
            </a:extLst>
          </p:cNvPr>
          <p:cNvSpPr/>
          <p:nvPr/>
        </p:nvSpPr>
        <p:spPr>
          <a:xfrm>
            <a:off x="321733" y="702127"/>
            <a:ext cx="9335230" cy="600164"/>
          </a:xfrm>
          <a:prstGeom prst="roundRect">
            <a:avLst>
              <a:gd name="adj" fmla="val 9049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одель предусматривает сохранение существующих размеров движения транзитных пассажирских поездов дальнего следования и пригородных электропоездов Курского и Горьковского направлений в условиях развития высокоскоростной магистрали Москва-Казань-Екатеринбург (ВСМ-2) и Московских центральных диаметров (МЦД-2 и МЦД-4), объёмы движения высокоскоростных поездов составляют 20 пар поездов в сутки. 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A297E9EC-DC51-40BF-AE41-BB9FB124A201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243"/>
          <a:stretch/>
        </p:blipFill>
        <p:spPr>
          <a:xfrm>
            <a:off x="249035" y="1840851"/>
            <a:ext cx="9407198" cy="1688269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9CBBC569-F8B0-4737-881E-121659E0D57F}"/>
              </a:ext>
            </a:extLst>
          </p:cNvPr>
          <p:cNvSpPr txBox="1"/>
          <p:nvPr/>
        </p:nvSpPr>
        <p:spPr>
          <a:xfrm>
            <a:off x="265540" y="1317630"/>
            <a:ext cx="940719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effectLst/>
                <a:latin typeface="+mj-lt"/>
                <a:ea typeface="Calibri" panose="020F0502020204030204" pitchFamily="34" charset="0"/>
              </a:rPr>
              <a:t>На построенной имитационной модели в результате расчётов было установлено, что система </a:t>
            </a:r>
            <a:r>
              <a:rPr lang="ru-RU" sz="1400" b="1" dirty="0">
                <a:solidFill>
                  <a:srgbClr val="C00000"/>
                </a:solidFill>
                <a:effectLst/>
                <a:latin typeface="+mj-lt"/>
                <a:ea typeface="Calibri" panose="020F0502020204030204" pitchFamily="34" charset="0"/>
              </a:rPr>
              <a:t>не может </a:t>
            </a:r>
            <a:r>
              <a:rPr lang="ru-RU" sz="1400" b="1" dirty="0">
                <a:effectLst/>
                <a:latin typeface="+mj-lt"/>
                <a:ea typeface="Calibri" panose="020F0502020204030204" pitchFamily="34" charset="0"/>
              </a:rPr>
              <a:t>полностью переработать заданные поездопотоки</a:t>
            </a:r>
            <a:endParaRPr lang="ru-RU" sz="1400" b="1" dirty="0">
              <a:latin typeface="+mj-lt"/>
            </a:endParaRP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CE1A30F9-CD77-42A6-A501-0A884EAF287B}"/>
              </a:ext>
            </a:extLst>
          </p:cNvPr>
          <p:cNvSpPr/>
          <p:nvPr/>
        </p:nvSpPr>
        <p:spPr>
          <a:xfrm>
            <a:off x="317498" y="5681913"/>
            <a:ext cx="9334500" cy="786620"/>
          </a:xfrm>
          <a:prstGeom prst="roundRect">
            <a:avLst>
              <a:gd name="adj" fmla="val 6011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Для повышения пропускной и перерабатывающей способности станций можно рекомендовать следующие мероприятия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увеличение количества </a:t>
            </a:r>
            <a:r>
              <a:rPr lang="ru-RU" sz="1100" dirty="0" err="1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приёмо</a:t>
            </a:r>
            <a:r>
              <a:rPr lang="ru-RU" sz="1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-отправочных путей на станции Москва-Пассажирская-Курская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строительство пятого соединительного пути между ст. Москва-Пассажирская-Курская и ст. Москва-Техническая-Курская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сокращение межпоездных материалов менее 5 минут при возможности безусловного обеспечения безопасности движения.</a:t>
            </a:r>
          </a:p>
        </p:txBody>
      </p:sp>
      <p:sp>
        <p:nvSpPr>
          <p:cNvPr id="16" name="Скругленный прямоугольник 33">
            <a:extLst>
              <a:ext uri="{FF2B5EF4-FFF2-40B4-BE49-F238E27FC236}">
                <a16:creationId xmlns:a16="http://schemas.microsoft.com/office/drawing/2014/main" id="{07BFA4D0-0A09-4928-BE1F-1C0DB06197AF}"/>
              </a:ext>
            </a:extLst>
          </p:cNvPr>
          <p:cNvSpPr/>
          <p:nvPr/>
        </p:nvSpPr>
        <p:spPr>
          <a:xfrm>
            <a:off x="317498" y="3529118"/>
            <a:ext cx="4946635" cy="2073553"/>
          </a:xfrm>
          <a:prstGeom prst="roundRect">
            <a:avLst>
              <a:gd name="adj" fmla="val 450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00" b="1" dirty="0"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</a:rPr>
              <a:t>В результате расчётов на имитационной модели экспериментально </a:t>
            </a:r>
          </a:p>
          <a:p>
            <a:r>
              <a:rPr lang="ru-RU" sz="1200" b="1" dirty="0"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</a:rPr>
              <a:t>было установлено:</a:t>
            </a:r>
          </a:p>
          <a:p>
            <a:endParaRPr lang="ru-RU"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026380B-3196-444D-9367-3870D4A092F2}"/>
              </a:ext>
            </a:extLst>
          </p:cNvPr>
          <p:cNvSpPr txBox="1"/>
          <p:nvPr/>
        </p:nvSpPr>
        <p:spPr>
          <a:xfrm>
            <a:off x="317498" y="3993643"/>
            <a:ext cx="5034166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ru-RU" sz="1000" dirty="0">
                <a:effectLst/>
                <a:latin typeface="+mj-lt"/>
                <a:ea typeface="Calibri" panose="020F0502020204030204" pitchFamily="34" charset="0"/>
              </a:rPr>
              <a:t>Станции Москва-Техническая-Курская и Москва-Пассажирская-Курская не могут совместно переработать планируемый поток пригородных поездов Горьковского и Курского направлений, а также поездов МЦД-2. Это обусловлено недостатком </a:t>
            </a:r>
            <a:r>
              <a:rPr lang="ru-RU" sz="1000" dirty="0" err="1">
                <a:effectLst/>
                <a:latin typeface="+mj-lt"/>
                <a:ea typeface="Calibri" panose="020F0502020204030204" pitchFamily="34" charset="0"/>
              </a:rPr>
              <a:t>приёмо</a:t>
            </a:r>
            <a:r>
              <a:rPr lang="ru-RU" sz="1000" dirty="0">
                <a:effectLst/>
                <a:latin typeface="+mj-lt"/>
                <a:ea typeface="Calibri" panose="020F0502020204030204" pitchFamily="34" charset="0"/>
              </a:rPr>
              <a:t>-отправочных путей на станции Москва-Пасс.-Курская и высокой загрузкой имеющихся, а также нехваткой соединительных путей между станциями.</a:t>
            </a:r>
          </a:p>
          <a:p>
            <a:pPr marL="228600" indent="-228600">
              <a:buAutoNum type="arabicPeriod"/>
            </a:pPr>
            <a:r>
              <a:rPr lang="ru-RU" sz="1000" dirty="0">
                <a:latin typeface="+mj-lt"/>
                <a:ea typeface="Calibri" panose="020F0502020204030204" pitchFamily="34" charset="0"/>
              </a:rPr>
              <a:t>Распределение отправления утром требует подачи на пассажирскую станцию до часа-пик 6 составов, что ведёт к занятию от 5 до 6 путей (пути 9-14 </a:t>
            </a:r>
            <a:r>
              <a:rPr lang="ru-RU" sz="1000" dirty="0" err="1">
                <a:latin typeface="+mj-lt"/>
                <a:ea typeface="Calibri" panose="020F0502020204030204" pitchFamily="34" charset="0"/>
              </a:rPr>
              <a:t>приемо</a:t>
            </a:r>
            <a:r>
              <a:rPr lang="ru-RU" sz="1000" dirty="0">
                <a:latin typeface="+mj-lt"/>
                <a:ea typeface="Calibri" panose="020F0502020204030204" pitchFamily="34" charset="0"/>
              </a:rPr>
              <a:t>-отправочного парка). Это не позволяет вести прием пригородных поездов Горьковского направления и других поездов на пути 9-11 станции Москва-Пассажирская-Курская.</a:t>
            </a:r>
            <a:endParaRPr lang="ru-RU" sz="1000" dirty="0"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17" name="Скругленный прямоугольник 33">
            <a:extLst>
              <a:ext uri="{FF2B5EF4-FFF2-40B4-BE49-F238E27FC236}">
                <a16:creationId xmlns:a16="http://schemas.microsoft.com/office/drawing/2014/main" id="{D8FB86D4-0884-4B8E-A6CD-C61C2752FAA4}"/>
              </a:ext>
            </a:extLst>
          </p:cNvPr>
          <p:cNvSpPr/>
          <p:nvPr/>
        </p:nvSpPr>
        <p:spPr>
          <a:xfrm>
            <a:off x="5590434" y="3529118"/>
            <a:ext cx="4062620" cy="2073553"/>
          </a:xfrm>
          <a:prstGeom prst="roundRect">
            <a:avLst>
              <a:gd name="adj" fmla="val 2655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200" b="1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F72C4845-00CB-47B2-904D-E51301EFB74A}"/>
              </a:ext>
            </a:extLst>
          </p:cNvPr>
          <p:cNvPicPr/>
          <p:nvPr/>
        </p:nvPicPr>
        <p:blipFill rotWithShape="1">
          <a:blip r:embed="rId3"/>
          <a:srcRect l="343" t="1690" r="435" b="8768"/>
          <a:stretch/>
        </p:blipFill>
        <p:spPr>
          <a:xfrm>
            <a:off x="5724526" y="3829079"/>
            <a:ext cx="3790950" cy="1656991"/>
          </a:xfrm>
          <a:prstGeom prst="rect">
            <a:avLst/>
          </a:prstGeom>
          <a:ln>
            <a:noFill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7662C26-86A9-42B9-9139-0C1C46804680}"/>
              </a:ext>
            </a:extLst>
          </p:cNvPr>
          <p:cNvSpPr txBox="1"/>
          <p:nvPr/>
        </p:nvSpPr>
        <p:spPr>
          <a:xfrm>
            <a:off x="6261731" y="3545680"/>
            <a:ext cx="28952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+mj-lt"/>
              </a:rPr>
              <a:t>Занятость путей ст. Москва-Пасс.-Курская</a:t>
            </a:r>
          </a:p>
        </p:txBody>
      </p:sp>
    </p:spTree>
    <p:extLst>
      <p:ext uri="{BB962C8B-B14F-4D97-AF65-F5344CB8AC3E}">
        <p14:creationId xmlns:p14="http://schemas.microsoft.com/office/powerpoint/2010/main" val="5633803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-908939" y="1124244"/>
            <a:ext cx="6599851" cy="5169529"/>
            <a:chOff x="-699734" y="1378244"/>
            <a:chExt cx="6110779" cy="4565643"/>
          </a:xfrm>
        </p:grpSpPr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E8A48983-D4F2-4B97-BAC2-AFE2FC988C56}"/>
                </a:ext>
              </a:extLst>
            </p:cNvPr>
            <p:cNvGrpSpPr/>
            <p:nvPr/>
          </p:nvGrpSpPr>
          <p:grpSpPr>
            <a:xfrm>
              <a:off x="-699734" y="1378244"/>
              <a:ext cx="6110779" cy="4565643"/>
              <a:chOff x="-174800" y="1208094"/>
              <a:chExt cx="6110779" cy="5208309"/>
            </a:xfrm>
          </p:grpSpPr>
          <p:pic>
            <p:nvPicPr>
              <p:cNvPr id="38" name="Рисунок 37">
                <a:extLst>
                  <a:ext uri="{FF2B5EF4-FFF2-40B4-BE49-F238E27FC236}">
                    <a16:creationId xmlns:a16="http://schemas.microsoft.com/office/drawing/2014/main" id="{0FA2769D-849D-9747-84A6-86C14CE9109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9707"/>
              <a:stretch/>
            </p:blipFill>
            <p:spPr>
              <a:xfrm>
                <a:off x="674623" y="1485653"/>
                <a:ext cx="5127612" cy="4467040"/>
              </a:xfrm>
              <a:prstGeom prst="rect">
                <a:avLst/>
              </a:prstGeom>
              <a:noFill/>
              <a:ln w="38100" cmpd="dbl">
                <a:noFill/>
              </a:ln>
            </p:spPr>
          </p:pic>
          <p:sp>
            <p:nvSpPr>
              <p:cNvPr id="61" name="Полилиния 60">
                <a:extLst>
                  <a:ext uri="{FF2B5EF4-FFF2-40B4-BE49-F238E27FC236}">
                    <a16:creationId xmlns:a16="http://schemas.microsoft.com/office/drawing/2014/main" id="{13D27794-2738-E140-8EA6-58CE6E226BCE}"/>
                  </a:ext>
                </a:extLst>
              </p:cNvPr>
              <p:cNvSpPr/>
              <p:nvPr/>
            </p:nvSpPr>
            <p:spPr>
              <a:xfrm>
                <a:off x="787303" y="1457902"/>
                <a:ext cx="171121" cy="300126"/>
              </a:xfrm>
              <a:custGeom>
                <a:avLst/>
                <a:gdLst>
                  <a:gd name="connsiteX0" fmla="*/ 443060 w 443060"/>
                  <a:gd name="connsiteY0" fmla="*/ 650449 h 650449"/>
                  <a:gd name="connsiteX1" fmla="*/ 339365 w 443060"/>
                  <a:gd name="connsiteY1" fmla="*/ 537328 h 650449"/>
                  <a:gd name="connsiteX2" fmla="*/ 103695 w 443060"/>
                  <a:gd name="connsiteY2" fmla="*/ 160256 h 650449"/>
                  <a:gd name="connsiteX3" fmla="*/ 0 w 443060"/>
                  <a:gd name="connsiteY3" fmla="*/ 0 h 650449"/>
                  <a:gd name="connsiteX0" fmla="*/ 443060 w 443060"/>
                  <a:gd name="connsiteY0" fmla="*/ 650449 h 650449"/>
                  <a:gd name="connsiteX1" fmla="*/ 238016 w 443060"/>
                  <a:gd name="connsiteY1" fmla="*/ 343236 h 650449"/>
                  <a:gd name="connsiteX2" fmla="*/ 103695 w 443060"/>
                  <a:gd name="connsiteY2" fmla="*/ 160256 h 650449"/>
                  <a:gd name="connsiteX3" fmla="*/ 0 w 443060"/>
                  <a:gd name="connsiteY3" fmla="*/ 0 h 650449"/>
                  <a:gd name="connsiteX0" fmla="*/ 293705 w 293705"/>
                  <a:gd name="connsiteY0" fmla="*/ 415495 h 415495"/>
                  <a:gd name="connsiteX1" fmla="*/ 238016 w 293705"/>
                  <a:gd name="connsiteY1" fmla="*/ 343236 h 415495"/>
                  <a:gd name="connsiteX2" fmla="*/ 103695 w 293705"/>
                  <a:gd name="connsiteY2" fmla="*/ 160256 h 415495"/>
                  <a:gd name="connsiteX3" fmla="*/ 0 w 293705"/>
                  <a:gd name="connsiteY3" fmla="*/ 0 h 415495"/>
                  <a:gd name="connsiteX0" fmla="*/ 293705 w 293705"/>
                  <a:gd name="connsiteY0" fmla="*/ 415495 h 415495"/>
                  <a:gd name="connsiteX1" fmla="*/ 195343 w 293705"/>
                  <a:gd name="connsiteY1" fmla="*/ 312590 h 415495"/>
                  <a:gd name="connsiteX2" fmla="*/ 103695 w 293705"/>
                  <a:gd name="connsiteY2" fmla="*/ 160256 h 415495"/>
                  <a:gd name="connsiteX3" fmla="*/ 0 w 293705"/>
                  <a:gd name="connsiteY3" fmla="*/ 0 h 415495"/>
                  <a:gd name="connsiteX0" fmla="*/ 251032 w 251032"/>
                  <a:gd name="connsiteY0" fmla="*/ 395064 h 395064"/>
                  <a:gd name="connsiteX1" fmla="*/ 195343 w 251032"/>
                  <a:gd name="connsiteY1" fmla="*/ 312590 h 395064"/>
                  <a:gd name="connsiteX2" fmla="*/ 103695 w 251032"/>
                  <a:gd name="connsiteY2" fmla="*/ 160256 h 395064"/>
                  <a:gd name="connsiteX3" fmla="*/ 0 w 251032"/>
                  <a:gd name="connsiteY3" fmla="*/ 0 h 395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1032" h="395064">
                    <a:moveTo>
                      <a:pt x="251032" y="395064"/>
                    </a:moveTo>
                    <a:cubicBezTo>
                      <a:pt x="227465" y="379353"/>
                      <a:pt x="219899" y="351725"/>
                      <a:pt x="195343" y="312590"/>
                    </a:cubicBezTo>
                    <a:cubicBezTo>
                      <a:pt x="170787" y="273455"/>
                      <a:pt x="160256" y="249811"/>
                      <a:pt x="103695" y="160256"/>
                    </a:cubicBezTo>
                    <a:cubicBezTo>
                      <a:pt x="47134" y="70701"/>
                      <a:pt x="23567" y="35350"/>
                      <a:pt x="0" y="0"/>
                    </a:cubicBezTo>
                  </a:path>
                </a:pathLst>
              </a:custGeom>
              <a:noFill/>
              <a:ln w="38100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9D42AEE0-6DDC-B943-93F7-2537ABD07BCA}"/>
                  </a:ext>
                </a:extLst>
              </p:cNvPr>
              <p:cNvSpPr txBox="1"/>
              <p:nvPr/>
            </p:nvSpPr>
            <p:spPr>
              <a:xfrm>
                <a:off x="1906835" y="3519093"/>
                <a:ext cx="1140399" cy="264097"/>
              </a:xfrm>
              <a:prstGeom prst="rect">
                <a:avLst/>
              </a:prstGeom>
              <a:solidFill>
                <a:schemeClr val="bg1">
                  <a:alpha val="5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ru-RU" sz="700" b="1" cap="all" dirty="0">
                    <a:solidFill>
                      <a:srgbClr val="7030A0"/>
                    </a:solidFill>
                    <a:latin typeface="+mj-lt"/>
                  </a:rPr>
                  <a:t>Москва-ПАСС.-КАЗАНСКАЯ</a:t>
                </a:r>
              </a:p>
            </p:txBody>
          </p:sp>
          <p:sp>
            <p:nvSpPr>
              <p:cNvPr id="16" name="Полилиния 15"/>
              <p:cNvSpPr/>
              <p:nvPr/>
            </p:nvSpPr>
            <p:spPr>
              <a:xfrm>
                <a:off x="955658" y="1756506"/>
                <a:ext cx="3327487" cy="2710866"/>
              </a:xfrm>
              <a:custGeom>
                <a:avLst/>
                <a:gdLst>
                  <a:gd name="connsiteX0" fmla="*/ 0 w 2665195"/>
                  <a:gd name="connsiteY0" fmla="*/ 0 h 3159230"/>
                  <a:gd name="connsiteX1" fmla="*/ 47670 w 2665195"/>
                  <a:gd name="connsiteY1" fmla="*/ 143010 h 3159230"/>
                  <a:gd name="connsiteX2" fmla="*/ 117009 w 2665195"/>
                  <a:gd name="connsiteY2" fmla="*/ 273020 h 3159230"/>
                  <a:gd name="connsiteX3" fmla="*/ 251352 w 2665195"/>
                  <a:gd name="connsiteY3" fmla="*/ 372694 h 3159230"/>
                  <a:gd name="connsiteX4" fmla="*/ 420364 w 2665195"/>
                  <a:gd name="connsiteY4" fmla="*/ 476701 h 3159230"/>
                  <a:gd name="connsiteX5" fmla="*/ 541706 w 2665195"/>
                  <a:gd name="connsiteY5" fmla="*/ 559041 h 3159230"/>
                  <a:gd name="connsiteX6" fmla="*/ 671716 w 2665195"/>
                  <a:gd name="connsiteY6" fmla="*/ 697718 h 3159230"/>
                  <a:gd name="connsiteX7" fmla="*/ 801725 w 2665195"/>
                  <a:gd name="connsiteY7" fmla="*/ 849395 h 3159230"/>
                  <a:gd name="connsiteX8" fmla="*/ 923068 w 2665195"/>
                  <a:gd name="connsiteY8" fmla="*/ 1005407 h 3159230"/>
                  <a:gd name="connsiteX9" fmla="*/ 1126749 w 2665195"/>
                  <a:gd name="connsiteY9" fmla="*/ 1252425 h 3159230"/>
                  <a:gd name="connsiteX10" fmla="*/ 1217756 w 2665195"/>
                  <a:gd name="connsiteY10" fmla="*/ 1399769 h 3159230"/>
                  <a:gd name="connsiteX11" fmla="*/ 1434438 w 2665195"/>
                  <a:gd name="connsiteY11" fmla="*/ 1811465 h 3159230"/>
                  <a:gd name="connsiteX12" fmla="*/ 1560114 w 2665195"/>
                  <a:gd name="connsiteY12" fmla="*/ 1846135 h 3159230"/>
                  <a:gd name="connsiteX13" fmla="*/ 1633786 w 2665195"/>
                  <a:gd name="connsiteY13" fmla="*/ 1963143 h 3159230"/>
                  <a:gd name="connsiteX14" fmla="*/ 1707458 w 2665195"/>
                  <a:gd name="connsiteY14" fmla="*/ 2188493 h 3159230"/>
                  <a:gd name="connsiteX15" fmla="*/ 1833134 w 2665195"/>
                  <a:gd name="connsiteY15" fmla="*/ 2335837 h 3159230"/>
                  <a:gd name="connsiteX16" fmla="*/ 2036815 w 2665195"/>
                  <a:gd name="connsiteY16" fmla="*/ 2535185 h 3159230"/>
                  <a:gd name="connsiteX17" fmla="*/ 2149490 w 2665195"/>
                  <a:gd name="connsiteY17" fmla="*/ 2708531 h 3159230"/>
                  <a:gd name="connsiteX18" fmla="*/ 2240497 w 2665195"/>
                  <a:gd name="connsiteY18" fmla="*/ 2847208 h 3159230"/>
                  <a:gd name="connsiteX19" fmla="*/ 2344504 w 2665195"/>
                  <a:gd name="connsiteY19" fmla="*/ 2951215 h 3159230"/>
                  <a:gd name="connsiteX20" fmla="*/ 2530851 w 2665195"/>
                  <a:gd name="connsiteY20" fmla="*/ 3037888 h 3159230"/>
                  <a:gd name="connsiteX21" fmla="*/ 2665195 w 2665195"/>
                  <a:gd name="connsiteY21" fmla="*/ 3159230 h 315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665195" h="3159230">
                    <a:moveTo>
                      <a:pt x="0" y="0"/>
                    </a:moveTo>
                    <a:cubicBezTo>
                      <a:pt x="14084" y="48753"/>
                      <a:pt x="28169" y="97507"/>
                      <a:pt x="47670" y="143010"/>
                    </a:cubicBezTo>
                    <a:cubicBezTo>
                      <a:pt x="67171" y="188513"/>
                      <a:pt x="83062" y="234739"/>
                      <a:pt x="117009" y="273020"/>
                    </a:cubicBezTo>
                    <a:cubicBezTo>
                      <a:pt x="150956" y="311301"/>
                      <a:pt x="200793" y="338747"/>
                      <a:pt x="251352" y="372694"/>
                    </a:cubicBezTo>
                    <a:cubicBezTo>
                      <a:pt x="301911" y="406641"/>
                      <a:pt x="371972" y="445643"/>
                      <a:pt x="420364" y="476701"/>
                    </a:cubicBezTo>
                    <a:cubicBezTo>
                      <a:pt x="468756" y="507759"/>
                      <a:pt x="499814" y="522205"/>
                      <a:pt x="541706" y="559041"/>
                    </a:cubicBezTo>
                    <a:cubicBezTo>
                      <a:pt x="583598" y="595877"/>
                      <a:pt x="628380" y="649326"/>
                      <a:pt x="671716" y="697718"/>
                    </a:cubicBezTo>
                    <a:cubicBezTo>
                      <a:pt x="715052" y="746110"/>
                      <a:pt x="759833" y="798114"/>
                      <a:pt x="801725" y="849395"/>
                    </a:cubicBezTo>
                    <a:cubicBezTo>
                      <a:pt x="843617" y="900677"/>
                      <a:pt x="868897" y="938235"/>
                      <a:pt x="923068" y="1005407"/>
                    </a:cubicBezTo>
                    <a:cubicBezTo>
                      <a:pt x="977239" y="1072579"/>
                      <a:pt x="1077634" y="1186698"/>
                      <a:pt x="1126749" y="1252425"/>
                    </a:cubicBezTo>
                    <a:cubicBezTo>
                      <a:pt x="1175864" y="1318152"/>
                      <a:pt x="1166475" y="1306596"/>
                      <a:pt x="1217756" y="1399769"/>
                    </a:cubicBezTo>
                    <a:cubicBezTo>
                      <a:pt x="1269038" y="1492942"/>
                      <a:pt x="1377378" y="1737071"/>
                      <a:pt x="1434438" y="1811465"/>
                    </a:cubicBezTo>
                    <a:cubicBezTo>
                      <a:pt x="1491498" y="1885859"/>
                      <a:pt x="1526889" y="1820855"/>
                      <a:pt x="1560114" y="1846135"/>
                    </a:cubicBezTo>
                    <a:cubicBezTo>
                      <a:pt x="1593339" y="1871415"/>
                      <a:pt x="1609229" y="1906083"/>
                      <a:pt x="1633786" y="1963143"/>
                    </a:cubicBezTo>
                    <a:cubicBezTo>
                      <a:pt x="1658343" y="2020203"/>
                      <a:pt x="1674233" y="2126377"/>
                      <a:pt x="1707458" y="2188493"/>
                    </a:cubicBezTo>
                    <a:cubicBezTo>
                      <a:pt x="1740683" y="2250609"/>
                      <a:pt x="1778241" y="2278055"/>
                      <a:pt x="1833134" y="2335837"/>
                    </a:cubicBezTo>
                    <a:cubicBezTo>
                      <a:pt x="1888027" y="2393619"/>
                      <a:pt x="1984089" y="2473069"/>
                      <a:pt x="2036815" y="2535185"/>
                    </a:cubicBezTo>
                    <a:cubicBezTo>
                      <a:pt x="2089541" y="2597301"/>
                      <a:pt x="2149490" y="2708531"/>
                      <a:pt x="2149490" y="2708531"/>
                    </a:cubicBezTo>
                    <a:cubicBezTo>
                      <a:pt x="2183437" y="2760535"/>
                      <a:pt x="2207995" y="2806761"/>
                      <a:pt x="2240497" y="2847208"/>
                    </a:cubicBezTo>
                    <a:cubicBezTo>
                      <a:pt x="2272999" y="2887655"/>
                      <a:pt x="2296112" y="2919435"/>
                      <a:pt x="2344504" y="2951215"/>
                    </a:cubicBezTo>
                    <a:cubicBezTo>
                      <a:pt x="2392896" y="2982995"/>
                      <a:pt x="2477403" y="3003219"/>
                      <a:pt x="2530851" y="3037888"/>
                    </a:cubicBezTo>
                    <a:cubicBezTo>
                      <a:pt x="2584299" y="3072557"/>
                      <a:pt x="2647860" y="3133228"/>
                      <a:pt x="2665195" y="3159230"/>
                    </a:cubicBezTo>
                  </a:path>
                </a:pathLst>
              </a:custGeom>
              <a:noFill/>
              <a:ln w="38100">
                <a:solidFill>
                  <a:srgbClr val="D06539"/>
                </a:solidFill>
                <a:headEnd type="oval" w="med" len="med"/>
                <a:tailEnd type="oval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" name="Полилиния 19"/>
              <p:cNvSpPr/>
              <p:nvPr/>
            </p:nvSpPr>
            <p:spPr>
              <a:xfrm>
                <a:off x="672570" y="1467647"/>
                <a:ext cx="2025087" cy="1924878"/>
              </a:xfrm>
              <a:custGeom>
                <a:avLst/>
                <a:gdLst>
                  <a:gd name="connsiteX0" fmla="*/ 0 w 1699774"/>
                  <a:gd name="connsiteY0" fmla="*/ 0 h 2221487"/>
                  <a:gd name="connsiteX1" fmla="*/ 297320 w 1699774"/>
                  <a:gd name="connsiteY1" fmla="*/ 544152 h 2221487"/>
                  <a:gd name="connsiteX2" fmla="*/ 757325 w 1699774"/>
                  <a:gd name="connsiteY2" fmla="*/ 942449 h 2221487"/>
                  <a:gd name="connsiteX3" fmla="*/ 1166841 w 1699774"/>
                  <a:gd name="connsiteY3" fmla="*/ 1385624 h 2221487"/>
                  <a:gd name="connsiteX4" fmla="*/ 1452942 w 1699774"/>
                  <a:gd name="connsiteY4" fmla="*/ 1789531 h 2221487"/>
                  <a:gd name="connsiteX5" fmla="*/ 1699774 w 1699774"/>
                  <a:gd name="connsiteY5" fmla="*/ 2221487 h 2221487"/>
                  <a:gd name="connsiteX0" fmla="*/ 0 w 1610127"/>
                  <a:gd name="connsiteY0" fmla="*/ 0 h 2248381"/>
                  <a:gd name="connsiteX1" fmla="*/ 207673 w 1610127"/>
                  <a:gd name="connsiteY1" fmla="*/ 571046 h 2248381"/>
                  <a:gd name="connsiteX2" fmla="*/ 667678 w 1610127"/>
                  <a:gd name="connsiteY2" fmla="*/ 969343 h 2248381"/>
                  <a:gd name="connsiteX3" fmla="*/ 1077194 w 1610127"/>
                  <a:gd name="connsiteY3" fmla="*/ 1412518 h 2248381"/>
                  <a:gd name="connsiteX4" fmla="*/ 1363295 w 1610127"/>
                  <a:gd name="connsiteY4" fmla="*/ 1816425 h 2248381"/>
                  <a:gd name="connsiteX5" fmla="*/ 1610127 w 1610127"/>
                  <a:gd name="connsiteY5" fmla="*/ 2248381 h 2248381"/>
                  <a:gd name="connsiteX0" fmla="*/ 0 w 1610127"/>
                  <a:gd name="connsiteY0" fmla="*/ 0 h 2248381"/>
                  <a:gd name="connsiteX1" fmla="*/ 216638 w 1610127"/>
                  <a:gd name="connsiteY1" fmla="*/ 615869 h 2248381"/>
                  <a:gd name="connsiteX2" fmla="*/ 667678 w 1610127"/>
                  <a:gd name="connsiteY2" fmla="*/ 969343 h 2248381"/>
                  <a:gd name="connsiteX3" fmla="*/ 1077194 w 1610127"/>
                  <a:gd name="connsiteY3" fmla="*/ 1412518 h 2248381"/>
                  <a:gd name="connsiteX4" fmla="*/ 1363295 w 1610127"/>
                  <a:gd name="connsiteY4" fmla="*/ 1816425 h 2248381"/>
                  <a:gd name="connsiteX5" fmla="*/ 1610127 w 1610127"/>
                  <a:gd name="connsiteY5" fmla="*/ 2248381 h 2248381"/>
                  <a:gd name="connsiteX0" fmla="*/ 0 w 1610127"/>
                  <a:gd name="connsiteY0" fmla="*/ 0 h 2248381"/>
                  <a:gd name="connsiteX1" fmla="*/ 216638 w 1610127"/>
                  <a:gd name="connsiteY1" fmla="*/ 615869 h 2248381"/>
                  <a:gd name="connsiteX2" fmla="*/ 667678 w 1610127"/>
                  <a:gd name="connsiteY2" fmla="*/ 969343 h 2248381"/>
                  <a:gd name="connsiteX3" fmla="*/ 1077194 w 1610127"/>
                  <a:gd name="connsiteY3" fmla="*/ 1412518 h 2248381"/>
                  <a:gd name="connsiteX4" fmla="*/ 1363295 w 1610127"/>
                  <a:gd name="connsiteY4" fmla="*/ 1816425 h 2248381"/>
                  <a:gd name="connsiteX5" fmla="*/ 1610127 w 1610127"/>
                  <a:gd name="connsiteY5" fmla="*/ 2248381 h 2248381"/>
                  <a:gd name="connsiteX0" fmla="*/ 0 w 1610127"/>
                  <a:gd name="connsiteY0" fmla="*/ 0 h 2248381"/>
                  <a:gd name="connsiteX1" fmla="*/ 207673 w 1610127"/>
                  <a:gd name="connsiteY1" fmla="*/ 580011 h 2248381"/>
                  <a:gd name="connsiteX2" fmla="*/ 667678 w 1610127"/>
                  <a:gd name="connsiteY2" fmla="*/ 969343 h 2248381"/>
                  <a:gd name="connsiteX3" fmla="*/ 1077194 w 1610127"/>
                  <a:gd name="connsiteY3" fmla="*/ 1412518 h 2248381"/>
                  <a:gd name="connsiteX4" fmla="*/ 1363295 w 1610127"/>
                  <a:gd name="connsiteY4" fmla="*/ 1816425 h 2248381"/>
                  <a:gd name="connsiteX5" fmla="*/ 1610127 w 1610127"/>
                  <a:gd name="connsiteY5" fmla="*/ 2248381 h 2248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10127" h="2248381">
                    <a:moveTo>
                      <a:pt x="0" y="0"/>
                    </a:moveTo>
                    <a:cubicBezTo>
                      <a:pt x="85549" y="193538"/>
                      <a:pt x="150181" y="427419"/>
                      <a:pt x="207673" y="580011"/>
                    </a:cubicBezTo>
                    <a:cubicBezTo>
                      <a:pt x="265165" y="732603"/>
                      <a:pt x="522758" y="830592"/>
                      <a:pt x="667678" y="969343"/>
                    </a:cubicBezTo>
                    <a:cubicBezTo>
                      <a:pt x="812598" y="1108094"/>
                      <a:pt x="961258" y="1271338"/>
                      <a:pt x="1077194" y="1412518"/>
                    </a:cubicBezTo>
                    <a:cubicBezTo>
                      <a:pt x="1193130" y="1553698"/>
                      <a:pt x="1274473" y="1677114"/>
                      <a:pt x="1363295" y="1816425"/>
                    </a:cubicBezTo>
                    <a:cubicBezTo>
                      <a:pt x="1452117" y="1955736"/>
                      <a:pt x="1569923" y="2165169"/>
                      <a:pt x="1610127" y="2248381"/>
                    </a:cubicBezTo>
                  </a:path>
                </a:pathLst>
              </a:custGeom>
              <a:noFill/>
              <a:ln w="50800" cmpd="dbl">
                <a:solidFill>
                  <a:srgbClr val="EE3524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600C973A-99CA-3240-9176-591E19FDD818}"/>
                  </a:ext>
                </a:extLst>
              </p:cNvPr>
              <p:cNvSpPr txBox="1"/>
              <p:nvPr/>
            </p:nvSpPr>
            <p:spPr>
              <a:xfrm>
                <a:off x="2675016" y="3884983"/>
                <a:ext cx="1287737" cy="1848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i="1" dirty="0">
                    <a:latin typeface="+mj-lt"/>
                  </a:rPr>
                  <a:t>Казанское напр.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C6B3D9AA-0967-0E4B-9187-6DEA9586CD86}"/>
                  </a:ext>
                </a:extLst>
              </p:cNvPr>
              <p:cNvSpPr txBox="1"/>
              <p:nvPr/>
            </p:nvSpPr>
            <p:spPr>
              <a:xfrm>
                <a:off x="984158" y="1442041"/>
                <a:ext cx="1363316" cy="18486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i="1" dirty="0">
                    <a:latin typeface="+mj-lt"/>
                  </a:rPr>
                  <a:t>Ленинградское напр.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ECC61956-359A-F04C-A5C5-CF0721C36D60}"/>
                  </a:ext>
                </a:extLst>
              </p:cNvPr>
              <p:cNvSpPr txBox="1"/>
              <p:nvPr/>
            </p:nvSpPr>
            <p:spPr>
              <a:xfrm>
                <a:off x="952524" y="1600284"/>
                <a:ext cx="1000158" cy="2872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400" dirty="0">
                    <a:latin typeface="+mj-lt"/>
                  </a:rPr>
                  <a:t>Крюково</a:t>
                </a:r>
              </a:p>
            </p:txBody>
          </p:sp>
          <p:sp>
            <p:nvSpPr>
              <p:cNvPr id="43" name="Прямоугольник 42">
                <a:extLst>
                  <a:ext uri="{FF2B5EF4-FFF2-40B4-BE49-F238E27FC236}">
                    <a16:creationId xmlns:a16="http://schemas.microsoft.com/office/drawing/2014/main" id="{F2937D54-B8E8-AA40-9B02-29A1378563E4}"/>
                  </a:ext>
                </a:extLst>
              </p:cNvPr>
              <p:cNvSpPr/>
              <p:nvPr/>
            </p:nvSpPr>
            <p:spPr>
              <a:xfrm>
                <a:off x="3214829" y="1208094"/>
                <a:ext cx="1567556" cy="5208309"/>
              </a:xfrm>
              <a:prstGeom prst="rect">
                <a:avLst/>
              </a:prstGeom>
              <a:gradFill>
                <a:gsLst>
                  <a:gs pos="0">
                    <a:schemeClr val="bg1">
                      <a:alpha val="0"/>
                    </a:schemeClr>
                  </a:gs>
                  <a:gs pos="60000">
                    <a:schemeClr val="bg1">
                      <a:alpha val="77000"/>
                    </a:schemeClr>
                  </a:gs>
                  <a:gs pos="100000">
                    <a:schemeClr val="bg1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3E8D5AAD-5CA0-7C4F-A2B8-8A8FA671419D}"/>
                  </a:ext>
                </a:extLst>
              </p:cNvPr>
              <p:cNvSpPr txBox="1"/>
              <p:nvPr/>
            </p:nvSpPr>
            <p:spPr>
              <a:xfrm>
                <a:off x="-174800" y="2366346"/>
                <a:ext cx="1954545" cy="3752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75000"/>
                  </a:lnSpc>
                </a:pPr>
                <a:r>
                  <a:rPr lang="ru-RU" sz="1200" dirty="0">
                    <a:solidFill>
                      <a:srgbClr val="EE3524"/>
                    </a:solidFill>
                    <a:latin typeface="+mj-lt"/>
                  </a:rPr>
                  <a:t>ВСМ  «Москва – </a:t>
                </a:r>
              </a:p>
              <a:p>
                <a:pPr algn="r">
                  <a:lnSpc>
                    <a:spcPct val="75000"/>
                  </a:lnSpc>
                </a:pPr>
                <a:r>
                  <a:rPr lang="ru-RU" sz="1200" dirty="0">
                    <a:solidFill>
                      <a:srgbClr val="EE3524"/>
                    </a:solidFill>
                    <a:latin typeface="+mj-lt"/>
                  </a:rPr>
                  <a:t>С.-Петербург»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F8C9E32-B4BC-2347-A997-247947BFBCAD}"/>
                  </a:ext>
                </a:extLst>
              </p:cNvPr>
              <p:cNvSpPr txBox="1"/>
              <p:nvPr/>
            </p:nvSpPr>
            <p:spPr>
              <a:xfrm>
                <a:off x="1763115" y="3276682"/>
                <a:ext cx="829887" cy="200055"/>
              </a:xfrm>
              <a:prstGeom prst="rect">
                <a:avLst/>
              </a:prstGeom>
              <a:solidFill>
                <a:schemeClr val="bg1">
                  <a:alpha val="5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ru-RU" sz="700" b="1" cap="all" dirty="0">
                    <a:solidFill>
                      <a:srgbClr val="7030A0"/>
                    </a:solidFill>
                    <a:latin typeface="+mj-lt"/>
                  </a:rPr>
                  <a:t>Москва-ПАСС.</a:t>
                </a:r>
              </a:p>
            </p:txBody>
          </p:sp>
          <p:pic>
            <p:nvPicPr>
              <p:cNvPr id="52" name="Рисунок 51">
                <a:extLst>
                  <a:ext uri="{FF2B5EF4-FFF2-40B4-BE49-F238E27FC236}">
                    <a16:creationId xmlns:a16="http://schemas.microsoft.com/office/drawing/2014/main" id="{41EA7D31-8BC5-49AF-BDB6-F074440F06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5400000">
                <a:off x="2573595" y="2644755"/>
                <a:ext cx="4575929" cy="2148839"/>
              </a:xfrm>
              <a:prstGeom prst="rect">
                <a:avLst/>
              </a:prstGeom>
            </p:spPr>
          </p:pic>
        </p:grpSp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C5BFA244-2ECC-5A4C-B584-900797055A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1182" t="17968" r="40653" b="36014"/>
            <a:stretch/>
          </p:blipFill>
          <p:spPr>
            <a:xfrm>
              <a:off x="706816" y="1959160"/>
              <a:ext cx="246925" cy="124762"/>
            </a:xfrm>
            <a:prstGeom prst="rect">
              <a:avLst/>
            </a:prstGeom>
          </p:spPr>
        </p:pic>
        <p:sp>
          <p:nvSpPr>
            <p:cNvPr id="88" name="Овал 87"/>
            <p:cNvSpPr/>
            <p:nvPr/>
          </p:nvSpPr>
          <p:spPr>
            <a:xfrm>
              <a:off x="2264557" y="3283570"/>
              <a:ext cx="143753" cy="150259"/>
            </a:xfrm>
            <a:prstGeom prst="ellipse">
              <a:avLst/>
            </a:prstGeom>
            <a:solidFill>
              <a:srgbClr val="7030A0"/>
            </a:solidFill>
            <a:ln w="25400" cap="rnd">
              <a:solidFill>
                <a:srgbClr val="7030A0"/>
              </a:solidFill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89" name="Овал 88"/>
            <p:cNvSpPr/>
            <p:nvPr/>
          </p:nvSpPr>
          <p:spPr>
            <a:xfrm>
              <a:off x="145949" y="1600782"/>
              <a:ext cx="143753" cy="150259"/>
            </a:xfrm>
            <a:prstGeom prst="ellipse">
              <a:avLst/>
            </a:prstGeom>
            <a:solidFill>
              <a:srgbClr val="7030A0"/>
            </a:solidFill>
            <a:ln w="25400" cap="rnd">
              <a:solidFill>
                <a:srgbClr val="7030A0"/>
              </a:solidFill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92" name="Овал 91"/>
            <p:cNvSpPr/>
            <p:nvPr/>
          </p:nvSpPr>
          <p:spPr>
            <a:xfrm>
              <a:off x="329847" y="1600783"/>
              <a:ext cx="143753" cy="150259"/>
            </a:xfrm>
            <a:prstGeom prst="ellipse">
              <a:avLst/>
            </a:prstGeom>
            <a:solidFill>
              <a:srgbClr val="7030A0"/>
            </a:solidFill>
            <a:ln w="25400" cap="rnd">
              <a:solidFill>
                <a:srgbClr val="7030A0"/>
              </a:solidFill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99" name="Овал 98"/>
            <p:cNvSpPr/>
            <p:nvPr/>
          </p:nvSpPr>
          <p:spPr>
            <a:xfrm>
              <a:off x="2079816" y="3216695"/>
              <a:ext cx="143753" cy="150259"/>
            </a:xfrm>
            <a:prstGeom prst="ellipse">
              <a:avLst/>
            </a:prstGeom>
            <a:solidFill>
              <a:srgbClr val="7030A0"/>
            </a:solidFill>
            <a:ln w="25400" cap="rnd">
              <a:solidFill>
                <a:srgbClr val="7030A0"/>
              </a:solidFill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53" name="Овал 52">
              <a:extLst>
                <a:ext uri="{FF2B5EF4-FFF2-40B4-BE49-F238E27FC236}">
                  <a16:creationId xmlns:a16="http://schemas.microsoft.com/office/drawing/2014/main" id="{F1662F1C-BC5A-7647-8FAC-70F45976B2C8}"/>
                </a:ext>
              </a:extLst>
            </p:cNvPr>
            <p:cNvSpPr/>
            <p:nvPr/>
          </p:nvSpPr>
          <p:spPr>
            <a:xfrm>
              <a:off x="2691811" y="3573355"/>
              <a:ext cx="143753" cy="150259"/>
            </a:xfrm>
            <a:prstGeom prst="ellipse">
              <a:avLst/>
            </a:prstGeom>
            <a:solidFill>
              <a:srgbClr val="7030A0"/>
            </a:solidFill>
            <a:ln w="25400" cap="rnd">
              <a:solidFill>
                <a:srgbClr val="7030A0"/>
              </a:solidFill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pic>
        <p:nvPicPr>
          <p:cNvPr id="84" name="Рисунок 8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4406" y="1263892"/>
            <a:ext cx="9197165" cy="424381"/>
          </a:xfrm>
          <a:prstGeom prst="rect">
            <a:avLst/>
          </a:prstGeom>
        </p:spPr>
      </p:pic>
      <p:pic>
        <p:nvPicPr>
          <p:cNvPr id="103" name="Рисунок 10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4428" y="5479113"/>
            <a:ext cx="9504071" cy="47518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3294" y="156437"/>
            <a:ext cx="7646342" cy="659632"/>
          </a:xfrm>
        </p:spPr>
        <p:txBody>
          <a:bodyPr>
            <a:normAutofit fontScale="90000"/>
          </a:bodyPr>
          <a:lstStyle/>
          <a:p>
            <a:r>
              <a:rPr lang="ru-RU" sz="2400" dirty="0"/>
              <a:t>Оценка влияния запуска МЦД-3 и ВСЖМ-1 на работу Ленинградского направления и МЖУ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Calibri"/>
              </a:rPr>
              <a:pPr/>
              <a:t>14</a:t>
            </a:fld>
            <a:endParaRPr lang="ru-RU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8FD0C6ED-8178-482D-A045-6B3F279F75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58965" y="1001014"/>
            <a:ext cx="1979300" cy="1451407"/>
          </a:xfrm>
          <a:prstGeom prst="roundRect">
            <a:avLst>
              <a:gd name="adj" fmla="val 3343"/>
            </a:avLst>
          </a:prstGeom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595923A-6099-43BD-8635-C8BB8A2D3212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8342" y="1055155"/>
            <a:ext cx="1873250" cy="603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82FEF71D-70DF-4FE7-81D1-6D800F9B112B}"/>
              </a:ext>
            </a:extLst>
          </p:cNvPr>
          <p:cNvPicPr/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35346" y="1727490"/>
            <a:ext cx="1873250" cy="62209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244BD6CF-6E59-4C4F-B3F0-CA97B3B9F2A1}"/>
              </a:ext>
            </a:extLst>
          </p:cNvPr>
          <p:cNvCxnSpPr/>
          <p:nvPr/>
        </p:nvCxnSpPr>
        <p:spPr>
          <a:xfrm>
            <a:off x="7977910" y="1675221"/>
            <a:ext cx="175029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BDF99AB0-C284-47B9-BA33-1C3E586AEC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58967" y="4725271"/>
            <a:ext cx="1979300" cy="1481611"/>
          </a:xfrm>
          <a:prstGeom prst="roundRect">
            <a:avLst>
              <a:gd name="adj" fmla="val 3343"/>
            </a:avLst>
          </a:prstGeom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49FDD22-7C91-4704-AEB6-9CCB7EB79DD9}"/>
              </a:ext>
            </a:extLst>
          </p:cNvPr>
          <p:cNvGrpSpPr/>
          <p:nvPr/>
        </p:nvGrpSpPr>
        <p:grpSpPr>
          <a:xfrm>
            <a:off x="7858965" y="4943305"/>
            <a:ext cx="1961289" cy="1233605"/>
            <a:chOff x="7894735" y="5133486"/>
            <a:chExt cx="1925519" cy="1233605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D0D668AD-9B8C-46A9-8DB7-DD743B5B11B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12748" y="5186919"/>
              <a:ext cx="1895848" cy="1180172"/>
            </a:xfrm>
            <a:prstGeom prst="rect">
              <a:avLst/>
            </a:prstGeom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3D83CEA7-F4BF-4A80-9DFA-20EED2C403D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735" y="5133486"/>
              <a:ext cx="1925519" cy="786464"/>
            </a:xfrm>
            <a:prstGeom prst="rect">
              <a:avLst/>
            </a:prstGeom>
          </p:spPr>
        </p:pic>
      </p:grp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F1BEBFA3-EF4D-4352-8EC9-7FBCA7870E3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14165" b="31627"/>
          <a:stretch/>
        </p:blipFill>
        <p:spPr>
          <a:xfrm>
            <a:off x="7858965" y="2554602"/>
            <a:ext cx="1979300" cy="965264"/>
          </a:xfrm>
          <a:prstGeom prst="roundRect">
            <a:avLst>
              <a:gd name="adj" fmla="val 3343"/>
            </a:avLst>
          </a:prstGeom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4D884FB2-1D96-4247-8822-DD7A573ACC3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5153"/>
          <a:stretch/>
        </p:blipFill>
        <p:spPr>
          <a:xfrm>
            <a:off x="7858965" y="3622047"/>
            <a:ext cx="1979300" cy="1001043"/>
          </a:xfrm>
          <a:prstGeom prst="roundRect">
            <a:avLst>
              <a:gd name="adj" fmla="val 3343"/>
            </a:avLst>
          </a:prstGeom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5709C8FA-7417-7247-88C1-015FF7460B7D}"/>
              </a:ext>
            </a:extLst>
          </p:cNvPr>
          <p:cNvCxnSpPr>
            <a:cxnSpLocks/>
          </p:cNvCxnSpPr>
          <p:nvPr/>
        </p:nvCxnSpPr>
        <p:spPr>
          <a:xfrm flipH="1">
            <a:off x="3675301" y="1263241"/>
            <a:ext cx="3980861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  <p:sp>
        <p:nvSpPr>
          <p:cNvPr id="50" name="Скругленный прямоугольник 8">
            <a:extLst>
              <a:ext uri="{FF2B5EF4-FFF2-40B4-BE49-F238E27FC236}">
                <a16:creationId xmlns:a16="http://schemas.microsoft.com/office/drawing/2014/main" id="{69D61F07-7913-4AE9-9675-0D68A557915B}"/>
              </a:ext>
            </a:extLst>
          </p:cNvPr>
          <p:cNvSpPr/>
          <p:nvPr/>
        </p:nvSpPr>
        <p:spPr>
          <a:xfrm>
            <a:off x="3572190" y="2554602"/>
            <a:ext cx="4237446" cy="965264"/>
          </a:xfrm>
          <a:prstGeom prst="roundRect">
            <a:avLst>
              <a:gd name="adj" fmla="val 450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ru-RU" sz="1200" b="1" kern="0" dirty="0">
                <a:solidFill>
                  <a:srgbClr val="C00000"/>
                </a:solidFill>
                <a:latin typeface="+mj-lt"/>
              </a:rPr>
              <a:t>2.Работа направлений МЦД-3 на целевом этапе</a:t>
            </a:r>
            <a:endParaRPr lang="ru-RU" sz="1200" b="1" dirty="0">
              <a:solidFill>
                <a:srgbClr val="C00000"/>
              </a:solidFill>
              <a:latin typeface="+mj-lt"/>
            </a:endParaRPr>
          </a:p>
          <a:p>
            <a:r>
              <a:rPr lang="ru-RU" sz="1000" b="1" dirty="0">
                <a:solidFill>
                  <a:srgbClr val="002060"/>
                </a:solidFill>
              </a:rPr>
              <a:t>Цель моделирования: </a:t>
            </a:r>
            <a:r>
              <a:rPr lang="ru-RU" sz="1000" dirty="0">
                <a:solidFill>
                  <a:schemeClr val="tx1"/>
                </a:solidFill>
              </a:rPr>
              <a:t>пропуск по </a:t>
            </a:r>
            <a:r>
              <a:rPr lang="en-US" sz="1000" dirty="0">
                <a:solidFill>
                  <a:schemeClr val="tx1"/>
                </a:solidFill>
              </a:rPr>
              <a:t>III-IV </a:t>
            </a:r>
            <a:r>
              <a:rPr lang="ru-RU" sz="1000" dirty="0">
                <a:solidFill>
                  <a:schemeClr val="tx1"/>
                </a:solidFill>
              </a:rPr>
              <a:t>путям всех поездов (в том числе пригородных), кроме поездов МЦД</a:t>
            </a:r>
          </a:p>
          <a:p>
            <a:r>
              <a:rPr lang="ru-RU" sz="1000" b="1" dirty="0">
                <a:solidFill>
                  <a:srgbClr val="002060"/>
                </a:solidFill>
              </a:rPr>
              <a:t>Результаты:</a:t>
            </a:r>
            <a:r>
              <a:rPr lang="ru-RU" sz="1000" dirty="0">
                <a:solidFill>
                  <a:srgbClr val="002060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при незначительном замедлении скоростных поездов и интервале 5 минут пропуск всех поездов по </a:t>
            </a:r>
            <a:r>
              <a:rPr lang="en-US" sz="1000" dirty="0">
                <a:solidFill>
                  <a:schemeClr val="tx1"/>
                </a:solidFill>
              </a:rPr>
              <a:t>III-IV </a:t>
            </a:r>
            <a:r>
              <a:rPr lang="ru-RU" sz="1000" dirty="0">
                <a:solidFill>
                  <a:schemeClr val="tx1"/>
                </a:solidFill>
              </a:rPr>
              <a:t>путям возможен</a:t>
            </a:r>
            <a:endParaRPr lang="ru-RU" sz="1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5273B276-0AC7-4D37-85B0-8BCDB4312161}"/>
              </a:ext>
            </a:extLst>
          </p:cNvPr>
          <p:cNvCxnSpPr>
            <a:cxnSpLocks/>
          </p:cNvCxnSpPr>
          <p:nvPr/>
        </p:nvCxnSpPr>
        <p:spPr>
          <a:xfrm flipH="1">
            <a:off x="3675302" y="2834079"/>
            <a:ext cx="3980861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  <p:sp>
        <p:nvSpPr>
          <p:cNvPr id="54" name="Скругленный прямоугольник 8">
            <a:extLst>
              <a:ext uri="{FF2B5EF4-FFF2-40B4-BE49-F238E27FC236}">
                <a16:creationId xmlns:a16="http://schemas.microsoft.com/office/drawing/2014/main" id="{83B92EF9-8239-45C1-9681-D0D592A73FF5}"/>
              </a:ext>
            </a:extLst>
          </p:cNvPr>
          <p:cNvSpPr/>
          <p:nvPr/>
        </p:nvSpPr>
        <p:spPr>
          <a:xfrm>
            <a:off x="3572190" y="3622047"/>
            <a:ext cx="4237446" cy="1001043"/>
          </a:xfrm>
          <a:prstGeom prst="roundRect">
            <a:avLst>
              <a:gd name="adj" fmla="val 450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ru-RU" sz="1200" b="1" kern="0" dirty="0">
                <a:solidFill>
                  <a:srgbClr val="C00000"/>
                </a:solidFill>
                <a:latin typeface="+mj-lt"/>
              </a:rPr>
              <a:t>3.Определение «узких» мест Ленинградского направления</a:t>
            </a:r>
            <a:endParaRPr lang="ru-RU" sz="1200" b="1" dirty="0">
              <a:solidFill>
                <a:srgbClr val="C00000"/>
              </a:solidFill>
              <a:latin typeface="+mj-lt"/>
            </a:endParaRPr>
          </a:p>
          <a:p>
            <a:r>
              <a:rPr lang="ru-RU" sz="1000" b="1" dirty="0">
                <a:solidFill>
                  <a:srgbClr val="002060"/>
                </a:solidFill>
              </a:rPr>
              <a:t>Цель моделирования: </a:t>
            </a:r>
            <a:r>
              <a:rPr lang="ru-RU" sz="1000" dirty="0">
                <a:solidFill>
                  <a:schemeClr val="tx1"/>
                </a:solidFill>
              </a:rPr>
              <a:t>определить «узкие» места участка Москва — Тверь Ленинградского направления</a:t>
            </a:r>
          </a:p>
          <a:p>
            <a:r>
              <a:rPr lang="ru-RU" sz="1000" b="1" dirty="0">
                <a:solidFill>
                  <a:srgbClr val="002060"/>
                </a:solidFill>
              </a:rPr>
              <a:t>Результаты:</a:t>
            </a:r>
            <a:r>
              <a:rPr lang="ru-RU" sz="1000" dirty="0">
                <a:solidFill>
                  <a:srgbClr val="002060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основное «узкое» место и структуры, и технологии — горловина станции Москва-Пассажирская (Ленинградский вокзал)</a:t>
            </a:r>
            <a:endParaRPr lang="ru-RU" sz="10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F8604436-BE44-4DC6-9CD8-ADB6A6DB37E6}"/>
              </a:ext>
            </a:extLst>
          </p:cNvPr>
          <p:cNvCxnSpPr>
            <a:cxnSpLocks/>
          </p:cNvCxnSpPr>
          <p:nvPr/>
        </p:nvCxnSpPr>
        <p:spPr>
          <a:xfrm flipH="1">
            <a:off x="3675301" y="5006832"/>
            <a:ext cx="3980861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05848C9F-2693-7A4B-9A60-EE6B8889C3D5}"/>
              </a:ext>
            </a:extLst>
          </p:cNvPr>
          <p:cNvSpPr/>
          <p:nvPr/>
        </p:nvSpPr>
        <p:spPr>
          <a:xfrm>
            <a:off x="3572190" y="1002559"/>
            <a:ext cx="4237446" cy="1449862"/>
          </a:xfrm>
          <a:prstGeom prst="roundRect">
            <a:avLst>
              <a:gd name="adj" fmla="val 450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ru-RU" sz="1200" b="1" kern="0" dirty="0">
                <a:solidFill>
                  <a:srgbClr val="C00000"/>
                </a:solidFill>
                <a:latin typeface="+mj-lt"/>
              </a:rPr>
              <a:t>1.Работа станций Москва-Пасс. и Москва-Пасс.-Казанская</a:t>
            </a:r>
            <a:endParaRPr lang="ru-RU" sz="1200" b="1" dirty="0">
              <a:solidFill>
                <a:srgbClr val="C00000"/>
              </a:solidFill>
              <a:latin typeface="+mj-lt"/>
            </a:endParaRPr>
          </a:p>
          <a:p>
            <a:r>
              <a:rPr lang="ru-RU" sz="1000" b="1" dirty="0">
                <a:solidFill>
                  <a:srgbClr val="002060"/>
                </a:solidFill>
              </a:rPr>
              <a:t>Цель моделирования: </a:t>
            </a:r>
            <a:r>
              <a:rPr lang="ru-RU" sz="1000" dirty="0">
                <a:solidFill>
                  <a:schemeClr val="tx1"/>
                </a:solidFill>
              </a:rPr>
              <a:t>проверка возможности пропуска станциями требуемых потоков пассажирских поездов различных категорий в условиях МЦД-3</a:t>
            </a:r>
          </a:p>
          <a:p>
            <a:r>
              <a:rPr lang="ru-RU" sz="1000" b="1" dirty="0">
                <a:solidFill>
                  <a:srgbClr val="002060"/>
                </a:solidFill>
              </a:rPr>
              <a:t>Результаты:</a:t>
            </a:r>
            <a:r>
              <a:rPr lang="ru-RU" sz="1000" dirty="0">
                <a:solidFill>
                  <a:srgbClr val="002060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для пропуска требуемых потоков на ст. Москва-Пасс.-Казанская необходима укладка пологих стрелок в горловине и сокращение времени оборота </a:t>
            </a:r>
            <a:r>
              <a:rPr lang="ru-RU" sz="1000" dirty="0" err="1">
                <a:solidFill>
                  <a:schemeClr val="tx1"/>
                </a:solidFill>
              </a:rPr>
              <a:t>приг</a:t>
            </a:r>
            <a:r>
              <a:rPr lang="ru-RU" sz="1000" dirty="0">
                <a:solidFill>
                  <a:schemeClr val="tx1"/>
                </a:solidFill>
              </a:rPr>
              <a:t>. поездов; на ст. Москва-Пассажирская – строительство нового </a:t>
            </a:r>
            <a:r>
              <a:rPr lang="ru-RU" sz="1000" dirty="0" err="1">
                <a:solidFill>
                  <a:schemeClr val="tx1"/>
                </a:solidFill>
              </a:rPr>
              <a:t>приг</a:t>
            </a:r>
            <a:r>
              <a:rPr lang="ru-RU" sz="1000" dirty="0">
                <a:solidFill>
                  <a:schemeClr val="tx1"/>
                </a:solidFill>
              </a:rPr>
              <a:t>. парка на 6 путей</a:t>
            </a:r>
          </a:p>
        </p:txBody>
      </p:sp>
      <p:cxnSp>
        <p:nvCxnSpPr>
          <p:cNvPr id="85" name="Прямая соединительная линия 84">
            <a:extLst>
              <a:ext uri="{FF2B5EF4-FFF2-40B4-BE49-F238E27FC236}">
                <a16:creationId xmlns:a16="http://schemas.microsoft.com/office/drawing/2014/main" id="{5273B276-0AC7-4D37-85B0-8BCDB4312161}"/>
              </a:ext>
            </a:extLst>
          </p:cNvPr>
          <p:cNvCxnSpPr>
            <a:cxnSpLocks/>
          </p:cNvCxnSpPr>
          <p:nvPr/>
        </p:nvCxnSpPr>
        <p:spPr>
          <a:xfrm flipH="1">
            <a:off x="3675302" y="1276062"/>
            <a:ext cx="3980861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5273B276-0AC7-4D37-85B0-8BCDB4312161}"/>
              </a:ext>
            </a:extLst>
          </p:cNvPr>
          <p:cNvCxnSpPr>
            <a:cxnSpLocks/>
          </p:cNvCxnSpPr>
          <p:nvPr/>
        </p:nvCxnSpPr>
        <p:spPr>
          <a:xfrm flipH="1">
            <a:off x="3675301" y="3893505"/>
            <a:ext cx="3980861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  <p:sp>
        <p:nvSpPr>
          <p:cNvPr id="104" name="Скругленный прямоугольник 8">
            <a:extLst>
              <a:ext uri="{FF2B5EF4-FFF2-40B4-BE49-F238E27FC236}">
                <a16:creationId xmlns:a16="http://schemas.microsoft.com/office/drawing/2014/main" id="{0B71A8FB-1266-4318-BA3B-78030F042B62}"/>
              </a:ext>
            </a:extLst>
          </p:cNvPr>
          <p:cNvSpPr/>
          <p:nvPr/>
        </p:nvSpPr>
        <p:spPr>
          <a:xfrm>
            <a:off x="3572190" y="4725271"/>
            <a:ext cx="4237446" cy="1484053"/>
          </a:xfrm>
          <a:prstGeom prst="roundRect">
            <a:avLst>
              <a:gd name="adj" fmla="val 450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ru-RU" sz="1200" b="1" kern="0" dirty="0">
                <a:solidFill>
                  <a:srgbClr val="C00000"/>
                </a:solidFill>
                <a:latin typeface="+mj-lt"/>
              </a:rPr>
              <a:t>4.Работа станции Москва-Пасс. с учетом ввода ВСМ-1</a:t>
            </a:r>
            <a:endParaRPr lang="ru-RU" sz="1200" b="1" dirty="0">
              <a:solidFill>
                <a:srgbClr val="C00000"/>
              </a:solidFill>
              <a:latin typeface="+mj-lt"/>
            </a:endParaRPr>
          </a:p>
          <a:p>
            <a:r>
              <a:rPr lang="ru-RU" sz="1000" b="1" dirty="0">
                <a:solidFill>
                  <a:srgbClr val="002060"/>
                </a:solidFill>
              </a:rPr>
              <a:t>Цель моделирования: </a:t>
            </a:r>
            <a:r>
              <a:rPr lang="ru-RU" sz="1000" dirty="0">
                <a:solidFill>
                  <a:schemeClr val="tx1"/>
                </a:solidFill>
              </a:rPr>
              <a:t>оценка потенциального увеличения размеров движения пригородных поездов при различных этапах реализации ВСМ-1</a:t>
            </a:r>
          </a:p>
          <a:p>
            <a:r>
              <a:rPr lang="ru-RU" sz="1000" b="1" dirty="0">
                <a:solidFill>
                  <a:srgbClr val="002060"/>
                </a:solidFill>
              </a:rPr>
              <a:t>Результаты:</a:t>
            </a:r>
            <a:r>
              <a:rPr lang="ru-RU" sz="1000" dirty="0">
                <a:solidFill>
                  <a:srgbClr val="002060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для значительного повышения размеров движения </a:t>
            </a:r>
            <a:r>
              <a:rPr lang="ru-RU" sz="1000" dirty="0" err="1">
                <a:solidFill>
                  <a:schemeClr val="tx1"/>
                </a:solidFill>
              </a:rPr>
              <a:t>приг</a:t>
            </a:r>
            <a:r>
              <a:rPr lang="ru-RU" sz="1000" dirty="0">
                <a:solidFill>
                  <a:schemeClr val="tx1"/>
                </a:solidFill>
              </a:rPr>
              <a:t>. поездов в пик периоды по III-IV гл. путям, необходимо строительство выделенного вокзального комплекса ВСМ</a:t>
            </a:r>
          </a:p>
        </p:txBody>
      </p:sp>
      <p:cxnSp>
        <p:nvCxnSpPr>
          <p:cNvPr id="105" name="Прямая соединительная линия 104">
            <a:extLst>
              <a:ext uri="{FF2B5EF4-FFF2-40B4-BE49-F238E27FC236}">
                <a16:creationId xmlns:a16="http://schemas.microsoft.com/office/drawing/2014/main" id="{5273B276-0AC7-4D37-85B0-8BCDB4312161}"/>
              </a:ext>
            </a:extLst>
          </p:cNvPr>
          <p:cNvCxnSpPr>
            <a:cxnSpLocks/>
          </p:cNvCxnSpPr>
          <p:nvPr/>
        </p:nvCxnSpPr>
        <p:spPr>
          <a:xfrm flipH="1">
            <a:off x="3700482" y="5006832"/>
            <a:ext cx="3980861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3966466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B1B9E945-0B77-5544-B119-D130A4B4040E}"/>
              </a:ext>
            </a:extLst>
          </p:cNvPr>
          <p:cNvCxnSpPr/>
          <p:nvPr/>
        </p:nvCxnSpPr>
        <p:spPr>
          <a:xfrm>
            <a:off x="573986" y="2132005"/>
            <a:ext cx="0" cy="75640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AA4B3435-6D3D-0642-8891-0D3C89553DC3}"/>
              </a:ext>
            </a:extLst>
          </p:cNvPr>
          <p:cNvCxnSpPr/>
          <p:nvPr/>
        </p:nvCxnSpPr>
        <p:spPr>
          <a:xfrm>
            <a:off x="1298099" y="2132005"/>
            <a:ext cx="0" cy="75640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C219139D-1071-0F40-9877-817A91CC60A1}"/>
              </a:ext>
            </a:extLst>
          </p:cNvPr>
          <p:cNvCxnSpPr/>
          <p:nvPr/>
        </p:nvCxnSpPr>
        <p:spPr>
          <a:xfrm>
            <a:off x="2070190" y="2132005"/>
            <a:ext cx="0" cy="75640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7A6FA84D-C6F2-704B-AB92-A2E44916E3D0}"/>
              </a:ext>
            </a:extLst>
          </p:cNvPr>
          <p:cNvCxnSpPr>
            <a:cxnSpLocks/>
          </p:cNvCxnSpPr>
          <p:nvPr/>
        </p:nvCxnSpPr>
        <p:spPr>
          <a:xfrm>
            <a:off x="4724555" y="2098041"/>
            <a:ext cx="0" cy="790364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id="{7A58BB0E-CA95-DD40-96F1-B5628FDFD4EC}"/>
              </a:ext>
            </a:extLst>
          </p:cNvPr>
          <p:cNvCxnSpPr>
            <a:cxnSpLocks/>
          </p:cNvCxnSpPr>
          <p:nvPr/>
        </p:nvCxnSpPr>
        <p:spPr>
          <a:xfrm>
            <a:off x="5277488" y="2700161"/>
            <a:ext cx="0" cy="432603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id="{541DD411-AB8D-8A46-8C1E-82C7E4594DA9}"/>
              </a:ext>
            </a:extLst>
          </p:cNvPr>
          <p:cNvCxnSpPr>
            <a:cxnSpLocks/>
          </p:cNvCxnSpPr>
          <p:nvPr/>
        </p:nvCxnSpPr>
        <p:spPr>
          <a:xfrm>
            <a:off x="7107987" y="1448734"/>
            <a:ext cx="0" cy="432603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>
            <a:extLst>
              <a:ext uri="{FF2B5EF4-FFF2-40B4-BE49-F238E27FC236}">
                <a16:creationId xmlns:a16="http://schemas.microsoft.com/office/drawing/2014/main" id="{D3827F21-0D10-9A4F-A950-AD1D8D517A33}"/>
              </a:ext>
            </a:extLst>
          </p:cNvPr>
          <p:cNvCxnSpPr>
            <a:cxnSpLocks/>
          </p:cNvCxnSpPr>
          <p:nvPr/>
        </p:nvCxnSpPr>
        <p:spPr>
          <a:xfrm>
            <a:off x="8668381" y="1461243"/>
            <a:ext cx="0" cy="432603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>
            <a:extLst>
              <a:ext uri="{FF2B5EF4-FFF2-40B4-BE49-F238E27FC236}">
                <a16:creationId xmlns:a16="http://schemas.microsoft.com/office/drawing/2014/main" id="{5BE4C954-A03F-1749-A119-8296FE7D7610}"/>
              </a:ext>
            </a:extLst>
          </p:cNvPr>
          <p:cNvCxnSpPr>
            <a:cxnSpLocks/>
          </p:cNvCxnSpPr>
          <p:nvPr/>
        </p:nvCxnSpPr>
        <p:spPr>
          <a:xfrm>
            <a:off x="9404741" y="1448734"/>
            <a:ext cx="0" cy="445112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E3577C9-27CE-0E4C-A79A-AF7313939A88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906" y="1322458"/>
            <a:ext cx="9443454" cy="1444293"/>
          </a:xfrm>
          <a:prstGeom prst="rect">
            <a:avLst/>
          </a:prstGeom>
        </p:spPr>
      </p:pic>
      <p:sp>
        <p:nvSpPr>
          <p:cNvPr id="70" name="Rectangle 19">
            <a:extLst>
              <a:ext uri="{FF2B5EF4-FFF2-40B4-BE49-F238E27FC236}">
                <a16:creationId xmlns:a16="http://schemas.microsoft.com/office/drawing/2014/main" id="{288224F3-EC1E-4A59-B3F6-4C70373BB37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32685" y="3846894"/>
            <a:ext cx="27158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200" dirty="0"/>
              <a:t>Текущие </a:t>
            </a:r>
          </a:p>
          <a:p>
            <a:pPr marL="1587" lvl="1" indent="0">
              <a:buNone/>
            </a:pPr>
            <a:r>
              <a:rPr lang="ru-RU" sz="1200" dirty="0"/>
              <a:t>размеры движения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7D4D12-818A-47D1-856E-BFC75D1B0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341" y="153247"/>
            <a:ext cx="8543925" cy="659632"/>
          </a:xfrm>
        </p:spPr>
        <p:txBody>
          <a:bodyPr/>
          <a:lstStyle/>
          <a:p>
            <a:r>
              <a:rPr lang="ru-RU" sz="1800" dirty="0"/>
              <a:t>Отмена 10-минутного резерва времени в графике движения перед пропуском поездов «Сапсан» позволит повысить пропускную способность</a:t>
            </a:r>
          </a:p>
        </p:txBody>
      </p:sp>
      <p:sp>
        <p:nvSpPr>
          <p:cNvPr id="71" name="Oval 7">
            <a:extLst>
              <a:ext uri="{FF2B5EF4-FFF2-40B4-BE49-F238E27FC236}">
                <a16:creationId xmlns:a16="http://schemas.microsoft.com/office/drawing/2014/main" id="{0539F8FE-BB50-479D-ADDE-E5E321EC4178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322394" y="3945963"/>
            <a:ext cx="205577" cy="193323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ru-RU" sz="1200" b="1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72" name="Rectangle 21">
            <a:extLst>
              <a:ext uri="{FF2B5EF4-FFF2-40B4-BE49-F238E27FC236}">
                <a16:creationId xmlns:a16="http://schemas.microsoft.com/office/drawing/2014/main" id="{36BE3807-F909-C14B-9E16-49848404ACB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7918" y="3253867"/>
            <a:ext cx="3112799" cy="559681"/>
          </a:xfrm>
          <a:prstGeom prst="parallelogram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938"/>
            <a:r>
              <a:rPr lang="ru-RU" sz="1200" b="1" i="1" dirty="0">
                <a:solidFill>
                  <a:schemeClr val="lt1"/>
                </a:solidFill>
                <a:latin typeface="+mj-lt"/>
              </a:rPr>
              <a:t>Размеры движения пригородных поездов по </a:t>
            </a:r>
            <a:r>
              <a:rPr lang="en-US" sz="1200" b="1" i="1" dirty="0">
                <a:solidFill>
                  <a:schemeClr val="lt1"/>
                </a:solidFill>
                <a:latin typeface="+mj-lt"/>
              </a:rPr>
              <a:t>III-IV</a:t>
            </a:r>
            <a:r>
              <a:rPr lang="ru-RU" sz="1200" b="1" i="1" dirty="0">
                <a:solidFill>
                  <a:schemeClr val="lt1"/>
                </a:solidFill>
                <a:latin typeface="+mj-lt"/>
              </a:rPr>
              <a:t> гл. путям</a:t>
            </a:r>
          </a:p>
        </p:txBody>
      </p:sp>
      <p:sp>
        <p:nvSpPr>
          <p:cNvPr id="74" name="Rectangle 21">
            <a:extLst>
              <a:ext uri="{FF2B5EF4-FFF2-40B4-BE49-F238E27FC236}">
                <a16:creationId xmlns:a16="http://schemas.microsoft.com/office/drawing/2014/main" id="{1C3AF739-1832-0942-BE60-9BA68E0F485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477700" y="3254413"/>
            <a:ext cx="3665339" cy="217849"/>
          </a:xfrm>
          <a:prstGeom prst="parallelogram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73462" tIns="36731" rIns="36731" bIns="36731" anchor="ctr"/>
          <a:lstStyle/>
          <a:p>
            <a:pPr algn="ctr" defTabSz="913526">
              <a:buClr>
                <a:schemeClr val="tx2"/>
              </a:buClr>
            </a:pPr>
            <a:r>
              <a:rPr lang="ru-RU" sz="1100" dirty="0"/>
              <a:t>В вечерние часы-пик (16:00-20:00)</a:t>
            </a:r>
          </a:p>
        </p:txBody>
      </p:sp>
      <p:sp>
        <p:nvSpPr>
          <p:cNvPr id="75" name="Rectangle 19">
            <a:extLst>
              <a:ext uri="{FF2B5EF4-FFF2-40B4-BE49-F238E27FC236}">
                <a16:creationId xmlns:a16="http://schemas.microsoft.com/office/drawing/2014/main" id="{BBE4E519-26C4-CF4C-B2CC-F8A5391FC8B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32685" y="4339902"/>
            <a:ext cx="27158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200" dirty="0"/>
              <a:t>Параллельный график </a:t>
            </a:r>
            <a:r>
              <a:rPr lang="ru-RU" sz="1200" b="1" dirty="0">
                <a:solidFill>
                  <a:srgbClr val="D9272E"/>
                </a:solidFill>
              </a:rPr>
              <a:t>(замедление «Сапсана» на 5-15 минут)*</a:t>
            </a:r>
          </a:p>
        </p:txBody>
      </p:sp>
      <p:sp>
        <p:nvSpPr>
          <p:cNvPr id="76" name="Oval 7">
            <a:extLst>
              <a:ext uri="{FF2B5EF4-FFF2-40B4-BE49-F238E27FC236}">
                <a16:creationId xmlns:a16="http://schemas.microsoft.com/office/drawing/2014/main" id="{4FBCEC00-30A1-D843-A564-B39D919F6D5F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322394" y="4438971"/>
            <a:ext cx="205577" cy="193323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ru-RU" sz="1200" b="1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77" name="Rectangle 19">
            <a:extLst>
              <a:ext uri="{FF2B5EF4-FFF2-40B4-BE49-F238E27FC236}">
                <a16:creationId xmlns:a16="http://schemas.microsoft.com/office/drawing/2014/main" id="{99189995-1558-1F45-A194-C944EC8E532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32685" y="4857331"/>
            <a:ext cx="261340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200" dirty="0"/>
              <a:t>Отмена 10-мин. резерва на участке Москва — Крюково</a:t>
            </a:r>
          </a:p>
        </p:txBody>
      </p:sp>
      <p:sp>
        <p:nvSpPr>
          <p:cNvPr id="78" name="Oval 7">
            <a:extLst>
              <a:ext uri="{FF2B5EF4-FFF2-40B4-BE49-F238E27FC236}">
                <a16:creationId xmlns:a16="http://schemas.microsoft.com/office/drawing/2014/main" id="{1131DAFA-6981-5742-B2AE-17F2EB96478E}"/>
              </a:ext>
            </a:extLst>
          </p:cNvPr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auto">
          <a:xfrm>
            <a:off x="322394" y="4956400"/>
            <a:ext cx="205577" cy="193323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ru-RU" sz="1200" b="1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79" name="Rectangle 19">
            <a:extLst>
              <a:ext uri="{FF2B5EF4-FFF2-40B4-BE49-F238E27FC236}">
                <a16:creationId xmlns:a16="http://schemas.microsoft.com/office/drawing/2014/main" id="{0E7C441A-8D51-0D4F-8B77-E1CF9865DC15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28887" y="5346099"/>
            <a:ext cx="261340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200" dirty="0"/>
              <a:t>Отмена 10-мин. резерва на участке Москва — Тверь</a:t>
            </a:r>
          </a:p>
        </p:txBody>
      </p:sp>
      <p:sp>
        <p:nvSpPr>
          <p:cNvPr id="80" name="Oval 7">
            <a:extLst>
              <a:ext uri="{FF2B5EF4-FFF2-40B4-BE49-F238E27FC236}">
                <a16:creationId xmlns:a16="http://schemas.microsoft.com/office/drawing/2014/main" id="{C50D63F6-BB24-B945-8BEA-8378D2B63B12}"/>
              </a:ext>
            </a:extLst>
          </p:cNvPr>
          <p:cNvSpPr>
            <a:spLocks noChangeAspect="1" noChangeArrowheads="1"/>
          </p:cNvSpPr>
          <p:nvPr>
            <p:custDataLst>
              <p:tags r:id="rId10"/>
            </p:custDataLst>
          </p:nvPr>
        </p:nvSpPr>
        <p:spPr bwMode="auto">
          <a:xfrm>
            <a:off x="318596" y="5445168"/>
            <a:ext cx="205577" cy="193323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ru-RU" sz="1200" b="1" dirty="0">
                <a:solidFill>
                  <a:schemeClr val="bg2"/>
                </a:solidFill>
              </a:rPr>
              <a:t>4</a:t>
            </a:r>
          </a:p>
        </p:txBody>
      </p:sp>
      <p:sp>
        <p:nvSpPr>
          <p:cNvPr id="83" name="Line 25">
            <a:extLst>
              <a:ext uri="{FF2B5EF4-FFF2-40B4-BE49-F238E27FC236}">
                <a16:creationId xmlns:a16="http://schemas.microsoft.com/office/drawing/2014/main" id="{CDF30AE6-EC1A-9340-855D-C56E30CB01A1}"/>
              </a:ext>
            </a:extLst>
          </p:cNvPr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262499" y="4812467"/>
            <a:ext cx="6471126" cy="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ru-RU" sz="1735"/>
          </a:p>
        </p:txBody>
      </p:sp>
      <p:sp>
        <p:nvSpPr>
          <p:cNvPr id="86" name="Line 25">
            <a:extLst>
              <a:ext uri="{FF2B5EF4-FFF2-40B4-BE49-F238E27FC236}">
                <a16:creationId xmlns:a16="http://schemas.microsoft.com/office/drawing/2014/main" id="{C7522093-0D59-2940-B1F8-0C526F0AA389}"/>
              </a:ext>
            </a:extLst>
          </p:cNvPr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497814" y="4056901"/>
            <a:ext cx="0" cy="2111212"/>
          </a:xfrm>
          <a:prstGeom prst="line">
            <a:avLst/>
          </a:prstGeom>
          <a:noFill/>
          <a:ln w="38100" cmpd="dbl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ru-RU" sz="1400"/>
          </a:p>
        </p:txBody>
      </p:sp>
      <p:cxnSp>
        <p:nvCxnSpPr>
          <p:cNvPr id="97" name="Прямая соединительная линия 96">
            <a:extLst>
              <a:ext uri="{FF2B5EF4-FFF2-40B4-BE49-F238E27FC236}">
                <a16:creationId xmlns:a16="http://schemas.microsoft.com/office/drawing/2014/main" id="{A32BCFAA-BF7E-D14B-BD25-863B6FA15675}"/>
              </a:ext>
            </a:extLst>
          </p:cNvPr>
          <p:cNvCxnSpPr>
            <a:cxnSpLocks/>
            <a:endCxn id="86" idx="1"/>
          </p:cNvCxnSpPr>
          <p:nvPr/>
        </p:nvCxnSpPr>
        <p:spPr>
          <a:xfrm>
            <a:off x="3481007" y="3947905"/>
            <a:ext cx="16808" cy="222020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>
            <a:extLst>
              <a:ext uri="{FF2B5EF4-FFF2-40B4-BE49-F238E27FC236}">
                <a16:creationId xmlns:a16="http://schemas.microsoft.com/office/drawing/2014/main" id="{976962F7-D198-4D47-8BEC-E2E88EEB373D}"/>
              </a:ext>
            </a:extLst>
          </p:cNvPr>
          <p:cNvCxnSpPr>
            <a:cxnSpLocks/>
          </p:cNvCxnSpPr>
          <p:nvPr/>
        </p:nvCxnSpPr>
        <p:spPr>
          <a:xfrm flipH="1">
            <a:off x="5281308" y="5664542"/>
            <a:ext cx="3798" cy="45886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единительная линия 99">
            <a:extLst>
              <a:ext uri="{FF2B5EF4-FFF2-40B4-BE49-F238E27FC236}">
                <a16:creationId xmlns:a16="http://schemas.microsoft.com/office/drawing/2014/main" id="{64806978-47D1-1845-AFE7-FA42F2D5BFE1}"/>
              </a:ext>
            </a:extLst>
          </p:cNvPr>
          <p:cNvCxnSpPr>
            <a:cxnSpLocks/>
          </p:cNvCxnSpPr>
          <p:nvPr/>
        </p:nvCxnSpPr>
        <p:spPr>
          <a:xfrm>
            <a:off x="4379710" y="3927079"/>
            <a:ext cx="0" cy="70033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Прямая соединительная линия 101">
            <a:extLst>
              <a:ext uri="{FF2B5EF4-FFF2-40B4-BE49-F238E27FC236}">
                <a16:creationId xmlns:a16="http://schemas.microsoft.com/office/drawing/2014/main" id="{DDCA16F4-D453-9A41-931E-0506C4715E66}"/>
              </a:ext>
            </a:extLst>
          </p:cNvPr>
          <p:cNvCxnSpPr>
            <a:cxnSpLocks/>
          </p:cNvCxnSpPr>
          <p:nvPr/>
        </p:nvCxnSpPr>
        <p:spPr>
          <a:xfrm>
            <a:off x="4826117" y="4438971"/>
            <a:ext cx="0" cy="70033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единительная линия 102">
            <a:extLst>
              <a:ext uri="{FF2B5EF4-FFF2-40B4-BE49-F238E27FC236}">
                <a16:creationId xmlns:a16="http://schemas.microsoft.com/office/drawing/2014/main" id="{D9A7D133-9EF5-9642-8FA6-25CDF51A4728}"/>
              </a:ext>
            </a:extLst>
          </p:cNvPr>
          <p:cNvCxnSpPr>
            <a:cxnSpLocks/>
            <a:endCxn id="96" idx="1"/>
          </p:cNvCxnSpPr>
          <p:nvPr/>
        </p:nvCxnSpPr>
        <p:spPr>
          <a:xfrm flipH="1">
            <a:off x="4980703" y="5088735"/>
            <a:ext cx="994" cy="44252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0F4D43CE-7444-164B-8294-65DA8AB5F627}"/>
              </a:ext>
            </a:extLst>
          </p:cNvPr>
          <p:cNvSpPr/>
          <p:nvPr/>
        </p:nvSpPr>
        <p:spPr>
          <a:xfrm>
            <a:off x="3478184" y="3927080"/>
            <a:ext cx="901526" cy="247876"/>
          </a:xfrm>
          <a:prstGeom prst="rect">
            <a:avLst/>
          </a:prstGeom>
          <a:solidFill>
            <a:srgbClr val="002060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D2231DE1-579C-284C-B4B4-863C5EEE7A0A}"/>
              </a:ext>
            </a:extLst>
          </p:cNvPr>
          <p:cNvSpPr/>
          <p:nvPr/>
        </p:nvSpPr>
        <p:spPr>
          <a:xfrm>
            <a:off x="4379710" y="4399461"/>
            <a:ext cx="450908" cy="247876"/>
          </a:xfrm>
          <a:prstGeom prst="rect">
            <a:avLst/>
          </a:prstGeom>
          <a:solidFill>
            <a:srgbClr val="D9272E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0C75F2EB-21E5-9544-BEFA-38A9F11891FE}"/>
              </a:ext>
            </a:extLst>
          </p:cNvPr>
          <p:cNvSpPr/>
          <p:nvPr/>
        </p:nvSpPr>
        <p:spPr>
          <a:xfrm>
            <a:off x="4832333" y="4918395"/>
            <a:ext cx="150303" cy="247876"/>
          </a:xfrm>
          <a:prstGeom prst="rect">
            <a:avLst/>
          </a:prstGeom>
          <a:solidFill>
            <a:srgbClr val="D9272E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E8DAEBB3-9F72-D746-AB9C-BC9CF5FE0B3A}"/>
              </a:ext>
            </a:extLst>
          </p:cNvPr>
          <p:cNvSpPr/>
          <p:nvPr/>
        </p:nvSpPr>
        <p:spPr>
          <a:xfrm>
            <a:off x="4980703" y="5407326"/>
            <a:ext cx="300605" cy="247876"/>
          </a:xfrm>
          <a:prstGeom prst="rect">
            <a:avLst/>
          </a:prstGeom>
          <a:solidFill>
            <a:srgbClr val="D9272E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70F84AF4-90E3-FA46-9B25-15D2E6E6EC07}"/>
              </a:ext>
            </a:extLst>
          </p:cNvPr>
          <p:cNvSpPr/>
          <p:nvPr/>
        </p:nvSpPr>
        <p:spPr>
          <a:xfrm>
            <a:off x="3485859" y="5885478"/>
            <a:ext cx="1807405" cy="247876"/>
          </a:xfrm>
          <a:prstGeom prst="rect">
            <a:avLst/>
          </a:prstGeom>
          <a:solidFill>
            <a:srgbClr val="D9272E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24</a:t>
            </a:r>
          </a:p>
        </p:txBody>
      </p:sp>
      <p:sp>
        <p:nvSpPr>
          <p:cNvPr id="107" name="Rectangle 19">
            <a:extLst>
              <a:ext uri="{FF2B5EF4-FFF2-40B4-BE49-F238E27FC236}">
                <a16:creationId xmlns:a16="http://schemas.microsoft.com/office/drawing/2014/main" id="{0BD88B17-0C20-7D42-8178-7815ECE70F92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596303" y="5897463"/>
            <a:ext cx="7659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200" b="1" dirty="0"/>
              <a:t>ИТОГО</a:t>
            </a:r>
          </a:p>
        </p:txBody>
      </p:sp>
      <p:sp>
        <p:nvSpPr>
          <p:cNvPr id="117" name="Rectangle 2">
            <a:extLst>
              <a:ext uri="{FF2B5EF4-FFF2-40B4-BE49-F238E27FC236}">
                <a16:creationId xmlns:a16="http://schemas.microsoft.com/office/drawing/2014/main" id="{86E04EFF-A1FB-FA43-973B-27EBAF8FF32D}"/>
              </a:ext>
            </a:extLst>
          </p:cNvPr>
          <p:cNvSpPr txBox="1">
            <a:spLocks/>
          </p:cNvSpPr>
          <p:nvPr/>
        </p:nvSpPr>
        <p:spPr>
          <a:xfrm>
            <a:off x="7296472" y="4260066"/>
            <a:ext cx="2422893" cy="1962448"/>
          </a:xfrm>
          <a:prstGeom prst="roundRect">
            <a:avLst>
              <a:gd name="adj" fmla="val 2861"/>
            </a:avLst>
          </a:prstGeom>
          <a:solidFill>
            <a:srgbClr val="002060"/>
          </a:solidFill>
          <a:ln w="762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sz="1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100" b="0" dirty="0"/>
              <a:t>Отмена 10-минутного резерва времени в графике движения перед пропуском поездов «Сапсан» (инструкция ОАО «РЖД» № С-3 ДОСС-1ЕТ) на Ленинградском направлении позволит назначить по </a:t>
            </a:r>
            <a:r>
              <a:rPr lang="en-US" sz="1100" b="0" dirty="0"/>
              <a:t>III-IV</a:t>
            </a:r>
            <a:r>
              <a:rPr lang="ru-RU" sz="1100" b="0" dirty="0"/>
              <a:t> гл. путям до 12 пригородных поездов в вечерний час пик и создать дополнительно 28 тыс. пасс. мест</a:t>
            </a:r>
          </a:p>
        </p:txBody>
      </p:sp>
      <p:sp>
        <p:nvSpPr>
          <p:cNvPr id="118" name="Line 25">
            <a:extLst>
              <a:ext uri="{FF2B5EF4-FFF2-40B4-BE49-F238E27FC236}">
                <a16:creationId xmlns:a16="http://schemas.microsoft.com/office/drawing/2014/main" id="{20A4E113-338B-3B43-BFEE-0D4A3BFF940E}"/>
              </a:ext>
            </a:extLst>
          </p:cNvPr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275903" y="4279580"/>
            <a:ext cx="6471126" cy="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ru-RU" sz="1735"/>
          </a:p>
        </p:txBody>
      </p:sp>
      <p:sp>
        <p:nvSpPr>
          <p:cNvPr id="119" name="Line 25">
            <a:extLst>
              <a:ext uri="{FF2B5EF4-FFF2-40B4-BE49-F238E27FC236}">
                <a16:creationId xmlns:a16="http://schemas.microsoft.com/office/drawing/2014/main" id="{6DAAC47C-0E7F-BD45-B94B-FB3A1E581646}"/>
              </a:ext>
            </a:extLst>
          </p:cNvPr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303888" y="5267232"/>
            <a:ext cx="6468328" cy="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ru-RU" sz="1735"/>
          </a:p>
        </p:txBody>
      </p:sp>
      <p:sp>
        <p:nvSpPr>
          <p:cNvPr id="120" name="Line 25">
            <a:extLst>
              <a:ext uri="{FF2B5EF4-FFF2-40B4-BE49-F238E27FC236}">
                <a16:creationId xmlns:a16="http://schemas.microsoft.com/office/drawing/2014/main" id="{4D88F50C-2EFD-EF4A-929C-B1C8FC6B6AF3}"/>
              </a:ext>
            </a:extLst>
          </p:cNvPr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275903" y="5807347"/>
            <a:ext cx="6467328" cy="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ru-RU" sz="1735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1C95692-74EC-224A-8F1A-2AB1FDEF66BC}"/>
              </a:ext>
            </a:extLst>
          </p:cNvPr>
          <p:cNvSpPr txBox="1"/>
          <p:nvPr/>
        </p:nvSpPr>
        <p:spPr>
          <a:xfrm>
            <a:off x="7296472" y="2833625"/>
            <a:ext cx="2422888" cy="138499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ru-RU"/>
            </a:defPPr>
            <a:lvl1pPr>
              <a:spcAft>
                <a:spcPts val="600"/>
              </a:spcAft>
              <a:defRPr sz="1200" b="1" kern="0">
                <a:solidFill>
                  <a:srgbClr val="C00000"/>
                </a:solidFill>
                <a:latin typeface="+mj-l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100" b="0" dirty="0">
                <a:solidFill>
                  <a:schemeClr val="tx1"/>
                </a:solidFill>
              </a:rPr>
              <a:t>В утренние часы-пик возможен пропуск всех пригородных поездов по </a:t>
            </a:r>
            <a:r>
              <a:rPr lang="en-US" sz="1100" b="0" dirty="0">
                <a:solidFill>
                  <a:schemeClr val="tx1"/>
                </a:solidFill>
              </a:rPr>
              <a:t>III-IV</a:t>
            </a:r>
            <a:r>
              <a:rPr lang="ru-RU" sz="1100" b="0" dirty="0">
                <a:solidFill>
                  <a:schemeClr val="tx1"/>
                </a:solidFill>
              </a:rPr>
              <a:t> гл. путям в текущих объемах. Увеличение размеров движения возможно в случае «выноса» части поездов дальнего следования за пределы часа-пик.</a:t>
            </a:r>
          </a:p>
        </p:txBody>
      </p:sp>
      <p:sp>
        <p:nvSpPr>
          <p:cNvPr id="43" name="AutoShape 14">
            <a:extLst>
              <a:ext uri="{FF2B5EF4-FFF2-40B4-BE49-F238E27FC236}">
                <a16:creationId xmlns:a16="http://schemas.microsoft.com/office/drawing/2014/main" id="{DA221FAD-2C7C-2C46-9F9F-080908D14C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0349" y="1198790"/>
            <a:ext cx="1511543" cy="400996"/>
          </a:xfrm>
          <a:prstGeom prst="wedgeRectCallout">
            <a:avLst>
              <a:gd name="adj1" fmla="val 3855"/>
              <a:gd name="adj2" fmla="val 137666"/>
            </a:avLst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73472" tIns="73472" rIns="73472" bIns="73472" anchor="ctr"/>
          <a:lstStyle/>
          <a:p>
            <a:pPr marL="536575" defTabSz="913526">
              <a:buClr>
                <a:schemeClr val="tx2"/>
              </a:buClr>
            </a:pPr>
            <a:r>
              <a:rPr lang="ru-RU" sz="1100" b="1" dirty="0"/>
              <a:t>171</a:t>
            </a:r>
            <a:r>
              <a:rPr lang="ru-RU" sz="1100" dirty="0"/>
              <a:t> пара поездов/</a:t>
            </a:r>
            <a:r>
              <a:rPr lang="ru-RU" sz="1100" dirty="0" err="1"/>
              <a:t>сут</a:t>
            </a:r>
            <a:r>
              <a:rPr lang="ru-RU" sz="1100" dirty="0"/>
              <a:t>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97F1F76-D303-2649-8410-0FFAB6B386A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525304" y="1266720"/>
            <a:ext cx="476796" cy="241431"/>
          </a:xfrm>
          <a:prstGeom prst="rect">
            <a:avLst/>
          </a:prstGeom>
        </p:spPr>
      </p:pic>
      <p:sp>
        <p:nvSpPr>
          <p:cNvPr id="44" name="AutoShape 21">
            <a:extLst>
              <a:ext uri="{FF2B5EF4-FFF2-40B4-BE49-F238E27FC236}">
                <a16:creationId xmlns:a16="http://schemas.microsoft.com/office/drawing/2014/main" id="{994E66C0-B9BA-B14E-B0AA-48295A8368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1793" y="4503313"/>
            <a:ext cx="968685" cy="350819"/>
          </a:xfrm>
          <a:prstGeom prst="wedgeRectCallout">
            <a:avLst>
              <a:gd name="adj1" fmla="val -91171"/>
              <a:gd name="adj2" fmla="val -10274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r>
              <a:rPr lang="ru-RU" sz="800" dirty="0"/>
              <a:t>+4 доп. поезда «Сапсан»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D11616-22F2-8943-BA1F-9E007ABE522F}"/>
              </a:ext>
            </a:extLst>
          </p:cNvPr>
          <p:cNvSpPr txBox="1"/>
          <p:nvPr/>
        </p:nvSpPr>
        <p:spPr>
          <a:xfrm>
            <a:off x="282518" y="1688466"/>
            <a:ext cx="6026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Тверь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E2C0487-8DF3-4042-AFED-2648338D2072}"/>
              </a:ext>
            </a:extLst>
          </p:cNvPr>
          <p:cNvSpPr txBox="1"/>
          <p:nvPr/>
        </p:nvSpPr>
        <p:spPr>
          <a:xfrm>
            <a:off x="1031733" y="1690822"/>
            <a:ext cx="5357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Клин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984A712-A797-594C-9EE2-4333FEAC499E}"/>
              </a:ext>
            </a:extLst>
          </p:cNvPr>
          <p:cNvSpPr txBox="1"/>
          <p:nvPr/>
        </p:nvSpPr>
        <p:spPr>
          <a:xfrm>
            <a:off x="1682878" y="1638206"/>
            <a:ext cx="7938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Крюково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6D15DDB-6D5E-C840-BCA7-A8EBC2888CB8}"/>
              </a:ext>
            </a:extLst>
          </p:cNvPr>
          <p:cNvSpPr txBox="1"/>
          <p:nvPr/>
        </p:nvSpPr>
        <p:spPr>
          <a:xfrm>
            <a:off x="8389739" y="2369123"/>
            <a:ext cx="9587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Раменское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DB53164-51AF-0B45-ACB9-BCA005F64417}"/>
              </a:ext>
            </a:extLst>
          </p:cNvPr>
          <p:cNvSpPr txBox="1"/>
          <p:nvPr/>
        </p:nvSpPr>
        <p:spPr>
          <a:xfrm>
            <a:off x="7273718" y="2369123"/>
            <a:ext cx="9924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Люберцы-1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012FB39-BAB8-364F-AE15-E6BB5DCC6677}"/>
              </a:ext>
            </a:extLst>
          </p:cNvPr>
          <p:cNvSpPr txBox="1"/>
          <p:nvPr/>
        </p:nvSpPr>
        <p:spPr>
          <a:xfrm>
            <a:off x="5285108" y="2368967"/>
            <a:ext cx="55335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err="1"/>
              <a:t>Каз</a:t>
            </a:r>
            <a:r>
              <a:rPr lang="ru-RU" sz="800" dirty="0"/>
              <a:t>. в-л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435301C-1B5B-334D-A14E-27A0D2C64812}"/>
              </a:ext>
            </a:extLst>
          </p:cNvPr>
          <p:cNvSpPr txBox="1"/>
          <p:nvPr/>
        </p:nvSpPr>
        <p:spPr>
          <a:xfrm>
            <a:off x="6725513" y="1049550"/>
            <a:ext cx="7594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err="1"/>
              <a:t>Реутово</a:t>
            </a:r>
            <a:endParaRPr lang="ru-RU" sz="12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F3FAEA4-CC4B-2548-9952-0A30ED9ADA56}"/>
              </a:ext>
            </a:extLst>
          </p:cNvPr>
          <p:cNvSpPr txBox="1"/>
          <p:nvPr/>
        </p:nvSpPr>
        <p:spPr>
          <a:xfrm>
            <a:off x="8209724" y="865291"/>
            <a:ext cx="8834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Железно-</a:t>
            </a:r>
          </a:p>
          <a:p>
            <a:pPr algn="ctr"/>
            <a:r>
              <a:rPr lang="ru-RU" sz="1200" dirty="0"/>
              <a:t>дорожная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20B940D-DECE-0F44-942C-5BCE8E0C0330}"/>
              </a:ext>
            </a:extLst>
          </p:cNvPr>
          <p:cNvSpPr txBox="1"/>
          <p:nvPr/>
        </p:nvSpPr>
        <p:spPr>
          <a:xfrm>
            <a:off x="8969790" y="869206"/>
            <a:ext cx="8559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Нижний </a:t>
            </a:r>
          </a:p>
          <a:p>
            <a:pPr algn="ctr"/>
            <a:r>
              <a:rPr lang="ru-RU" sz="1200" dirty="0"/>
              <a:t>Новгород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44372B4-E180-A34F-88CE-EDB81A0AE3FF}"/>
              </a:ext>
            </a:extLst>
          </p:cNvPr>
          <p:cNvSpPr txBox="1"/>
          <p:nvPr/>
        </p:nvSpPr>
        <p:spPr>
          <a:xfrm>
            <a:off x="4439060" y="2144957"/>
            <a:ext cx="570990" cy="121613"/>
          </a:xfrm>
          <a:prstGeom prst="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algn="ctr"/>
            <a:r>
              <a:rPr lang="ru-RU" sz="800" dirty="0"/>
              <a:t>Лен. в-л</a:t>
            </a:r>
          </a:p>
        </p:txBody>
      </p: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2F894CCB-A726-E045-B302-384CA68C2014}"/>
              </a:ext>
            </a:extLst>
          </p:cNvPr>
          <p:cNvCxnSpPr>
            <a:cxnSpLocks/>
          </p:cNvCxnSpPr>
          <p:nvPr/>
        </p:nvCxnSpPr>
        <p:spPr>
          <a:xfrm flipH="1">
            <a:off x="573987" y="2766751"/>
            <a:ext cx="724112" cy="0"/>
          </a:xfrm>
          <a:prstGeom prst="line">
            <a:avLst/>
          </a:prstGeom>
          <a:ln w="6350">
            <a:solidFill>
              <a:schemeClr val="accent6"/>
            </a:solidFill>
            <a:headEnd type="stealth" w="sm" len="lg"/>
            <a:tailEnd type="stealth" w="sm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DCD23633-027A-1C40-BCC4-D45FCB845272}"/>
              </a:ext>
            </a:extLst>
          </p:cNvPr>
          <p:cNvCxnSpPr>
            <a:cxnSpLocks/>
          </p:cNvCxnSpPr>
          <p:nvPr/>
        </p:nvCxnSpPr>
        <p:spPr>
          <a:xfrm flipH="1">
            <a:off x="2070190" y="2766751"/>
            <a:ext cx="2657389" cy="0"/>
          </a:xfrm>
          <a:prstGeom prst="line">
            <a:avLst/>
          </a:prstGeom>
          <a:ln w="6350">
            <a:solidFill>
              <a:schemeClr val="accent6"/>
            </a:solidFill>
            <a:headEnd type="stealth" w="sm" len="lg"/>
            <a:tailEnd type="stealth" w="sm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F2489952-288D-C54A-95D7-D3A2707C8B2E}"/>
              </a:ext>
            </a:extLst>
          </p:cNvPr>
          <p:cNvCxnSpPr>
            <a:cxnSpLocks/>
          </p:cNvCxnSpPr>
          <p:nvPr/>
        </p:nvCxnSpPr>
        <p:spPr>
          <a:xfrm flipH="1">
            <a:off x="1298099" y="2766751"/>
            <a:ext cx="772091" cy="0"/>
          </a:xfrm>
          <a:prstGeom prst="line">
            <a:avLst/>
          </a:prstGeom>
          <a:ln w="6350">
            <a:solidFill>
              <a:schemeClr val="accent6"/>
            </a:solidFill>
            <a:headEnd type="stealth" w="sm" len="lg"/>
            <a:tailEnd type="stealth" w="sm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73EF5619-5BC1-DB4F-9E09-72017A09C3C2}"/>
              </a:ext>
            </a:extLst>
          </p:cNvPr>
          <p:cNvSpPr txBox="1"/>
          <p:nvPr/>
        </p:nvSpPr>
        <p:spPr>
          <a:xfrm>
            <a:off x="4826117" y="2790210"/>
            <a:ext cx="925546" cy="171995"/>
          </a:xfrm>
          <a:prstGeom prst="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algn="ctr"/>
            <a:r>
              <a:rPr lang="ru-RU" sz="1200" dirty="0"/>
              <a:t>Курский в-л</a:t>
            </a:r>
          </a:p>
        </p:txBody>
      </p:sp>
      <p:cxnSp>
        <p:nvCxnSpPr>
          <p:cNvPr id="88" name="Прямая соединительная линия 87">
            <a:extLst>
              <a:ext uri="{FF2B5EF4-FFF2-40B4-BE49-F238E27FC236}">
                <a16:creationId xmlns:a16="http://schemas.microsoft.com/office/drawing/2014/main" id="{85F557AD-D41B-7644-8A09-2365BF8DD463}"/>
              </a:ext>
            </a:extLst>
          </p:cNvPr>
          <p:cNvCxnSpPr>
            <a:cxnSpLocks/>
          </p:cNvCxnSpPr>
          <p:nvPr/>
        </p:nvCxnSpPr>
        <p:spPr>
          <a:xfrm flipH="1">
            <a:off x="7105233" y="1740891"/>
            <a:ext cx="1546214" cy="0"/>
          </a:xfrm>
          <a:prstGeom prst="line">
            <a:avLst/>
          </a:prstGeom>
          <a:ln w="6350">
            <a:solidFill>
              <a:schemeClr val="accent6"/>
            </a:solidFill>
            <a:headEnd type="stealth" w="sm" len="lg"/>
            <a:tailEnd type="stealth" w="sm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65A0F857-0BAA-D843-9E21-1724AC2346A2}"/>
              </a:ext>
            </a:extLst>
          </p:cNvPr>
          <p:cNvCxnSpPr>
            <a:cxnSpLocks/>
          </p:cNvCxnSpPr>
          <p:nvPr/>
        </p:nvCxnSpPr>
        <p:spPr>
          <a:xfrm flipH="1">
            <a:off x="8668381" y="1740891"/>
            <a:ext cx="736360" cy="0"/>
          </a:xfrm>
          <a:prstGeom prst="line">
            <a:avLst/>
          </a:prstGeom>
          <a:ln w="6350">
            <a:solidFill>
              <a:schemeClr val="accent6"/>
            </a:solidFill>
            <a:headEnd type="stealth" w="sm" len="lg"/>
            <a:tailEnd type="stealth" w="sm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0B7A463E-843C-3946-A614-35A54970024B}"/>
              </a:ext>
            </a:extLst>
          </p:cNvPr>
          <p:cNvCxnSpPr>
            <a:cxnSpLocks/>
          </p:cNvCxnSpPr>
          <p:nvPr/>
        </p:nvCxnSpPr>
        <p:spPr>
          <a:xfrm flipH="1">
            <a:off x="6900790" y="1740487"/>
            <a:ext cx="203661" cy="0"/>
          </a:xfrm>
          <a:prstGeom prst="line">
            <a:avLst/>
          </a:prstGeom>
          <a:ln w="6350">
            <a:solidFill>
              <a:schemeClr val="accent6"/>
            </a:solidFill>
            <a:headEnd type="stealth" w="sm" len="lg"/>
            <a:tailEnd type="none" w="sm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>
            <a:extLst>
              <a:ext uri="{FF2B5EF4-FFF2-40B4-BE49-F238E27FC236}">
                <a16:creationId xmlns:a16="http://schemas.microsoft.com/office/drawing/2014/main" id="{B0E43E61-0180-2345-867B-66A73EA467CF}"/>
              </a:ext>
            </a:extLst>
          </p:cNvPr>
          <p:cNvCxnSpPr>
            <a:cxnSpLocks/>
          </p:cNvCxnSpPr>
          <p:nvPr/>
        </p:nvCxnSpPr>
        <p:spPr>
          <a:xfrm flipH="1">
            <a:off x="5274352" y="3043954"/>
            <a:ext cx="825235" cy="0"/>
          </a:xfrm>
          <a:prstGeom prst="line">
            <a:avLst/>
          </a:prstGeom>
          <a:ln w="6350">
            <a:solidFill>
              <a:schemeClr val="accent6"/>
            </a:solidFill>
            <a:headEnd type="none" w="sm" len="lg"/>
            <a:tailEnd type="stealth" w="sm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>
            <a:extLst>
              <a:ext uri="{FF2B5EF4-FFF2-40B4-BE49-F238E27FC236}">
                <a16:creationId xmlns:a16="http://schemas.microsoft.com/office/drawing/2014/main" id="{0D1E2A38-3D1D-454A-BABD-4B4EBC6DA1B8}"/>
              </a:ext>
            </a:extLst>
          </p:cNvPr>
          <p:cNvCxnSpPr>
            <a:cxnSpLocks/>
          </p:cNvCxnSpPr>
          <p:nvPr/>
        </p:nvCxnSpPr>
        <p:spPr>
          <a:xfrm flipH="1">
            <a:off x="6099586" y="1740487"/>
            <a:ext cx="801204" cy="1306429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B1ED79B1-CCF8-0848-B702-AAC56EFB5061}"/>
              </a:ext>
            </a:extLst>
          </p:cNvPr>
          <p:cNvSpPr txBox="1"/>
          <p:nvPr/>
        </p:nvSpPr>
        <p:spPr>
          <a:xfrm>
            <a:off x="601121" y="2780289"/>
            <a:ext cx="67821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800" b="1" dirty="0">
                <a:solidFill>
                  <a:srgbClr val="D9272E"/>
                </a:solidFill>
              </a:rPr>
              <a:t>10-мин. резерв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6877FE1E-36EC-F74F-924E-2AD72095DDCC}"/>
              </a:ext>
            </a:extLst>
          </p:cNvPr>
          <p:cNvSpPr txBox="1"/>
          <p:nvPr/>
        </p:nvSpPr>
        <p:spPr>
          <a:xfrm>
            <a:off x="1345038" y="2780289"/>
            <a:ext cx="67821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800" b="1" dirty="0">
                <a:solidFill>
                  <a:srgbClr val="D9272E"/>
                </a:solidFill>
              </a:rPr>
              <a:t>10-мин. резерв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42D2019-16E7-AF48-8015-CC41D926E6FF}"/>
              </a:ext>
            </a:extLst>
          </p:cNvPr>
          <p:cNvSpPr txBox="1"/>
          <p:nvPr/>
        </p:nvSpPr>
        <p:spPr>
          <a:xfrm>
            <a:off x="3061695" y="2780289"/>
            <a:ext cx="67821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800" b="1" dirty="0">
                <a:solidFill>
                  <a:srgbClr val="D9272E"/>
                </a:solidFill>
              </a:rPr>
              <a:t>10-мин. резерв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FC775E7-DB44-F54B-853A-1B732B7FE0AC}"/>
              </a:ext>
            </a:extLst>
          </p:cNvPr>
          <p:cNvSpPr txBox="1"/>
          <p:nvPr/>
        </p:nvSpPr>
        <p:spPr>
          <a:xfrm>
            <a:off x="7416865" y="1771287"/>
            <a:ext cx="911268" cy="2797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800" b="1" dirty="0">
                <a:solidFill>
                  <a:srgbClr val="00B050"/>
                </a:solidFill>
              </a:rPr>
              <a:t>нет 10-мин. </a:t>
            </a:r>
          </a:p>
          <a:p>
            <a:pPr algn="ctr"/>
            <a:r>
              <a:rPr lang="ru-RU" sz="800" b="1" dirty="0">
                <a:solidFill>
                  <a:srgbClr val="00B050"/>
                </a:solidFill>
              </a:rPr>
              <a:t>резерва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F4422096-77E9-054A-BC46-79C0705E1547}"/>
              </a:ext>
            </a:extLst>
          </p:cNvPr>
          <p:cNvSpPr txBox="1"/>
          <p:nvPr/>
        </p:nvSpPr>
        <p:spPr>
          <a:xfrm>
            <a:off x="3007898" y="2507466"/>
            <a:ext cx="766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00B050"/>
                </a:solidFill>
              </a:rPr>
              <a:t>140 км/ч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F5B6AD5-89A9-CA44-8772-B09925036054}"/>
              </a:ext>
            </a:extLst>
          </p:cNvPr>
          <p:cNvSpPr txBox="1"/>
          <p:nvPr/>
        </p:nvSpPr>
        <p:spPr>
          <a:xfrm>
            <a:off x="1309911" y="2507465"/>
            <a:ext cx="766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D9272E"/>
                </a:solidFill>
              </a:rPr>
              <a:t>200 км/ч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63C38F9F-8B00-9D4F-8525-45132DC0B7D0}"/>
              </a:ext>
            </a:extLst>
          </p:cNvPr>
          <p:cNvSpPr txBox="1"/>
          <p:nvPr/>
        </p:nvSpPr>
        <p:spPr>
          <a:xfrm>
            <a:off x="557107" y="2507465"/>
            <a:ext cx="766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D9272E"/>
                </a:solidFill>
              </a:rPr>
              <a:t>220 км/ч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0E3350FD-3E9C-AF4A-A50E-EF44F94ECE65}"/>
              </a:ext>
            </a:extLst>
          </p:cNvPr>
          <p:cNvSpPr txBox="1"/>
          <p:nvPr/>
        </p:nvSpPr>
        <p:spPr>
          <a:xfrm rot="18102366">
            <a:off x="5900942" y="2451530"/>
            <a:ext cx="766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00B050"/>
                </a:solidFill>
              </a:rPr>
              <a:t>120 км/ч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DF0C3BA-7BE2-8246-96BE-F0FF25AAA98A}"/>
              </a:ext>
            </a:extLst>
          </p:cNvPr>
          <p:cNvSpPr txBox="1"/>
          <p:nvPr/>
        </p:nvSpPr>
        <p:spPr>
          <a:xfrm>
            <a:off x="7464118" y="1528909"/>
            <a:ext cx="766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00B050"/>
                </a:solidFill>
              </a:rPr>
              <a:t>140 км/ч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7B29727C-A6F4-304F-BD79-8BE440B105D1}"/>
              </a:ext>
            </a:extLst>
          </p:cNvPr>
          <p:cNvSpPr txBox="1"/>
          <p:nvPr/>
        </p:nvSpPr>
        <p:spPr>
          <a:xfrm>
            <a:off x="8650080" y="1521383"/>
            <a:ext cx="766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000" b="1" dirty="0">
                <a:solidFill>
                  <a:srgbClr val="00B050"/>
                </a:solidFill>
              </a:rPr>
              <a:t>140 км/ч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4B46A129-BD39-BF4E-B06D-7D0D74ADE943}"/>
              </a:ext>
            </a:extLst>
          </p:cNvPr>
          <p:cNvSpPr txBox="1"/>
          <p:nvPr/>
        </p:nvSpPr>
        <p:spPr>
          <a:xfrm rot="18139230">
            <a:off x="6053609" y="2551510"/>
            <a:ext cx="911268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800" b="1" dirty="0">
                <a:solidFill>
                  <a:srgbClr val="00B050"/>
                </a:solidFill>
              </a:rPr>
              <a:t>нет 10-мин. </a:t>
            </a:r>
          </a:p>
          <a:p>
            <a:pPr algn="ctr"/>
            <a:r>
              <a:rPr lang="ru-RU" sz="800" b="1" dirty="0">
                <a:solidFill>
                  <a:srgbClr val="00B050"/>
                </a:solidFill>
              </a:rPr>
              <a:t>резерва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2FD4A679-414E-4E43-A78F-21F71BCF3838}"/>
              </a:ext>
            </a:extLst>
          </p:cNvPr>
          <p:cNvSpPr txBox="1"/>
          <p:nvPr/>
        </p:nvSpPr>
        <p:spPr>
          <a:xfrm>
            <a:off x="8628200" y="1774911"/>
            <a:ext cx="828425" cy="27979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800" b="1" dirty="0">
                <a:solidFill>
                  <a:srgbClr val="00B050"/>
                </a:solidFill>
              </a:rPr>
              <a:t>нет 10-мин. </a:t>
            </a:r>
          </a:p>
          <a:p>
            <a:pPr algn="ctr"/>
            <a:r>
              <a:rPr lang="ru-RU" sz="800" b="1" dirty="0">
                <a:solidFill>
                  <a:srgbClr val="00B050"/>
                </a:solidFill>
              </a:rPr>
              <a:t>резерва</a:t>
            </a:r>
          </a:p>
        </p:txBody>
      </p:sp>
      <p:sp>
        <p:nvSpPr>
          <p:cNvPr id="113" name="Rectangle 21">
            <a:extLst>
              <a:ext uri="{FF2B5EF4-FFF2-40B4-BE49-F238E27FC236}">
                <a16:creationId xmlns:a16="http://schemas.microsoft.com/office/drawing/2014/main" id="{2173B5DF-D85D-4644-A531-6707665579CD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477700" y="3523152"/>
            <a:ext cx="1796651" cy="318826"/>
          </a:xfrm>
          <a:prstGeom prst="parallelogram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73462" tIns="36731" rIns="36731" bIns="36731" anchor="ctr"/>
          <a:lstStyle/>
          <a:p>
            <a:pPr algn="ctr" defTabSz="913526">
              <a:buClr>
                <a:schemeClr val="tx2"/>
              </a:buClr>
            </a:pPr>
            <a:r>
              <a:rPr lang="ru-RU" sz="1000" dirty="0"/>
              <a:t>Размеры движения</a:t>
            </a:r>
          </a:p>
        </p:txBody>
      </p:sp>
      <p:sp>
        <p:nvSpPr>
          <p:cNvPr id="122" name="Rectangle 21">
            <a:extLst>
              <a:ext uri="{FF2B5EF4-FFF2-40B4-BE49-F238E27FC236}">
                <a16:creationId xmlns:a16="http://schemas.microsoft.com/office/drawing/2014/main" id="{0C39353F-F2A1-C64D-BD5A-CD9CD159690A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415261" y="3521882"/>
            <a:ext cx="1732074" cy="314786"/>
          </a:xfrm>
          <a:prstGeom prst="parallelogram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73462" tIns="36731" rIns="36731" bIns="36731" anchor="ctr"/>
          <a:lstStyle/>
          <a:p>
            <a:pPr algn="ctr" defTabSz="913526">
              <a:buClr>
                <a:schemeClr val="tx2"/>
              </a:buClr>
            </a:pPr>
            <a:r>
              <a:rPr lang="ru-RU" sz="1000" dirty="0"/>
              <a:t>Средний интервал пригорода, мин</a:t>
            </a:r>
          </a:p>
        </p:txBody>
      </p:sp>
      <p:cxnSp>
        <p:nvCxnSpPr>
          <p:cNvPr id="125" name="Прямая соединительная линия 124">
            <a:extLst>
              <a:ext uri="{FF2B5EF4-FFF2-40B4-BE49-F238E27FC236}">
                <a16:creationId xmlns:a16="http://schemas.microsoft.com/office/drawing/2014/main" id="{7CE9EFB9-6CE5-694C-9DE9-4DE58E5F874E}"/>
              </a:ext>
            </a:extLst>
          </p:cNvPr>
          <p:cNvCxnSpPr>
            <a:cxnSpLocks/>
          </p:cNvCxnSpPr>
          <p:nvPr/>
        </p:nvCxnSpPr>
        <p:spPr>
          <a:xfrm>
            <a:off x="5428987" y="3947905"/>
            <a:ext cx="0" cy="217550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id="{B997FA16-C670-ED4D-896D-AEFB1FAE2EEB}"/>
              </a:ext>
            </a:extLst>
          </p:cNvPr>
          <p:cNvSpPr/>
          <p:nvPr/>
        </p:nvSpPr>
        <p:spPr>
          <a:xfrm>
            <a:off x="5428987" y="3942595"/>
            <a:ext cx="1666769" cy="247876"/>
          </a:xfrm>
          <a:prstGeom prst="rect">
            <a:avLst/>
          </a:prstGeom>
          <a:solidFill>
            <a:srgbClr val="002060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20 мин</a:t>
            </a:r>
          </a:p>
        </p:txBody>
      </p: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id="{4B6DF018-3A3A-8A42-B433-F9A48917298C}"/>
              </a:ext>
            </a:extLst>
          </p:cNvPr>
          <p:cNvSpPr/>
          <p:nvPr/>
        </p:nvSpPr>
        <p:spPr>
          <a:xfrm>
            <a:off x="6590374" y="4389126"/>
            <a:ext cx="509517" cy="247876"/>
          </a:xfrm>
          <a:prstGeom prst="rect">
            <a:avLst/>
          </a:prstGeom>
          <a:solidFill>
            <a:srgbClr val="D9272E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</a:rPr>
              <a:t>-7</a:t>
            </a: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338F5C43-A974-C743-A1ED-156221A8FA72}"/>
              </a:ext>
            </a:extLst>
          </p:cNvPr>
          <p:cNvSpPr/>
          <p:nvPr/>
        </p:nvSpPr>
        <p:spPr>
          <a:xfrm>
            <a:off x="6340780" y="4906592"/>
            <a:ext cx="382117" cy="247876"/>
          </a:xfrm>
          <a:prstGeom prst="rect">
            <a:avLst/>
          </a:prstGeom>
          <a:solidFill>
            <a:srgbClr val="D9272E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</a:rPr>
              <a:t>- 1 </a:t>
            </a: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C9DAFEB7-FC74-204A-8599-9FA9D9A5BC6F}"/>
              </a:ext>
            </a:extLst>
          </p:cNvPr>
          <p:cNvSpPr/>
          <p:nvPr/>
        </p:nvSpPr>
        <p:spPr>
          <a:xfrm>
            <a:off x="6110733" y="5399648"/>
            <a:ext cx="452497" cy="247876"/>
          </a:xfrm>
          <a:prstGeom prst="rect">
            <a:avLst/>
          </a:prstGeom>
          <a:solidFill>
            <a:srgbClr val="D9272E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</a:rPr>
              <a:t>- 2</a:t>
            </a: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71D50E95-9A63-354E-B8A1-D9FA267D396E}"/>
              </a:ext>
            </a:extLst>
          </p:cNvPr>
          <p:cNvSpPr/>
          <p:nvPr/>
        </p:nvSpPr>
        <p:spPr>
          <a:xfrm>
            <a:off x="5429180" y="5875535"/>
            <a:ext cx="833518" cy="247876"/>
          </a:xfrm>
          <a:prstGeom prst="rect">
            <a:avLst/>
          </a:prstGeom>
          <a:solidFill>
            <a:srgbClr val="D9272E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10 мин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85D857C5-E15E-8E47-AD67-195FE2A4FB22}"/>
              </a:ext>
            </a:extLst>
          </p:cNvPr>
          <p:cNvSpPr txBox="1"/>
          <p:nvPr/>
        </p:nvSpPr>
        <p:spPr>
          <a:xfrm>
            <a:off x="3961335" y="1614078"/>
            <a:ext cx="13912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rgbClr val="C00000"/>
                </a:solidFill>
              </a:rPr>
              <a:t>Интервал 5 мин</a:t>
            </a:r>
          </a:p>
        </p:txBody>
      </p:sp>
      <p:cxnSp>
        <p:nvCxnSpPr>
          <p:cNvPr id="136" name="Прямая соединительная линия 135">
            <a:extLst>
              <a:ext uri="{FF2B5EF4-FFF2-40B4-BE49-F238E27FC236}">
                <a16:creationId xmlns:a16="http://schemas.microsoft.com/office/drawing/2014/main" id="{8D543866-1B57-9049-9145-CFE7FDDE7512}"/>
              </a:ext>
            </a:extLst>
          </p:cNvPr>
          <p:cNvCxnSpPr>
            <a:cxnSpLocks/>
          </p:cNvCxnSpPr>
          <p:nvPr/>
        </p:nvCxnSpPr>
        <p:spPr>
          <a:xfrm>
            <a:off x="6722897" y="4636989"/>
            <a:ext cx="0" cy="44918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единительная линия 136">
            <a:extLst>
              <a:ext uri="{FF2B5EF4-FFF2-40B4-BE49-F238E27FC236}">
                <a16:creationId xmlns:a16="http://schemas.microsoft.com/office/drawing/2014/main" id="{1F9D3511-B361-954B-86FF-7E96BF5847DD}"/>
              </a:ext>
            </a:extLst>
          </p:cNvPr>
          <p:cNvCxnSpPr>
            <a:cxnSpLocks/>
          </p:cNvCxnSpPr>
          <p:nvPr/>
        </p:nvCxnSpPr>
        <p:spPr>
          <a:xfrm>
            <a:off x="6557595" y="5166271"/>
            <a:ext cx="0" cy="44918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137">
            <a:extLst>
              <a:ext uri="{FF2B5EF4-FFF2-40B4-BE49-F238E27FC236}">
                <a16:creationId xmlns:a16="http://schemas.microsoft.com/office/drawing/2014/main" id="{98970C95-0A98-4F4E-B873-B3D6F28FCA92}"/>
              </a:ext>
            </a:extLst>
          </p:cNvPr>
          <p:cNvCxnSpPr>
            <a:cxnSpLocks/>
          </p:cNvCxnSpPr>
          <p:nvPr/>
        </p:nvCxnSpPr>
        <p:spPr>
          <a:xfrm>
            <a:off x="6273933" y="5647524"/>
            <a:ext cx="0" cy="47588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DAA86FDF-80E5-A34F-B15F-E4D339AD3DB2}"/>
              </a:ext>
            </a:extLst>
          </p:cNvPr>
          <p:cNvSpPr txBox="1"/>
          <p:nvPr/>
        </p:nvSpPr>
        <p:spPr>
          <a:xfrm>
            <a:off x="247918" y="6168113"/>
            <a:ext cx="3173157" cy="276999"/>
          </a:xfrm>
          <a:prstGeom prst="parallelogram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7938">
              <a:defRPr sz="1200" b="1" i="1">
                <a:solidFill>
                  <a:schemeClr val="lt1"/>
                </a:solidFill>
                <a:latin typeface="+mj-l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Средний интервал по 4 путям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52EAC07D-3D0B-DB4A-B5F1-747A952EE2B6}"/>
              </a:ext>
            </a:extLst>
          </p:cNvPr>
          <p:cNvSpPr/>
          <p:nvPr/>
        </p:nvSpPr>
        <p:spPr>
          <a:xfrm>
            <a:off x="4223962" y="6184971"/>
            <a:ext cx="89479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</a:rPr>
              <a:t>5-6 мин </a:t>
            </a: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id="{91D97382-C5D1-8344-919C-6E9AE8A8255B}"/>
              </a:ext>
            </a:extLst>
          </p:cNvPr>
          <p:cNvSpPr/>
          <p:nvPr/>
        </p:nvSpPr>
        <p:spPr>
          <a:xfrm>
            <a:off x="5467933" y="6193573"/>
            <a:ext cx="89479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</a:rPr>
              <a:t>3-4 мин </a:t>
            </a:r>
          </a:p>
        </p:txBody>
      </p:sp>
    </p:spTree>
    <p:extLst>
      <p:ext uri="{BB962C8B-B14F-4D97-AF65-F5344CB8AC3E}">
        <p14:creationId xmlns:p14="http://schemas.microsoft.com/office/powerpoint/2010/main" val="9472830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Скругленный прямоугольник 33">
            <a:extLst>
              <a:ext uri="{FF2B5EF4-FFF2-40B4-BE49-F238E27FC236}">
                <a16:creationId xmlns:a16="http://schemas.microsoft.com/office/drawing/2014/main" id="{F8E72B85-5B32-4858-8039-26EC79870DE0}"/>
              </a:ext>
            </a:extLst>
          </p:cNvPr>
          <p:cNvSpPr/>
          <p:nvPr/>
        </p:nvSpPr>
        <p:spPr>
          <a:xfrm>
            <a:off x="189970" y="821385"/>
            <a:ext cx="9466993" cy="2580020"/>
          </a:xfrm>
          <a:prstGeom prst="roundRect">
            <a:avLst>
              <a:gd name="adj" fmla="val 198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endParaRPr lang="ru-RU" sz="1200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971" y="102661"/>
            <a:ext cx="8543925" cy="659632"/>
          </a:xfrm>
        </p:spPr>
        <p:txBody>
          <a:bodyPr>
            <a:noAutofit/>
          </a:bodyPr>
          <a:lstStyle/>
          <a:p>
            <a:r>
              <a:rPr lang="ru-RU" sz="2000" dirty="0"/>
              <a:t>Даже с учётом реконструкции, станция Москва-Пассажирская не может принять заданное количество поездов без значительных задержек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Calibri"/>
              </a:rPr>
              <a:pPr/>
              <a:t>16</a:t>
            </a:fld>
            <a:endParaRPr lang="ru-RU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A5D55FA-4263-4A01-A502-488FC07C51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266" b="12249"/>
          <a:stretch/>
        </p:blipFill>
        <p:spPr>
          <a:xfrm>
            <a:off x="278883" y="873143"/>
            <a:ext cx="9310347" cy="2423854"/>
          </a:xfrm>
          <a:prstGeom prst="rect">
            <a:avLst/>
          </a:prstGeom>
          <a:ln w="12700">
            <a:noFill/>
          </a:ln>
        </p:spPr>
      </p:pic>
      <p:graphicFrame>
        <p:nvGraphicFramePr>
          <p:cNvPr id="6" name="Диаграмма 5"/>
          <p:cNvGraphicFramePr/>
          <p:nvPr/>
        </p:nvGraphicFramePr>
        <p:xfrm>
          <a:off x="402672" y="4024083"/>
          <a:ext cx="5958317" cy="21806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4534177" y="4517047"/>
            <a:ext cx="598714" cy="307777"/>
            <a:chOff x="7137400" y="5391090"/>
            <a:chExt cx="838200" cy="508237"/>
          </a:xfrm>
        </p:grpSpPr>
        <p:sp>
          <p:nvSpPr>
            <p:cNvPr id="8" name="Овал 7"/>
            <p:cNvSpPr/>
            <p:nvPr/>
          </p:nvSpPr>
          <p:spPr>
            <a:xfrm>
              <a:off x="7137400" y="5413954"/>
              <a:ext cx="838200" cy="4318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86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7308924" y="5391090"/>
              <a:ext cx="514371" cy="5082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b="1" dirty="0">
                  <a:solidFill>
                    <a:schemeClr val="bg1"/>
                  </a:solidFill>
                </a:rPr>
                <a:t>82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5687882" y="5430091"/>
            <a:ext cx="598714" cy="307777"/>
            <a:chOff x="7137400" y="5384800"/>
            <a:chExt cx="838200" cy="445637"/>
          </a:xfrm>
        </p:grpSpPr>
        <p:sp>
          <p:nvSpPr>
            <p:cNvPr id="11" name="Овал 10"/>
            <p:cNvSpPr/>
            <p:nvPr/>
          </p:nvSpPr>
          <p:spPr>
            <a:xfrm>
              <a:off x="7137400" y="5384800"/>
              <a:ext cx="838200" cy="4318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86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230930" y="5384800"/>
              <a:ext cx="642292" cy="4456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b="1" dirty="0">
                  <a:solidFill>
                    <a:schemeClr val="bg1"/>
                  </a:solidFill>
                </a:rPr>
                <a:t>121</a:t>
              </a: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1879647" y="4464169"/>
            <a:ext cx="35137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38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879647" y="5398022"/>
            <a:ext cx="351378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6" dirty="0"/>
              <a:t>4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66572" y="4459596"/>
            <a:ext cx="35137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>
                <a:solidFill>
                  <a:schemeClr val="bg1"/>
                </a:solidFill>
              </a:rPr>
              <a:t>44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73581" y="5398022"/>
            <a:ext cx="35137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>
                <a:solidFill>
                  <a:schemeClr val="bg1"/>
                </a:solidFill>
              </a:rPr>
              <a:t>78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78883" y="3749305"/>
            <a:ext cx="6312104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86" dirty="0"/>
              <a:t>Результаты моделирования: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523930" y="4277219"/>
            <a:ext cx="61920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Всего: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704985" y="5184423"/>
            <a:ext cx="61920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Всего:</a:t>
            </a:r>
          </a:p>
        </p:txBody>
      </p:sp>
      <p:sp>
        <p:nvSpPr>
          <p:cNvPr id="22" name="Прямоугольник: скругленные углы 21">
            <a:extLst>
              <a:ext uri="{FF2B5EF4-FFF2-40B4-BE49-F238E27FC236}">
                <a16:creationId xmlns:a16="http://schemas.microsoft.com/office/drawing/2014/main" id="{FACDFD9C-90BC-48FE-B59F-928E315756B9}"/>
              </a:ext>
            </a:extLst>
          </p:cNvPr>
          <p:cNvSpPr/>
          <p:nvPr/>
        </p:nvSpPr>
        <p:spPr>
          <a:xfrm>
            <a:off x="189970" y="3644219"/>
            <a:ext cx="6401017" cy="2697858"/>
          </a:xfrm>
          <a:prstGeom prst="roundRect">
            <a:avLst>
              <a:gd name="adj" fmla="val 4367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3" name="Скругленный прямоугольник 33">
            <a:extLst>
              <a:ext uri="{FF2B5EF4-FFF2-40B4-BE49-F238E27FC236}">
                <a16:creationId xmlns:a16="http://schemas.microsoft.com/office/drawing/2014/main" id="{1F7BDFBF-5F80-4E1C-B945-0CB246189481}"/>
              </a:ext>
            </a:extLst>
          </p:cNvPr>
          <p:cNvSpPr/>
          <p:nvPr/>
        </p:nvSpPr>
        <p:spPr>
          <a:xfrm>
            <a:off x="6723751" y="3639111"/>
            <a:ext cx="2933213" cy="2702966"/>
          </a:xfrm>
          <a:prstGeom prst="roundRect">
            <a:avLst>
              <a:gd name="adj" fmla="val 4506"/>
            </a:avLst>
          </a:prstGeom>
          <a:solidFill>
            <a:srgbClr val="002060"/>
          </a:solidFill>
          <a:ln w="19050">
            <a:noFill/>
          </a:ln>
          <a:effectLst>
            <a:glow rad="88900">
              <a:schemeClr val="tx1">
                <a:alpha val="4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4111" indent="-204111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</a:rPr>
              <a:t>Из заложенных в модель 101 пары пригородных поездов и экспрессов, станция смогла пропустить лишь 78 пар.</a:t>
            </a:r>
          </a:p>
          <a:p>
            <a:pPr marL="204111" indent="-204111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</a:rPr>
              <a:t>При отправлении и прибытии пригородных поездов наблюдаются значительные задержки и неравномерность движения</a:t>
            </a:r>
          </a:p>
          <a:p>
            <a:pPr marL="204111" indent="-204111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</a:rPr>
              <a:t>Моделью установлено, что в пиковые периоды нагрузки станция работает на пределе пропускной способности, увеличение числа поездов приводят к сбоям в работе и задержкам в отправлении.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6A99E0E-DD7F-4D26-B016-3391B9BC07AD}"/>
              </a:ext>
            </a:extLst>
          </p:cNvPr>
          <p:cNvSpPr/>
          <p:nvPr/>
        </p:nvSpPr>
        <p:spPr>
          <a:xfrm>
            <a:off x="223968" y="4395831"/>
            <a:ext cx="1327995" cy="396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Существующий график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D1DC28F-D7C7-42CD-8634-34AC4A60BE6A}"/>
              </a:ext>
            </a:extLst>
          </p:cNvPr>
          <p:cNvSpPr/>
          <p:nvPr/>
        </p:nvSpPr>
        <p:spPr>
          <a:xfrm>
            <a:off x="223968" y="5353811"/>
            <a:ext cx="1327995" cy="396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По результатам модели</a:t>
            </a:r>
          </a:p>
        </p:txBody>
      </p:sp>
    </p:spTree>
    <p:extLst>
      <p:ext uri="{BB962C8B-B14F-4D97-AF65-F5344CB8AC3E}">
        <p14:creationId xmlns:p14="http://schemas.microsoft.com/office/powerpoint/2010/main" val="12061217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Скругленный прямоугольник 33">
            <a:extLst>
              <a:ext uri="{FF2B5EF4-FFF2-40B4-BE49-F238E27FC236}">
                <a16:creationId xmlns:a16="http://schemas.microsoft.com/office/drawing/2014/main" id="{999C665E-7C81-4342-8900-F168270BC41A}"/>
              </a:ext>
            </a:extLst>
          </p:cNvPr>
          <p:cNvSpPr/>
          <p:nvPr/>
        </p:nvSpPr>
        <p:spPr>
          <a:xfrm>
            <a:off x="0" y="1007880"/>
            <a:ext cx="9906000" cy="3867295"/>
          </a:xfrm>
          <a:prstGeom prst="roundRect">
            <a:avLst>
              <a:gd name="adj" fmla="val 198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endParaRPr lang="ru-RU" sz="1200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7000" y="119595"/>
            <a:ext cx="9529964" cy="659632"/>
          </a:xfrm>
        </p:spPr>
        <p:txBody>
          <a:bodyPr>
            <a:noAutofit/>
          </a:bodyPr>
          <a:lstStyle/>
          <a:p>
            <a:r>
              <a:rPr lang="ru-RU" sz="2000" dirty="0"/>
              <a:t>Локальные мероприятия не позволят значительно увеличить пропускную способность Ленинградского вокзала из-за особенностей технологии его работ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Calibri"/>
              </a:rPr>
              <a:pPr/>
              <a:t>17</a:t>
            </a:fld>
            <a:endParaRPr lang="ru-RU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8" name="Picture 2" descr="http://mtu.rut.digital/uploads/len-st/moskva-passazhirskaja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97" t="33644"/>
          <a:stretch/>
        </p:blipFill>
        <p:spPr bwMode="auto">
          <a:xfrm>
            <a:off x="301277" y="1295399"/>
            <a:ext cx="9181410" cy="3539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олилиния 18"/>
          <p:cNvSpPr/>
          <p:nvPr/>
        </p:nvSpPr>
        <p:spPr>
          <a:xfrm>
            <a:off x="4258491" y="3518263"/>
            <a:ext cx="2412275" cy="235131"/>
          </a:xfrm>
          <a:custGeom>
            <a:avLst/>
            <a:gdLst>
              <a:gd name="connsiteX0" fmla="*/ 0 w 2412275"/>
              <a:gd name="connsiteY0" fmla="*/ 235131 h 235131"/>
              <a:gd name="connsiteX1" fmla="*/ 2098766 w 2412275"/>
              <a:gd name="connsiteY1" fmla="*/ 235131 h 235131"/>
              <a:gd name="connsiteX2" fmla="*/ 2412275 w 2412275"/>
              <a:gd name="connsiteY2" fmla="*/ 0 h 235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12275" h="235131">
                <a:moveTo>
                  <a:pt x="0" y="235131"/>
                </a:moveTo>
                <a:lnTo>
                  <a:pt x="2098766" y="235131"/>
                </a:lnTo>
                <a:lnTo>
                  <a:pt x="2412275" y="0"/>
                </a:lnTo>
              </a:path>
            </a:pathLst>
          </a:cu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олилиния 20"/>
          <p:cNvSpPr/>
          <p:nvPr/>
        </p:nvSpPr>
        <p:spPr>
          <a:xfrm>
            <a:off x="3039533" y="2904067"/>
            <a:ext cx="5122334" cy="855133"/>
          </a:xfrm>
          <a:custGeom>
            <a:avLst/>
            <a:gdLst>
              <a:gd name="connsiteX0" fmla="*/ 0 w 5122334"/>
              <a:gd name="connsiteY0" fmla="*/ 855133 h 855133"/>
              <a:gd name="connsiteX1" fmla="*/ 1236134 w 5122334"/>
              <a:gd name="connsiteY1" fmla="*/ 855133 h 855133"/>
              <a:gd name="connsiteX2" fmla="*/ 1371600 w 5122334"/>
              <a:gd name="connsiteY2" fmla="*/ 736600 h 855133"/>
              <a:gd name="connsiteX3" fmla="*/ 2252134 w 5122334"/>
              <a:gd name="connsiteY3" fmla="*/ 728133 h 855133"/>
              <a:gd name="connsiteX4" fmla="*/ 2370667 w 5122334"/>
              <a:gd name="connsiteY4" fmla="*/ 618066 h 855133"/>
              <a:gd name="connsiteX5" fmla="*/ 3302000 w 5122334"/>
              <a:gd name="connsiteY5" fmla="*/ 618066 h 855133"/>
              <a:gd name="connsiteX6" fmla="*/ 3649134 w 5122334"/>
              <a:gd name="connsiteY6" fmla="*/ 372533 h 855133"/>
              <a:gd name="connsiteX7" fmla="*/ 3860800 w 5122334"/>
              <a:gd name="connsiteY7" fmla="*/ 381000 h 855133"/>
              <a:gd name="connsiteX8" fmla="*/ 4597400 w 5122334"/>
              <a:gd name="connsiteY8" fmla="*/ 0 h 855133"/>
              <a:gd name="connsiteX9" fmla="*/ 5122334 w 5122334"/>
              <a:gd name="connsiteY9" fmla="*/ 0 h 855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122334" h="855133">
                <a:moveTo>
                  <a:pt x="0" y="855133"/>
                </a:moveTo>
                <a:lnTo>
                  <a:pt x="1236134" y="855133"/>
                </a:lnTo>
                <a:lnTo>
                  <a:pt x="1371600" y="736600"/>
                </a:lnTo>
                <a:lnTo>
                  <a:pt x="2252134" y="728133"/>
                </a:lnTo>
                <a:lnTo>
                  <a:pt x="2370667" y="618066"/>
                </a:lnTo>
                <a:lnTo>
                  <a:pt x="3302000" y="618066"/>
                </a:lnTo>
                <a:lnTo>
                  <a:pt x="3649134" y="372533"/>
                </a:lnTo>
                <a:lnTo>
                  <a:pt x="3860800" y="381000"/>
                </a:lnTo>
                <a:lnTo>
                  <a:pt x="4597400" y="0"/>
                </a:lnTo>
                <a:lnTo>
                  <a:pt x="5122334" y="0"/>
                </a:lnTo>
              </a:path>
            </a:pathLst>
          </a:custGeom>
          <a:noFill/>
          <a:ln w="38100">
            <a:solidFill>
              <a:srgbClr val="00B050"/>
            </a:solidFill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олилиния 30"/>
          <p:cNvSpPr/>
          <p:nvPr/>
        </p:nvSpPr>
        <p:spPr>
          <a:xfrm>
            <a:off x="7459133" y="3005667"/>
            <a:ext cx="702734" cy="8466"/>
          </a:xfrm>
          <a:custGeom>
            <a:avLst/>
            <a:gdLst>
              <a:gd name="connsiteX0" fmla="*/ 0 w 702734"/>
              <a:gd name="connsiteY0" fmla="*/ 0 h 8466"/>
              <a:gd name="connsiteX1" fmla="*/ 702734 w 702734"/>
              <a:gd name="connsiteY1" fmla="*/ 8466 h 8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02734" h="8466">
                <a:moveTo>
                  <a:pt x="0" y="0"/>
                </a:moveTo>
                <a:lnTo>
                  <a:pt x="702734" y="8466"/>
                </a:lnTo>
              </a:path>
            </a:pathLst>
          </a:custGeom>
          <a:noFill/>
          <a:ln w="38100">
            <a:solidFill>
              <a:srgbClr val="00B050"/>
            </a:solidFill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олилиния 31"/>
          <p:cNvSpPr/>
          <p:nvPr/>
        </p:nvSpPr>
        <p:spPr>
          <a:xfrm>
            <a:off x="7145867" y="3166533"/>
            <a:ext cx="999066" cy="0"/>
          </a:xfrm>
          <a:custGeom>
            <a:avLst/>
            <a:gdLst>
              <a:gd name="connsiteX0" fmla="*/ 0 w 999066"/>
              <a:gd name="connsiteY0" fmla="*/ 0 h 0"/>
              <a:gd name="connsiteX1" fmla="*/ 999066 w 999066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99066">
                <a:moveTo>
                  <a:pt x="0" y="0"/>
                </a:moveTo>
                <a:lnTo>
                  <a:pt x="999066" y="0"/>
                </a:lnTo>
              </a:path>
            </a:pathLst>
          </a:custGeom>
          <a:noFill/>
          <a:ln w="38100">
            <a:solidFill>
              <a:srgbClr val="00B050"/>
            </a:solidFill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олилиния 32"/>
          <p:cNvSpPr/>
          <p:nvPr/>
        </p:nvSpPr>
        <p:spPr>
          <a:xfrm>
            <a:off x="6299200" y="3285067"/>
            <a:ext cx="1845733" cy="245533"/>
          </a:xfrm>
          <a:custGeom>
            <a:avLst/>
            <a:gdLst>
              <a:gd name="connsiteX0" fmla="*/ 0 w 1845733"/>
              <a:gd name="connsiteY0" fmla="*/ 245533 h 245533"/>
              <a:gd name="connsiteX1" fmla="*/ 355600 w 1845733"/>
              <a:gd name="connsiteY1" fmla="*/ 245533 h 245533"/>
              <a:gd name="connsiteX2" fmla="*/ 516467 w 1845733"/>
              <a:gd name="connsiteY2" fmla="*/ 118533 h 245533"/>
              <a:gd name="connsiteX3" fmla="*/ 880533 w 1845733"/>
              <a:gd name="connsiteY3" fmla="*/ 127000 h 245533"/>
              <a:gd name="connsiteX4" fmla="*/ 1032933 w 1845733"/>
              <a:gd name="connsiteY4" fmla="*/ 8466 h 245533"/>
              <a:gd name="connsiteX5" fmla="*/ 1845733 w 1845733"/>
              <a:gd name="connsiteY5" fmla="*/ 0 h 245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45733" h="245533">
                <a:moveTo>
                  <a:pt x="0" y="245533"/>
                </a:moveTo>
                <a:lnTo>
                  <a:pt x="355600" y="245533"/>
                </a:lnTo>
                <a:lnTo>
                  <a:pt x="516467" y="118533"/>
                </a:lnTo>
                <a:lnTo>
                  <a:pt x="880533" y="127000"/>
                </a:lnTo>
                <a:lnTo>
                  <a:pt x="1032933" y="8466"/>
                </a:lnTo>
                <a:lnTo>
                  <a:pt x="1845733" y="0"/>
                </a:lnTo>
              </a:path>
            </a:pathLst>
          </a:custGeom>
          <a:noFill/>
          <a:ln w="38100">
            <a:solidFill>
              <a:srgbClr val="00B050"/>
            </a:solidFill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олилиния 33"/>
          <p:cNvSpPr/>
          <p:nvPr/>
        </p:nvSpPr>
        <p:spPr>
          <a:xfrm>
            <a:off x="7162800" y="3412067"/>
            <a:ext cx="973667" cy="8466"/>
          </a:xfrm>
          <a:custGeom>
            <a:avLst/>
            <a:gdLst>
              <a:gd name="connsiteX0" fmla="*/ 0 w 973667"/>
              <a:gd name="connsiteY0" fmla="*/ 0 h 8466"/>
              <a:gd name="connsiteX1" fmla="*/ 973667 w 973667"/>
              <a:gd name="connsiteY1" fmla="*/ 8466 h 8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73667" h="8466">
                <a:moveTo>
                  <a:pt x="0" y="0"/>
                </a:moveTo>
                <a:lnTo>
                  <a:pt x="973667" y="8466"/>
                </a:lnTo>
              </a:path>
            </a:pathLst>
          </a:custGeom>
          <a:noFill/>
          <a:ln w="38100">
            <a:solidFill>
              <a:srgbClr val="00B050"/>
            </a:solidFill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олилиния 34"/>
          <p:cNvSpPr/>
          <p:nvPr/>
        </p:nvSpPr>
        <p:spPr>
          <a:xfrm>
            <a:off x="6654800" y="3522133"/>
            <a:ext cx="1490133" cy="0"/>
          </a:xfrm>
          <a:custGeom>
            <a:avLst/>
            <a:gdLst>
              <a:gd name="connsiteX0" fmla="*/ 0 w 1490133"/>
              <a:gd name="connsiteY0" fmla="*/ 0 h 0"/>
              <a:gd name="connsiteX1" fmla="*/ 1490133 w 149013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90133">
                <a:moveTo>
                  <a:pt x="0" y="0"/>
                </a:moveTo>
                <a:lnTo>
                  <a:pt x="1490133" y="0"/>
                </a:lnTo>
              </a:path>
            </a:pathLst>
          </a:custGeom>
          <a:noFill/>
          <a:ln w="38100">
            <a:solidFill>
              <a:srgbClr val="00B050"/>
            </a:solidFill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олилиния 35"/>
          <p:cNvSpPr/>
          <p:nvPr/>
        </p:nvSpPr>
        <p:spPr>
          <a:xfrm>
            <a:off x="4174067" y="3513667"/>
            <a:ext cx="3928533" cy="118533"/>
          </a:xfrm>
          <a:custGeom>
            <a:avLst/>
            <a:gdLst>
              <a:gd name="connsiteX0" fmla="*/ 3928533 w 3928533"/>
              <a:gd name="connsiteY0" fmla="*/ 118533 h 118533"/>
              <a:gd name="connsiteX1" fmla="*/ 1253066 w 3928533"/>
              <a:gd name="connsiteY1" fmla="*/ 118533 h 118533"/>
              <a:gd name="connsiteX2" fmla="*/ 1075266 w 3928533"/>
              <a:gd name="connsiteY2" fmla="*/ 16933 h 118533"/>
              <a:gd name="connsiteX3" fmla="*/ 0 w 3928533"/>
              <a:gd name="connsiteY3" fmla="*/ 0 h 118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28533" h="118533">
                <a:moveTo>
                  <a:pt x="3928533" y="118533"/>
                </a:moveTo>
                <a:lnTo>
                  <a:pt x="1253066" y="118533"/>
                </a:lnTo>
                <a:lnTo>
                  <a:pt x="1075266" y="16933"/>
                </a:lnTo>
                <a:lnTo>
                  <a:pt x="0" y="0"/>
                </a:lnTo>
              </a:path>
            </a:pathLst>
          </a:custGeom>
          <a:noFill/>
          <a:ln w="38100">
            <a:solidFill>
              <a:srgbClr val="FF0000"/>
            </a:solidFill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олилиния 36"/>
          <p:cNvSpPr/>
          <p:nvPr/>
        </p:nvSpPr>
        <p:spPr>
          <a:xfrm>
            <a:off x="6358467" y="3640667"/>
            <a:ext cx="1744133" cy="228600"/>
          </a:xfrm>
          <a:custGeom>
            <a:avLst/>
            <a:gdLst>
              <a:gd name="connsiteX0" fmla="*/ 1744133 w 1744133"/>
              <a:gd name="connsiteY0" fmla="*/ 228600 h 228600"/>
              <a:gd name="connsiteX1" fmla="*/ 414866 w 1744133"/>
              <a:gd name="connsiteY1" fmla="*/ 228600 h 228600"/>
              <a:gd name="connsiteX2" fmla="*/ 143933 w 1744133"/>
              <a:gd name="connsiteY2" fmla="*/ 118533 h 228600"/>
              <a:gd name="connsiteX3" fmla="*/ 0 w 1744133"/>
              <a:gd name="connsiteY3" fmla="*/ 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44133" h="228600">
                <a:moveTo>
                  <a:pt x="1744133" y="228600"/>
                </a:moveTo>
                <a:lnTo>
                  <a:pt x="414866" y="228600"/>
                </a:lnTo>
                <a:lnTo>
                  <a:pt x="143933" y="118533"/>
                </a:lnTo>
                <a:lnTo>
                  <a:pt x="0" y="0"/>
                </a:lnTo>
              </a:path>
            </a:pathLst>
          </a:cu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олилиния 37"/>
          <p:cNvSpPr/>
          <p:nvPr/>
        </p:nvSpPr>
        <p:spPr>
          <a:xfrm>
            <a:off x="5384800" y="3615267"/>
            <a:ext cx="2709333" cy="381000"/>
          </a:xfrm>
          <a:custGeom>
            <a:avLst/>
            <a:gdLst>
              <a:gd name="connsiteX0" fmla="*/ 2709333 w 2709333"/>
              <a:gd name="connsiteY0" fmla="*/ 372533 h 381000"/>
              <a:gd name="connsiteX1" fmla="*/ 1397000 w 2709333"/>
              <a:gd name="connsiteY1" fmla="*/ 381000 h 381000"/>
              <a:gd name="connsiteX2" fmla="*/ 1083733 w 2709333"/>
              <a:gd name="connsiteY2" fmla="*/ 254000 h 381000"/>
              <a:gd name="connsiteX3" fmla="*/ 364067 w 2709333"/>
              <a:gd name="connsiteY3" fmla="*/ 262466 h 381000"/>
              <a:gd name="connsiteX4" fmla="*/ 0 w 2709333"/>
              <a:gd name="connsiteY4" fmla="*/ 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09333" h="381000">
                <a:moveTo>
                  <a:pt x="2709333" y="372533"/>
                </a:moveTo>
                <a:lnTo>
                  <a:pt x="1397000" y="381000"/>
                </a:lnTo>
                <a:lnTo>
                  <a:pt x="1083733" y="254000"/>
                </a:lnTo>
                <a:lnTo>
                  <a:pt x="364067" y="262466"/>
                </a:lnTo>
                <a:lnTo>
                  <a:pt x="0" y="0"/>
                </a:lnTo>
              </a:path>
            </a:pathLst>
          </a:cu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олилиния 38"/>
          <p:cNvSpPr/>
          <p:nvPr/>
        </p:nvSpPr>
        <p:spPr>
          <a:xfrm>
            <a:off x="304800" y="2353733"/>
            <a:ext cx="3869267" cy="1210734"/>
          </a:xfrm>
          <a:custGeom>
            <a:avLst/>
            <a:gdLst>
              <a:gd name="connsiteX0" fmla="*/ 0 w 3869267"/>
              <a:gd name="connsiteY0" fmla="*/ 1210734 h 1210734"/>
              <a:gd name="connsiteX1" fmla="*/ 3869267 w 3869267"/>
              <a:gd name="connsiteY1" fmla="*/ 1210734 h 1210734"/>
              <a:gd name="connsiteX2" fmla="*/ 3860800 w 3869267"/>
              <a:gd name="connsiteY2" fmla="*/ 990600 h 1210734"/>
              <a:gd name="connsiteX3" fmla="*/ 2556933 w 3869267"/>
              <a:gd name="connsiteY3" fmla="*/ 0 h 1210734"/>
              <a:gd name="connsiteX4" fmla="*/ 1303867 w 3869267"/>
              <a:gd name="connsiteY4" fmla="*/ 8467 h 1210734"/>
              <a:gd name="connsiteX5" fmla="*/ 465667 w 3869267"/>
              <a:gd name="connsiteY5" fmla="*/ 609600 h 1210734"/>
              <a:gd name="connsiteX6" fmla="*/ 25400 w 3869267"/>
              <a:gd name="connsiteY6" fmla="*/ 609600 h 1210734"/>
              <a:gd name="connsiteX7" fmla="*/ 0 w 3869267"/>
              <a:gd name="connsiteY7" fmla="*/ 1210734 h 1210734"/>
              <a:gd name="connsiteX0" fmla="*/ 0 w 3869267"/>
              <a:gd name="connsiteY0" fmla="*/ 1210734 h 1210734"/>
              <a:gd name="connsiteX1" fmla="*/ 3869267 w 3869267"/>
              <a:gd name="connsiteY1" fmla="*/ 1210734 h 1210734"/>
              <a:gd name="connsiteX2" fmla="*/ 3860800 w 3869267"/>
              <a:gd name="connsiteY2" fmla="*/ 990600 h 1210734"/>
              <a:gd name="connsiteX3" fmla="*/ 2556933 w 3869267"/>
              <a:gd name="connsiteY3" fmla="*/ 0 h 1210734"/>
              <a:gd name="connsiteX4" fmla="*/ 1303867 w 3869267"/>
              <a:gd name="connsiteY4" fmla="*/ 8467 h 1210734"/>
              <a:gd name="connsiteX5" fmla="*/ 465667 w 3869267"/>
              <a:gd name="connsiteY5" fmla="*/ 609600 h 1210734"/>
              <a:gd name="connsiteX6" fmla="*/ 0 w 3869267"/>
              <a:gd name="connsiteY6" fmla="*/ 618066 h 1210734"/>
              <a:gd name="connsiteX7" fmla="*/ 0 w 3869267"/>
              <a:gd name="connsiteY7" fmla="*/ 1210734 h 1210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69267" h="1210734">
                <a:moveTo>
                  <a:pt x="0" y="1210734"/>
                </a:moveTo>
                <a:lnTo>
                  <a:pt x="3869267" y="1210734"/>
                </a:lnTo>
                <a:lnTo>
                  <a:pt x="3860800" y="990600"/>
                </a:lnTo>
                <a:lnTo>
                  <a:pt x="2556933" y="0"/>
                </a:lnTo>
                <a:lnTo>
                  <a:pt x="1303867" y="8467"/>
                </a:lnTo>
                <a:lnTo>
                  <a:pt x="465667" y="609600"/>
                </a:lnTo>
                <a:lnTo>
                  <a:pt x="0" y="618066"/>
                </a:lnTo>
                <a:lnTo>
                  <a:pt x="0" y="1210734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  <a:alpha val="3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Пассажирская </a:t>
            </a:r>
          </a:p>
          <a:p>
            <a:pPr algn="ctr"/>
            <a:r>
              <a:rPr lang="ru-RU" dirty="0">
                <a:solidFill>
                  <a:schemeClr val="tx1"/>
                </a:solidFill>
              </a:rPr>
              <a:t>техническая станция</a:t>
            </a:r>
          </a:p>
        </p:txBody>
      </p:sp>
      <p:sp>
        <p:nvSpPr>
          <p:cNvPr id="40" name="Правая фигурная скобка 39"/>
          <p:cNvSpPr/>
          <p:nvPr/>
        </p:nvSpPr>
        <p:spPr>
          <a:xfrm>
            <a:off x="9025698" y="2429933"/>
            <a:ext cx="101600" cy="990600"/>
          </a:xfrm>
          <a:prstGeom prst="rightBrac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авая фигурная скобка 40"/>
          <p:cNvSpPr/>
          <p:nvPr/>
        </p:nvSpPr>
        <p:spPr>
          <a:xfrm>
            <a:off x="9279698" y="3441701"/>
            <a:ext cx="118553" cy="647699"/>
          </a:xfrm>
          <a:prstGeom prst="rightBrac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/>
          <p:cNvSpPr txBox="1"/>
          <p:nvPr/>
        </p:nvSpPr>
        <p:spPr>
          <a:xfrm>
            <a:off x="9150526" y="2700488"/>
            <a:ext cx="962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/>
              <a:t>Пути пригородного парка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316414" y="1246555"/>
            <a:ext cx="310700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Схема станции Москва-Пассажирская </a:t>
            </a:r>
          </a:p>
          <a:p>
            <a:pPr algn="ctr"/>
            <a:r>
              <a:rPr lang="ru-RU" sz="1400" dirty="0"/>
              <a:t>(Ленинградский вокзал)</a:t>
            </a:r>
          </a:p>
        </p:txBody>
      </p:sp>
      <p:sp>
        <p:nvSpPr>
          <p:cNvPr id="44" name="Полилиния 43"/>
          <p:cNvSpPr/>
          <p:nvPr/>
        </p:nvSpPr>
        <p:spPr>
          <a:xfrm>
            <a:off x="4789714" y="3396343"/>
            <a:ext cx="3300549" cy="365760"/>
          </a:xfrm>
          <a:custGeom>
            <a:avLst/>
            <a:gdLst>
              <a:gd name="connsiteX0" fmla="*/ 3300549 w 3300549"/>
              <a:gd name="connsiteY0" fmla="*/ 365760 h 365760"/>
              <a:gd name="connsiteX1" fmla="*/ 2046515 w 3300549"/>
              <a:gd name="connsiteY1" fmla="*/ 348343 h 365760"/>
              <a:gd name="connsiteX2" fmla="*/ 1558835 w 3300549"/>
              <a:gd name="connsiteY2" fmla="*/ 0 h 365760"/>
              <a:gd name="connsiteX3" fmla="*/ 130629 w 3300549"/>
              <a:gd name="connsiteY3" fmla="*/ 8708 h 365760"/>
              <a:gd name="connsiteX4" fmla="*/ 0 w 3300549"/>
              <a:gd name="connsiteY4" fmla="*/ 121920 h 36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00549" h="365760">
                <a:moveTo>
                  <a:pt x="3300549" y="365760"/>
                </a:moveTo>
                <a:lnTo>
                  <a:pt x="2046515" y="348343"/>
                </a:lnTo>
                <a:lnTo>
                  <a:pt x="1558835" y="0"/>
                </a:lnTo>
                <a:lnTo>
                  <a:pt x="130629" y="8708"/>
                </a:lnTo>
                <a:lnTo>
                  <a:pt x="0" y="121920"/>
                </a:lnTo>
              </a:path>
            </a:pathLst>
          </a:cu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олилиния 44"/>
          <p:cNvSpPr/>
          <p:nvPr/>
        </p:nvSpPr>
        <p:spPr>
          <a:xfrm>
            <a:off x="6261463" y="4431196"/>
            <a:ext cx="357051" cy="0"/>
          </a:xfrm>
          <a:custGeom>
            <a:avLst/>
            <a:gdLst>
              <a:gd name="connsiteX0" fmla="*/ 0 w 357051"/>
              <a:gd name="connsiteY0" fmla="*/ 0 h 0"/>
              <a:gd name="connsiteX1" fmla="*/ 357051 w 35705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57051">
                <a:moveTo>
                  <a:pt x="0" y="0"/>
                </a:moveTo>
                <a:lnTo>
                  <a:pt x="357051" y="0"/>
                </a:lnTo>
              </a:path>
            </a:pathLst>
          </a:cu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олилиния 45"/>
          <p:cNvSpPr/>
          <p:nvPr/>
        </p:nvSpPr>
        <p:spPr>
          <a:xfrm>
            <a:off x="6261462" y="4654958"/>
            <a:ext cx="357051" cy="0"/>
          </a:xfrm>
          <a:custGeom>
            <a:avLst/>
            <a:gdLst>
              <a:gd name="connsiteX0" fmla="*/ 0 w 357051"/>
              <a:gd name="connsiteY0" fmla="*/ 0 h 0"/>
              <a:gd name="connsiteX1" fmla="*/ 357051 w 35705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57051">
                <a:moveTo>
                  <a:pt x="0" y="0"/>
                </a:moveTo>
                <a:lnTo>
                  <a:pt x="357051" y="0"/>
                </a:lnTo>
              </a:path>
            </a:pathLst>
          </a:cu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/>
          <p:cNvSpPr txBox="1"/>
          <p:nvPr/>
        </p:nvSpPr>
        <p:spPr>
          <a:xfrm>
            <a:off x="6598606" y="4292002"/>
            <a:ext cx="25843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/>
              <a:t>Маршруты прибытия пригородных поездов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600040" y="4454651"/>
            <a:ext cx="32544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/>
              <a:t>Маршруты пассажирских поездов дальнего следования</a:t>
            </a:r>
          </a:p>
          <a:p>
            <a:r>
              <a:rPr lang="ru-RU" sz="1000" dirty="0"/>
              <a:t>на станцию экипировки</a:t>
            </a:r>
          </a:p>
        </p:txBody>
      </p:sp>
      <p:pic>
        <p:nvPicPr>
          <p:cNvPr id="49" name="Picture 8" descr="https://im0-tub-ru.yandex.net/i?id=12550b733a901c75eb1413f71541a9db&amp;n=1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8668" y="2871045"/>
            <a:ext cx="482456" cy="42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Скругленный прямоугольник 49"/>
          <p:cNvSpPr/>
          <p:nvPr/>
        </p:nvSpPr>
        <p:spPr>
          <a:xfrm>
            <a:off x="431852" y="3584060"/>
            <a:ext cx="1210734" cy="218071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III – IV </a:t>
            </a:r>
            <a:r>
              <a:rPr lang="ru-RU" sz="1200" dirty="0"/>
              <a:t>гл. пути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9398251" y="3574145"/>
            <a:ext cx="962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/>
              <a:t>Пути </a:t>
            </a:r>
          </a:p>
          <a:p>
            <a:r>
              <a:rPr lang="ru-RU" sz="800" dirty="0"/>
              <a:t>для пасс.</a:t>
            </a:r>
          </a:p>
          <a:p>
            <a:r>
              <a:rPr lang="ru-RU" sz="800" dirty="0"/>
              <a:t>поездов</a:t>
            </a:r>
          </a:p>
        </p:txBody>
      </p:sp>
      <p:sp>
        <p:nvSpPr>
          <p:cNvPr id="29" name="Скругленный прямоугольник 33">
            <a:extLst>
              <a:ext uri="{FF2B5EF4-FFF2-40B4-BE49-F238E27FC236}">
                <a16:creationId xmlns:a16="http://schemas.microsoft.com/office/drawing/2014/main" id="{950E763C-D60E-4451-AA35-EFB599645D6E}"/>
              </a:ext>
            </a:extLst>
          </p:cNvPr>
          <p:cNvSpPr/>
          <p:nvPr/>
        </p:nvSpPr>
        <p:spPr>
          <a:xfrm>
            <a:off x="132807" y="5083414"/>
            <a:ext cx="9524157" cy="1107748"/>
          </a:xfrm>
          <a:prstGeom prst="roundRect">
            <a:avLst>
              <a:gd name="adj" fmla="val 4506"/>
            </a:avLst>
          </a:prstGeom>
          <a:solidFill>
            <a:srgbClr val="002060"/>
          </a:solidFill>
          <a:ln w="19050">
            <a:noFill/>
          </a:ln>
          <a:effectLst>
            <a:glow rad="88900">
              <a:schemeClr val="tx1">
                <a:alpha val="4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</a:rPr>
              <a:t>Особенностью станции Москва-Пассажирская (Ленинградский вокзал) является пересечение маршрутов в горловине станции для прибытия-отправления пригородных поездов (с </a:t>
            </a:r>
            <a:r>
              <a:rPr lang="en-US" sz="1200" dirty="0">
                <a:solidFill>
                  <a:schemeClr val="bg1"/>
                </a:solidFill>
              </a:rPr>
              <a:t>III </a:t>
            </a:r>
            <a:r>
              <a:rPr lang="ru-RU" sz="1200" dirty="0">
                <a:solidFill>
                  <a:schemeClr val="bg1"/>
                </a:solidFill>
              </a:rPr>
              <a:t>-</a:t>
            </a:r>
            <a:r>
              <a:rPr lang="en-US" sz="1200" dirty="0">
                <a:solidFill>
                  <a:schemeClr val="bg1"/>
                </a:solidFill>
              </a:rPr>
              <a:t> IV </a:t>
            </a:r>
            <a:r>
              <a:rPr lang="ru-RU" sz="1200" dirty="0">
                <a:solidFill>
                  <a:schemeClr val="bg1"/>
                </a:solidFill>
              </a:rPr>
              <a:t>гл. пути) и технических рейсов составов поездов дальнего следования, следующих на/с экипировку и в парк отсто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</a:rPr>
              <a:t>Это создаёт значительные ограничения по приёму-отправке пригородных поездов на </a:t>
            </a:r>
            <a:r>
              <a:rPr lang="en-US" sz="1200" dirty="0">
                <a:solidFill>
                  <a:schemeClr val="bg1"/>
                </a:solidFill>
              </a:rPr>
              <a:t>III – IV </a:t>
            </a:r>
            <a:r>
              <a:rPr lang="ru-RU" sz="1200" dirty="0">
                <a:solidFill>
                  <a:schemeClr val="bg1"/>
                </a:solidFill>
              </a:rPr>
              <a:t>гл. пути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</a:rPr>
              <a:t>Данное ограничение невозможно решить локальными мероприятиями </a:t>
            </a:r>
          </a:p>
        </p:txBody>
      </p:sp>
    </p:spTree>
    <p:extLst>
      <p:ext uri="{BB962C8B-B14F-4D97-AF65-F5344CB8AC3E}">
        <p14:creationId xmlns:p14="http://schemas.microsoft.com/office/powerpoint/2010/main" val="19684409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Calibri"/>
              </a:rPr>
              <a:pPr/>
              <a:t>18</a:t>
            </a:fld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Скругленный прямоугольник 33">
            <a:extLst>
              <a:ext uri="{FF2B5EF4-FFF2-40B4-BE49-F238E27FC236}">
                <a16:creationId xmlns:a16="http://schemas.microsoft.com/office/drawing/2014/main" id="{CF4FD3C4-8ACC-4B4B-9C6B-E3D1686F9920}"/>
              </a:ext>
            </a:extLst>
          </p:cNvPr>
          <p:cNvSpPr/>
          <p:nvPr/>
        </p:nvSpPr>
        <p:spPr>
          <a:xfrm>
            <a:off x="249036" y="700481"/>
            <a:ext cx="9407928" cy="5457038"/>
          </a:xfrm>
          <a:prstGeom prst="roundRect">
            <a:avLst>
              <a:gd name="adj" fmla="val 198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endParaRPr lang="ru-RU" sz="1200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0AD32F7C-E855-4C2B-B7BC-26210AA284A2}"/>
              </a:ext>
            </a:extLst>
          </p:cNvPr>
          <p:cNvSpPr txBox="1">
            <a:spLocks/>
          </p:cNvSpPr>
          <p:nvPr/>
        </p:nvSpPr>
        <p:spPr>
          <a:xfrm>
            <a:off x="422231" y="74843"/>
            <a:ext cx="8673371" cy="659632"/>
          </a:xfrm>
          <a:prstGeom prst="rect">
            <a:avLst/>
          </a:prstGeom>
        </p:spPr>
        <p:txBody>
          <a:bodyPr vert="horz" lIns="122191" tIns="61096" rIns="122191" bIns="61096" rtlCol="0" anchor="ctr">
            <a:noAutofit/>
          </a:bodyPr>
          <a:lstStyle>
            <a:lvl1pPr algn="l" defTabSz="8728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71" kern="1200">
                <a:solidFill>
                  <a:srgbClr val="BF2D2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/>
              <a:t>Имитационная модель работы станции Москва-Пассажирская</a:t>
            </a:r>
            <a:endParaRPr lang="ru-RU" sz="2286" dirty="0"/>
          </a:p>
        </p:txBody>
      </p:sp>
      <p:pic>
        <p:nvPicPr>
          <p:cNvPr id="6" name="mDFre8QPU3I"/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460962" y="902229"/>
            <a:ext cx="8984075" cy="5053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45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" name="Рисунок 88">
            <a:extLst>
              <a:ext uri="{FF2B5EF4-FFF2-40B4-BE49-F238E27FC236}">
                <a16:creationId xmlns:a16="http://schemas.microsoft.com/office/drawing/2014/main" id="{DFC4AEB3-CFEC-6640-9CA9-DCDB511C450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48" r="14682"/>
          <a:stretch/>
        </p:blipFill>
        <p:spPr>
          <a:xfrm>
            <a:off x="381000" y="807357"/>
            <a:ext cx="9133142" cy="3608655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4B3A6CC-62F4-2147-ABC4-094B95F83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+mj-lt"/>
              </a:rPr>
              <a:pPr/>
              <a:t>19</a:t>
            </a:fld>
            <a:endParaRPr lang="ru-RU">
              <a:solidFill>
                <a:prstClr val="white"/>
              </a:solidFill>
              <a:latin typeface="+mj-lt"/>
            </a:endParaRPr>
          </a:p>
        </p:txBody>
      </p:sp>
      <p:sp>
        <p:nvSpPr>
          <p:cNvPr id="45" name="Заголовок 1">
            <a:extLst>
              <a:ext uri="{FF2B5EF4-FFF2-40B4-BE49-F238E27FC236}">
                <a16:creationId xmlns:a16="http://schemas.microsoft.com/office/drawing/2014/main" id="{28A8A316-E7D3-5140-B25A-B736BFCDFF6F}"/>
              </a:ext>
            </a:extLst>
          </p:cNvPr>
          <p:cNvSpPr txBox="1">
            <a:spLocks/>
          </p:cNvSpPr>
          <p:nvPr/>
        </p:nvSpPr>
        <p:spPr>
          <a:xfrm>
            <a:off x="380999" y="106354"/>
            <a:ext cx="9058275" cy="646574"/>
          </a:xfrm>
          <a:prstGeom prst="rect">
            <a:avLst/>
          </a:prstGeom>
        </p:spPr>
        <p:txBody>
          <a:bodyPr vert="horz" lIns="122191" tIns="61096" rIns="122191" bIns="61096" rtlCol="0" anchor="ctr">
            <a:noAutofit/>
          </a:bodyPr>
          <a:lstStyle>
            <a:lvl1pPr algn="l" defTabSz="8728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71" kern="1200">
                <a:solidFill>
                  <a:srgbClr val="BF2D2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286" dirty="0"/>
              <a:t>Для перевода всех дальних пригородных поездов на </a:t>
            </a:r>
            <a:r>
              <a:rPr lang="en-US" sz="2286" dirty="0"/>
              <a:t>III – IV </a:t>
            </a:r>
            <a:r>
              <a:rPr lang="ru-RU" sz="2286" dirty="0"/>
              <a:t>гл. пути требуется укладка 4-х съездов в горловине Казанского вокзала</a:t>
            </a:r>
          </a:p>
        </p:txBody>
      </p:sp>
      <p:cxnSp>
        <p:nvCxnSpPr>
          <p:cNvPr id="83" name="Прямая соединительная линия 82">
            <a:extLst>
              <a:ext uri="{FF2B5EF4-FFF2-40B4-BE49-F238E27FC236}">
                <a16:creationId xmlns:a16="http://schemas.microsoft.com/office/drawing/2014/main" id="{7F842520-D404-D446-B094-C9396F7F8AA6}"/>
              </a:ext>
            </a:extLst>
          </p:cNvPr>
          <p:cNvCxnSpPr/>
          <p:nvPr/>
        </p:nvCxnSpPr>
        <p:spPr>
          <a:xfrm flipH="1">
            <a:off x="5390202" y="2379954"/>
            <a:ext cx="62204" cy="6220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>
            <a:extLst>
              <a:ext uri="{FF2B5EF4-FFF2-40B4-BE49-F238E27FC236}">
                <a16:creationId xmlns:a16="http://schemas.microsoft.com/office/drawing/2014/main" id="{010B7B60-30EF-694A-B849-EE87A6D2E61E}"/>
              </a:ext>
            </a:extLst>
          </p:cNvPr>
          <p:cNvCxnSpPr/>
          <p:nvPr/>
        </p:nvCxnSpPr>
        <p:spPr>
          <a:xfrm flipH="1">
            <a:off x="5239635" y="2442159"/>
            <a:ext cx="62204" cy="6220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>
            <a:extLst>
              <a:ext uri="{FF2B5EF4-FFF2-40B4-BE49-F238E27FC236}">
                <a16:creationId xmlns:a16="http://schemas.microsoft.com/office/drawing/2014/main" id="{E1CD3994-7AF2-A440-88DD-227EDFCD225D}"/>
              </a:ext>
            </a:extLst>
          </p:cNvPr>
          <p:cNvCxnSpPr/>
          <p:nvPr/>
        </p:nvCxnSpPr>
        <p:spPr>
          <a:xfrm flipH="1">
            <a:off x="4957366" y="2317750"/>
            <a:ext cx="62204" cy="6220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61D513BE-CFA5-9343-A251-90538B257D3D}"/>
              </a:ext>
            </a:extLst>
          </p:cNvPr>
          <p:cNvCxnSpPr/>
          <p:nvPr/>
        </p:nvCxnSpPr>
        <p:spPr>
          <a:xfrm flipH="1">
            <a:off x="4814574" y="2379954"/>
            <a:ext cx="62204" cy="6220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AutoShape 14">
            <a:extLst>
              <a:ext uri="{FF2B5EF4-FFF2-40B4-BE49-F238E27FC236}">
                <a16:creationId xmlns:a16="http://schemas.microsoft.com/office/drawing/2014/main" id="{EA717CC6-D1D1-114C-A0E8-773D1AEDE5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7131" y="3316822"/>
            <a:ext cx="1926559" cy="479866"/>
          </a:xfrm>
          <a:prstGeom prst="wedgeRectCallout">
            <a:avLst>
              <a:gd name="adj1" fmla="val -93555"/>
              <a:gd name="adj2" fmla="val -204291"/>
            </a:avLst>
          </a:prstGeom>
          <a:solidFill>
            <a:srgbClr val="C00000"/>
          </a:solidFill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  <p:txBody>
          <a:bodyPr lIns="67820" tIns="67820" rIns="67820" bIns="67820" anchor="ctr"/>
          <a:lstStyle/>
          <a:p>
            <a:pPr algn="ctr" defTabSz="843267">
              <a:buClr>
                <a:schemeClr val="tx2"/>
              </a:buClr>
            </a:pPr>
            <a:r>
              <a:rPr lang="ru-RU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4 новых съезда в горловине станции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14EC443-9FAC-414D-88A5-4F7C62E7733E}"/>
              </a:ext>
            </a:extLst>
          </p:cNvPr>
          <p:cNvSpPr txBox="1"/>
          <p:nvPr/>
        </p:nvSpPr>
        <p:spPr>
          <a:xfrm>
            <a:off x="545895" y="3532880"/>
            <a:ext cx="1478290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>
                <a:solidFill>
                  <a:srgbClr val="009244"/>
                </a:solidFill>
                <a:latin typeface="+mj-lt"/>
                <a:cs typeface="Arial" panose="020B0604020202020204" pitchFamily="34" charset="0"/>
              </a:rPr>
              <a:t>Пригородный парк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1934C41-A46C-1349-9D0A-F4A11ED95F72}"/>
              </a:ext>
            </a:extLst>
          </p:cNvPr>
          <p:cNvSpPr txBox="1"/>
          <p:nvPr/>
        </p:nvSpPr>
        <p:spPr>
          <a:xfrm>
            <a:off x="545895" y="1914258"/>
            <a:ext cx="840295" cy="290208"/>
          </a:xfrm>
          <a:prstGeom prst="rect">
            <a:avLst/>
          </a:prstGeom>
          <a:solidFill>
            <a:schemeClr val="bg1">
              <a:alpha val="66667"/>
            </a:schemeClr>
          </a:solidFill>
        </p:spPr>
        <p:txBody>
          <a:bodyPr wrap="none" rtlCol="0">
            <a:spAutoFit/>
          </a:bodyPr>
          <a:lstStyle/>
          <a:p>
            <a:r>
              <a:rPr lang="ru-RU" sz="1286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Парк ПДС</a:t>
            </a:r>
          </a:p>
        </p:txBody>
      </p:sp>
      <p:sp>
        <p:nvSpPr>
          <p:cNvPr id="2" name="Овал 1"/>
          <p:cNvSpPr/>
          <p:nvPr/>
        </p:nvSpPr>
        <p:spPr>
          <a:xfrm>
            <a:off x="4708071" y="2187138"/>
            <a:ext cx="889000" cy="437896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86">
              <a:latin typeface="+mj-lt"/>
            </a:endParaRPr>
          </a:p>
        </p:txBody>
      </p:sp>
      <p:graphicFrame>
        <p:nvGraphicFramePr>
          <p:cNvPr id="21" name="Диаграмма 20"/>
          <p:cNvGraphicFramePr/>
          <p:nvPr/>
        </p:nvGraphicFramePr>
        <p:xfrm>
          <a:off x="637952" y="4244147"/>
          <a:ext cx="5839047" cy="21806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2" name="Группа 21"/>
          <p:cNvGrpSpPr/>
          <p:nvPr/>
        </p:nvGrpSpPr>
        <p:grpSpPr>
          <a:xfrm>
            <a:off x="4037480" y="4759231"/>
            <a:ext cx="598714" cy="307777"/>
            <a:chOff x="7137400" y="5391090"/>
            <a:chExt cx="838200" cy="508237"/>
          </a:xfrm>
        </p:grpSpPr>
        <p:sp>
          <p:nvSpPr>
            <p:cNvPr id="23" name="Овал 22"/>
            <p:cNvSpPr/>
            <p:nvPr/>
          </p:nvSpPr>
          <p:spPr>
            <a:xfrm>
              <a:off x="7137400" y="5413954"/>
              <a:ext cx="838200" cy="4318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86">
                <a:latin typeface="+mj-lt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7308924" y="5391090"/>
              <a:ext cx="514371" cy="5082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b="1" dirty="0">
                  <a:solidFill>
                    <a:schemeClr val="bg1"/>
                  </a:solidFill>
                  <a:latin typeface="+mj-lt"/>
                </a:rPr>
                <a:t>89</a:t>
              </a: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5803892" y="5650155"/>
            <a:ext cx="598714" cy="307777"/>
            <a:chOff x="7137400" y="5384800"/>
            <a:chExt cx="838200" cy="445637"/>
          </a:xfrm>
        </p:grpSpPr>
        <p:sp>
          <p:nvSpPr>
            <p:cNvPr id="26" name="Овал 25"/>
            <p:cNvSpPr/>
            <p:nvPr/>
          </p:nvSpPr>
          <p:spPr>
            <a:xfrm>
              <a:off x="7137400" y="5384800"/>
              <a:ext cx="838200" cy="4318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86"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7230930" y="5384800"/>
              <a:ext cx="642292" cy="4456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b="1" dirty="0">
                  <a:solidFill>
                    <a:schemeClr val="bg1"/>
                  </a:solidFill>
                  <a:latin typeface="+mj-lt"/>
                </a:rPr>
                <a:t>168</a:t>
              </a: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2146659" y="4684233"/>
            <a:ext cx="35137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>
                <a:latin typeface="+mj-lt"/>
              </a:rPr>
              <a:t>49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146659" y="5618086"/>
            <a:ext cx="351378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6" dirty="0">
                <a:latin typeface="+mj-lt"/>
              </a:rPr>
              <a:t>49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177984" y="4695847"/>
            <a:ext cx="35137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>
                <a:solidFill>
                  <a:schemeClr val="bg1"/>
                </a:solidFill>
                <a:latin typeface="+mj-lt"/>
              </a:rPr>
              <a:t>40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240593" y="5618086"/>
            <a:ext cx="43473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>
                <a:solidFill>
                  <a:schemeClr val="bg1"/>
                </a:solidFill>
                <a:latin typeface="+mj-lt"/>
              </a:rPr>
              <a:t>118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316586" y="3969369"/>
            <a:ext cx="2163990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>
                <a:latin typeface="+mj-lt"/>
              </a:rPr>
              <a:t>Результаты моделирования: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027233" y="4519403"/>
            <a:ext cx="61920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>
                <a:latin typeface="+mj-lt"/>
              </a:rPr>
              <a:t>Всего: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820995" y="5404487"/>
            <a:ext cx="61920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>
                <a:latin typeface="+mj-lt"/>
              </a:rPr>
              <a:t>Всего:</a:t>
            </a: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BBBF9C48-07F7-4BB7-924F-76BFB9A02F53}"/>
              </a:ext>
            </a:extLst>
          </p:cNvPr>
          <p:cNvSpPr/>
          <p:nvPr/>
        </p:nvSpPr>
        <p:spPr>
          <a:xfrm>
            <a:off x="545895" y="3869393"/>
            <a:ext cx="6312105" cy="2555448"/>
          </a:xfrm>
          <a:prstGeom prst="roundRect">
            <a:avLst>
              <a:gd name="adj" fmla="val 4367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33" name="Скругленный прямоугольник 33">
            <a:extLst>
              <a:ext uri="{FF2B5EF4-FFF2-40B4-BE49-F238E27FC236}">
                <a16:creationId xmlns:a16="http://schemas.microsoft.com/office/drawing/2014/main" id="{11058C9D-7290-44E0-B9F4-C6A61C2A1B63}"/>
              </a:ext>
            </a:extLst>
          </p:cNvPr>
          <p:cNvSpPr/>
          <p:nvPr/>
        </p:nvSpPr>
        <p:spPr>
          <a:xfrm>
            <a:off x="6993043" y="3859176"/>
            <a:ext cx="2711599" cy="2565665"/>
          </a:xfrm>
          <a:prstGeom prst="roundRect">
            <a:avLst>
              <a:gd name="adj" fmla="val 4506"/>
            </a:avLst>
          </a:prstGeom>
          <a:solidFill>
            <a:srgbClr val="002060"/>
          </a:solidFill>
          <a:ln w="19050">
            <a:noFill/>
          </a:ln>
          <a:effectLst>
            <a:glow rad="88900">
              <a:schemeClr val="tx1">
                <a:alpha val="4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4111" indent="-204111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+mj-lt"/>
              </a:rPr>
              <a:t>Станция способна переработать увеличивающиеся размеры движения поездов без существенных задержек 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  <a:p>
            <a:pPr marL="204111" indent="-204111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+mj-lt"/>
              </a:rPr>
              <a:t>При реконструкции станция способна пропустить до 88% больше поездов</a:t>
            </a:r>
          </a:p>
          <a:p>
            <a:pPr marL="204111" indent="-204111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+mj-lt"/>
              </a:rPr>
              <a:t>Максимальные размеры движения будут определяться пропускной способностью направления (характеристиками СЦБ и конкретным графиком движения) </a:t>
            </a:r>
          </a:p>
        </p:txBody>
      </p:sp>
    </p:spTree>
    <p:extLst>
      <p:ext uri="{BB962C8B-B14F-4D97-AF65-F5344CB8AC3E}">
        <p14:creationId xmlns:p14="http://schemas.microsoft.com/office/powerpoint/2010/main" val="31424184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E523142-F970-E046-8B95-48C2ED5001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8634" y="2369406"/>
            <a:ext cx="6815923" cy="2301985"/>
          </a:xfrm>
        </p:spPr>
        <p:txBody>
          <a:bodyPr>
            <a:normAutofit fontScale="90000"/>
          </a:bodyPr>
          <a:lstStyle/>
          <a:p>
            <a:r>
              <a:rPr lang="ru-RU" b="1" dirty="0"/>
              <a:t>Разработка Целевой схемы Московских центральных диаметров </a:t>
            </a:r>
            <a:r>
              <a:rPr lang="ru-RU" dirty="0"/>
              <a:t>на основе оценки спроса и моделирования пассажиропотоков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C425FD5-B683-C043-9E14-5439E81BAB4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952241" y="6547304"/>
            <a:ext cx="1572759" cy="254000"/>
          </a:xfrm>
        </p:spPr>
        <p:txBody>
          <a:bodyPr/>
          <a:lstStyle/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Calibri"/>
              </a:rPr>
              <a:pPr/>
              <a:t>2</a:t>
            </a:fld>
            <a:endParaRPr lang="ru-RU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989557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33">
            <a:extLst>
              <a:ext uri="{FF2B5EF4-FFF2-40B4-BE49-F238E27FC236}">
                <a16:creationId xmlns:a16="http://schemas.microsoft.com/office/drawing/2014/main" id="{B8C06FB4-0C4D-4E24-9D04-B0298B385080}"/>
              </a:ext>
            </a:extLst>
          </p:cNvPr>
          <p:cNvSpPr/>
          <p:nvPr/>
        </p:nvSpPr>
        <p:spPr>
          <a:xfrm>
            <a:off x="468234" y="760173"/>
            <a:ext cx="9066292" cy="5290912"/>
          </a:xfrm>
          <a:prstGeom prst="roundRect">
            <a:avLst>
              <a:gd name="adj" fmla="val 198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endParaRPr lang="ru-RU" sz="1200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8250" y="74843"/>
            <a:ext cx="8673371" cy="659632"/>
          </a:xfrm>
        </p:spPr>
        <p:txBody>
          <a:bodyPr>
            <a:noAutofit/>
          </a:bodyPr>
          <a:lstStyle/>
          <a:p>
            <a:r>
              <a:rPr lang="ru-RU" sz="2286" dirty="0"/>
              <a:t>Имитационная модель работы станции Москва-Пасс.-Казанская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Calibri"/>
              </a:rPr>
              <a:pPr/>
              <a:t>20</a:t>
            </a:fld>
            <a:endParaRPr lang="ru-RU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6" name="bBqgr00exIE"/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725714" y="1000567"/>
            <a:ext cx="8551334" cy="4810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0594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3294" y="156437"/>
            <a:ext cx="7646342" cy="659632"/>
          </a:xfrm>
        </p:spPr>
        <p:txBody>
          <a:bodyPr>
            <a:normAutofit fontScale="90000"/>
          </a:bodyPr>
          <a:lstStyle/>
          <a:p>
            <a:r>
              <a:rPr lang="ru-RU" sz="2400" dirty="0"/>
              <a:t>Моделирование объектов железнодорожной инфраструктуры МЦД-4 и проектов ВСМ на вводе в МЖУ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Calibri"/>
              </a:rPr>
              <a:pPr/>
              <a:t>21</a:t>
            </a:fld>
            <a:endParaRPr lang="ru-RU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AEA9D747-807A-42F5-B7A4-F72D51E516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85995" y="1014760"/>
            <a:ext cx="1979300" cy="2074117"/>
          </a:xfrm>
          <a:prstGeom prst="roundRect">
            <a:avLst>
              <a:gd name="adj" fmla="val 3343"/>
            </a:avLst>
          </a:prstGeom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B8B76228-A86A-45B9-958F-CD92FD0999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85995" y="3481416"/>
            <a:ext cx="1979300" cy="2138460"/>
          </a:xfrm>
          <a:prstGeom prst="roundRect">
            <a:avLst>
              <a:gd name="adj" fmla="val 3343"/>
            </a:avLst>
          </a:prstGeom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61C3E73F-D03D-4354-BA18-0E076324455F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459" b="17356"/>
          <a:stretch/>
        </p:blipFill>
        <p:spPr>
          <a:xfrm>
            <a:off x="7943748" y="3600923"/>
            <a:ext cx="1889432" cy="372972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BB29EB04-452D-491B-90BA-F21B5EEF1515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3748" y="4087221"/>
            <a:ext cx="1889432" cy="65760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822E748-6D16-41B3-9BBE-C5529519A2C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98274" y="1119957"/>
            <a:ext cx="1871460" cy="505883"/>
          </a:xfrm>
          <a:prstGeom prst="rect">
            <a:avLst/>
          </a:prstGeom>
        </p:spPr>
      </p:pic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24D6D133-2D83-4BBA-A188-8E8EB71F339C}"/>
              </a:ext>
            </a:extLst>
          </p:cNvPr>
          <p:cNvCxnSpPr/>
          <p:nvPr/>
        </p:nvCxnSpPr>
        <p:spPr>
          <a:xfrm>
            <a:off x="8001688" y="1704305"/>
            <a:ext cx="175029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BF6D4BD-3E93-46D0-954B-0AC9932A7A3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1954" y="1765797"/>
            <a:ext cx="1807380" cy="1025194"/>
          </a:xfrm>
          <a:prstGeom prst="rect">
            <a:avLst/>
          </a:prstGeom>
        </p:spPr>
      </p:pic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E0F402AE-E5DC-46B0-9533-3DB82B1C1F42}"/>
              </a:ext>
            </a:extLst>
          </p:cNvPr>
          <p:cNvCxnSpPr/>
          <p:nvPr/>
        </p:nvCxnSpPr>
        <p:spPr>
          <a:xfrm>
            <a:off x="8000253" y="2863285"/>
            <a:ext cx="175029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76083FEC-73C4-4E19-915A-078D6650D124}"/>
              </a:ext>
            </a:extLst>
          </p:cNvPr>
          <p:cNvCxnSpPr/>
          <p:nvPr/>
        </p:nvCxnSpPr>
        <p:spPr>
          <a:xfrm>
            <a:off x="8000253" y="4169783"/>
            <a:ext cx="175029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3E24738F-2634-4A28-82EF-61DC0CEE1407}"/>
              </a:ext>
            </a:extLst>
          </p:cNvPr>
          <p:cNvCxnSpPr/>
          <p:nvPr/>
        </p:nvCxnSpPr>
        <p:spPr>
          <a:xfrm>
            <a:off x="8000253" y="4711319"/>
            <a:ext cx="175029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Рисунок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3293" y="1491449"/>
            <a:ext cx="4493373" cy="4132732"/>
          </a:xfrm>
          <a:prstGeom prst="rect">
            <a:avLst/>
          </a:prstGeom>
        </p:spPr>
      </p:pic>
      <p:sp>
        <p:nvSpPr>
          <p:cNvPr id="57" name="Полилиния 56"/>
          <p:cNvSpPr/>
          <p:nvPr/>
        </p:nvSpPr>
        <p:spPr>
          <a:xfrm>
            <a:off x="170121" y="3205813"/>
            <a:ext cx="1663995" cy="858994"/>
          </a:xfrm>
          <a:custGeom>
            <a:avLst/>
            <a:gdLst>
              <a:gd name="connsiteX0" fmla="*/ 0 w 1663995"/>
              <a:gd name="connsiteY0" fmla="*/ 1105786 h 1105786"/>
              <a:gd name="connsiteX1" fmla="*/ 276446 w 1663995"/>
              <a:gd name="connsiteY1" fmla="*/ 978195 h 1105786"/>
              <a:gd name="connsiteX2" fmla="*/ 542260 w 1663995"/>
              <a:gd name="connsiteY2" fmla="*/ 946298 h 1105786"/>
              <a:gd name="connsiteX3" fmla="*/ 685800 w 1663995"/>
              <a:gd name="connsiteY3" fmla="*/ 861237 h 1105786"/>
              <a:gd name="connsiteX4" fmla="*/ 776177 w 1663995"/>
              <a:gd name="connsiteY4" fmla="*/ 749595 h 1105786"/>
              <a:gd name="connsiteX5" fmla="*/ 839972 w 1663995"/>
              <a:gd name="connsiteY5" fmla="*/ 627321 h 1105786"/>
              <a:gd name="connsiteX6" fmla="*/ 962246 w 1663995"/>
              <a:gd name="connsiteY6" fmla="*/ 542261 h 1105786"/>
              <a:gd name="connsiteX7" fmla="*/ 1068572 w 1663995"/>
              <a:gd name="connsiteY7" fmla="*/ 462516 h 1105786"/>
              <a:gd name="connsiteX8" fmla="*/ 1217428 w 1663995"/>
              <a:gd name="connsiteY8" fmla="*/ 457200 h 1105786"/>
              <a:gd name="connsiteX9" fmla="*/ 1366284 w 1663995"/>
              <a:gd name="connsiteY9" fmla="*/ 404037 h 1105786"/>
              <a:gd name="connsiteX10" fmla="*/ 1493874 w 1663995"/>
              <a:gd name="connsiteY10" fmla="*/ 308344 h 1105786"/>
              <a:gd name="connsiteX11" fmla="*/ 1562986 w 1663995"/>
              <a:gd name="connsiteY11" fmla="*/ 101009 h 1105786"/>
              <a:gd name="connsiteX12" fmla="*/ 1663995 w 1663995"/>
              <a:gd name="connsiteY12" fmla="*/ 0 h 1105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63995" h="1105786">
                <a:moveTo>
                  <a:pt x="0" y="1105786"/>
                </a:moveTo>
                <a:cubicBezTo>
                  <a:pt x="93034" y="1055281"/>
                  <a:pt x="186069" y="1004776"/>
                  <a:pt x="276446" y="978195"/>
                </a:cubicBezTo>
                <a:cubicBezTo>
                  <a:pt x="366823" y="951614"/>
                  <a:pt x="474034" y="965791"/>
                  <a:pt x="542260" y="946298"/>
                </a:cubicBezTo>
                <a:cubicBezTo>
                  <a:pt x="610486" y="926805"/>
                  <a:pt x="646814" y="894021"/>
                  <a:pt x="685800" y="861237"/>
                </a:cubicBezTo>
                <a:cubicBezTo>
                  <a:pt x="724786" y="828453"/>
                  <a:pt x="750482" y="788581"/>
                  <a:pt x="776177" y="749595"/>
                </a:cubicBezTo>
                <a:cubicBezTo>
                  <a:pt x="801872" y="710609"/>
                  <a:pt x="808961" y="661877"/>
                  <a:pt x="839972" y="627321"/>
                </a:cubicBezTo>
                <a:cubicBezTo>
                  <a:pt x="870983" y="592765"/>
                  <a:pt x="924146" y="569728"/>
                  <a:pt x="962246" y="542261"/>
                </a:cubicBezTo>
                <a:cubicBezTo>
                  <a:pt x="1000346" y="514794"/>
                  <a:pt x="1026042" y="476693"/>
                  <a:pt x="1068572" y="462516"/>
                </a:cubicBezTo>
                <a:cubicBezTo>
                  <a:pt x="1111102" y="448339"/>
                  <a:pt x="1167809" y="466947"/>
                  <a:pt x="1217428" y="457200"/>
                </a:cubicBezTo>
                <a:cubicBezTo>
                  <a:pt x="1267047" y="447453"/>
                  <a:pt x="1320210" y="428846"/>
                  <a:pt x="1366284" y="404037"/>
                </a:cubicBezTo>
                <a:cubicBezTo>
                  <a:pt x="1412358" y="379228"/>
                  <a:pt x="1461090" y="358849"/>
                  <a:pt x="1493874" y="308344"/>
                </a:cubicBezTo>
                <a:cubicBezTo>
                  <a:pt x="1526658" y="257839"/>
                  <a:pt x="1534633" y="152400"/>
                  <a:pt x="1562986" y="101009"/>
                </a:cubicBezTo>
                <a:cubicBezTo>
                  <a:pt x="1591340" y="49618"/>
                  <a:pt x="1661337" y="7974"/>
                  <a:pt x="1663995" y="0"/>
                </a:cubicBezTo>
              </a:path>
            </a:pathLst>
          </a:custGeom>
          <a:noFill/>
          <a:ln w="50800" cmpd="dbl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0" name="Рисунок 7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0121" y="1429073"/>
            <a:ext cx="6835363" cy="852856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6200000">
            <a:off x="-1735022" y="3326731"/>
            <a:ext cx="4142587" cy="443702"/>
          </a:xfrm>
          <a:prstGeom prst="rect">
            <a:avLst/>
          </a:prstGeom>
        </p:spPr>
      </p:pic>
      <p:pic>
        <p:nvPicPr>
          <p:cNvPr id="92" name="Рисунок 9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0800000">
            <a:off x="136888" y="5371203"/>
            <a:ext cx="7612411" cy="344676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0B97169-6AC3-5B48-B46E-118B48EB820D}"/>
              </a:ext>
            </a:extLst>
          </p:cNvPr>
          <p:cNvSpPr txBox="1"/>
          <p:nvPr/>
        </p:nvSpPr>
        <p:spPr>
          <a:xfrm>
            <a:off x="3067570" y="3407941"/>
            <a:ext cx="942887" cy="3281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75000"/>
              </a:lnSpc>
            </a:pPr>
            <a:r>
              <a:rPr lang="ru-RU" sz="1400" dirty="0">
                <a:latin typeface="+mj-lt"/>
              </a:rPr>
              <a:t>Железно-</a:t>
            </a:r>
          </a:p>
          <a:p>
            <a:pPr>
              <a:lnSpc>
                <a:spcPct val="75000"/>
              </a:lnSpc>
            </a:pPr>
            <a:r>
              <a:rPr lang="ru-RU" sz="1400" dirty="0">
                <a:latin typeface="+mj-lt"/>
              </a:rPr>
              <a:t>дорожная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93491F6-CBE5-4F42-889F-2617800E132C}"/>
              </a:ext>
            </a:extLst>
          </p:cNvPr>
          <p:cNvSpPr txBox="1"/>
          <p:nvPr/>
        </p:nvSpPr>
        <p:spPr>
          <a:xfrm>
            <a:off x="1048110" y="3039285"/>
            <a:ext cx="1091225" cy="239087"/>
          </a:xfrm>
          <a:prstGeom prst="rect">
            <a:avLst/>
          </a:prstGeom>
          <a:solidFill>
            <a:srgbClr val="F3F3F5">
              <a:alpha val="0"/>
            </a:srgbClr>
          </a:solidFill>
        </p:spPr>
        <p:txBody>
          <a:bodyPr wrap="square" rtlCol="0">
            <a:spAutoFit/>
          </a:bodyPr>
          <a:lstStyle/>
          <a:p>
            <a:r>
              <a:rPr lang="ru-RU" sz="700" b="1" cap="all" dirty="0">
                <a:solidFill>
                  <a:srgbClr val="7030A0"/>
                </a:solidFill>
                <a:latin typeface="+mj-lt"/>
              </a:rPr>
              <a:t>Москва-Пасс.-Смоленская</a:t>
            </a:r>
          </a:p>
        </p:txBody>
      </p:sp>
      <p:sp>
        <p:nvSpPr>
          <p:cNvPr id="70" name="Полилиния 69"/>
          <p:cNvSpPr/>
          <p:nvPr/>
        </p:nvSpPr>
        <p:spPr>
          <a:xfrm>
            <a:off x="2312226" y="3380057"/>
            <a:ext cx="1621176" cy="180602"/>
          </a:xfrm>
          <a:custGeom>
            <a:avLst/>
            <a:gdLst>
              <a:gd name="connsiteX0" fmla="*/ 0 w 1456661"/>
              <a:gd name="connsiteY0" fmla="*/ 49189 h 204523"/>
              <a:gd name="connsiteX1" fmla="*/ 85061 w 1456661"/>
              <a:gd name="connsiteY1" fmla="*/ 166147 h 204523"/>
              <a:gd name="connsiteX2" fmla="*/ 154172 w 1456661"/>
              <a:gd name="connsiteY2" fmla="*/ 203361 h 204523"/>
              <a:gd name="connsiteX3" fmla="*/ 292396 w 1456661"/>
              <a:gd name="connsiteY3" fmla="*/ 182096 h 204523"/>
              <a:gd name="connsiteX4" fmla="*/ 574158 w 1456661"/>
              <a:gd name="connsiteY4" fmla="*/ 59822 h 204523"/>
              <a:gd name="connsiteX5" fmla="*/ 627321 w 1456661"/>
              <a:gd name="connsiteY5" fmla="*/ 17291 h 204523"/>
              <a:gd name="connsiteX6" fmla="*/ 728330 w 1456661"/>
              <a:gd name="connsiteY6" fmla="*/ 1343 h 204523"/>
              <a:gd name="connsiteX7" fmla="*/ 903768 w 1456661"/>
              <a:gd name="connsiteY7" fmla="*/ 49189 h 204523"/>
              <a:gd name="connsiteX8" fmla="*/ 1206796 w 1456661"/>
              <a:gd name="connsiteY8" fmla="*/ 65138 h 204523"/>
              <a:gd name="connsiteX9" fmla="*/ 1456661 w 1456661"/>
              <a:gd name="connsiteY9" fmla="*/ 22608 h 204523"/>
              <a:gd name="connsiteX0" fmla="*/ 0 w 1605872"/>
              <a:gd name="connsiteY0" fmla="*/ 123825 h 204523"/>
              <a:gd name="connsiteX1" fmla="*/ 234272 w 1605872"/>
              <a:gd name="connsiteY1" fmla="*/ 166147 h 204523"/>
              <a:gd name="connsiteX2" fmla="*/ 303383 w 1605872"/>
              <a:gd name="connsiteY2" fmla="*/ 203361 h 204523"/>
              <a:gd name="connsiteX3" fmla="*/ 441607 w 1605872"/>
              <a:gd name="connsiteY3" fmla="*/ 182096 h 204523"/>
              <a:gd name="connsiteX4" fmla="*/ 723369 w 1605872"/>
              <a:gd name="connsiteY4" fmla="*/ 59822 h 204523"/>
              <a:gd name="connsiteX5" fmla="*/ 776532 w 1605872"/>
              <a:gd name="connsiteY5" fmla="*/ 17291 h 204523"/>
              <a:gd name="connsiteX6" fmla="*/ 877541 w 1605872"/>
              <a:gd name="connsiteY6" fmla="*/ 1343 h 204523"/>
              <a:gd name="connsiteX7" fmla="*/ 1052979 w 1605872"/>
              <a:gd name="connsiteY7" fmla="*/ 49189 h 204523"/>
              <a:gd name="connsiteX8" fmla="*/ 1356007 w 1605872"/>
              <a:gd name="connsiteY8" fmla="*/ 65138 h 204523"/>
              <a:gd name="connsiteX9" fmla="*/ 1605872 w 1605872"/>
              <a:gd name="connsiteY9" fmla="*/ 22608 h 204523"/>
              <a:gd name="connsiteX0" fmla="*/ 0 w 1605872"/>
              <a:gd name="connsiteY0" fmla="*/ 123825 h 243402"/>
              <a:gd name="connsiteX1" fmla="*/ 192187 w 1605872"/>
              <a:gd name="connsiteY1" fmla="*/ 240784 h 243402"/>
              <a:gd name="connsiteX2" fmla="*/ 303383 w 1605872"/>
              <a:gd name="connsiteY2" fmla="*/ 203361 h 243402"/>
              <a:gd name="connsiteX3" fmla="*/ 441607 w 1605872"/>
              <a:gd name="connsiteY3" fmla="*/ 182096 h 243402"/>
              <a:gd name="connsiteX4" fmla="*/ 723369 w 1605872"/>
              <a:gd name="connsiteY4" fmla="*/ 59822 h 243402"/>
              <a:gd name="connsiteX5" fmla="*/ 776532 w 1605872"/>
              <a:gd name="connsiteY5" fmla="*/ 17291 h 243402"/>
              <a:gd name="connsiteX6" fmla="*/ 877541 w 1605872"/>
              <a:gd name="connsiteY6" fmla="*/ 1343 h 243402"/>
              <a:gd name="connsiteX7" fmla="*/ 1052979 w 1605872"/>
              <a:gd name="connsiteY7" fmla="*/ 49189 h 243402"/>
              <a:gd name="connsiteX8" fmla="*/ 1356007 w 1605872"/>
              <a:gd name="connsiteY8" fmla="*/ 65138 h 243402"/>
              <a:gd name="connsiteX9" fmla="*/ 1605872 w 1605872"/>
              <a:gd name="connsiteY9" fmla="*/ 22608 h 243402"/>
              <a:gd name="connsiteX0" fmla="*/ 0 w 1605872"/>
              <a:gd name="connsiteY0" fmla="*/ 123825 h 230957"/>
              <a:gd name="connsiteX1" fmla="*/ 188361 w 1605872"/>
              <a:gd name="connsiteY1" fmla="*/ 227613 h 230957"/>
              <a:gd name="connsiteX2" fmla="*/ 303383 w 1605872"/>
              <a:gd name="connsiteY2" fmla="*/ 203361 h 230957"/>
              <a:gd name="connsiteX3" fmla="*/ 441607 w 1605872"/>
              <a:gd name="connsiteY3" fmla="*/ 182096 h 230957"/>
              <a:gd name="connsiteX4" fmla="*/ 723369 w 1605872"/>
              <a:gd name="connsiteY4" fmla="*/ 59822 h 230957"/>
              <a:gd name="connsiteX5" fmla="*/ 776532 w 1605872"/>
              <a:gd name="connsiteY5" fmla="*/ 17291 h 230957"/>
              <a:gd name="connsiteX6" fmla="*/ 877541 w 1605872"/>
              <a:gd name="connsiteY6" fmla="*/ 1343 h 230957"/>
              <a:gd name="connsiteX7" fmla="*/ 1052979 w 1605872"/>
              <a:gd name="connsiteY7" fmla="*/ 49189 h 230957"/>
              <a:gd name="connsiteX8" fmla="*/ 1356007 w 1605872"/>
              <a:gd name="connsiteY8" fmla="*/ 65138 h 230957"/>
              <a:gd name="connsiteX9" fmla="*/ 1605872 w 1605872"/>
              <a:gd name="connsiteY9" fmla="*/ 22608 h 230957"/>
              <a:gd name="connsiteX0" fmla="*/ 0 w 1605872"/>
              <a:gd name="connsiteY0" fmla="*/ 123825 h 307893"/>
              <a:gd name="connsiteX1" fmla="*/ 188361 w 1605872"/>
              <a:gd name="connsiteY1" fmla="*/ 306639 h 307893"/>
              <a:gd name="connsiteX2" fmla="*/ 303383 w 1605872"/>
              <a:gd name="connsiteY2" fmla="*/ 203361 h 307893"/>
              <a:gd name="connsiteX3" fmla="*/ 441607 w 1605872"/>
              <a:gd name="connsiteY3" fmla="*/ 182096 h 307893"/>
              <a:gd name="connsiteX4" fmla="*/ 723369 w 1605872"/>
              <a:gd name="connsiteY4" fmla="*/ 59822 h 307893"/>
              <a:gd name="connsiteX5" fmla="*/ 776532 w 1605872"/>
              <a:gd name="connsiteY5" fmla="*/ 17291 h 307893"/>
              <a:gd name="connsiteX6" fmla="*/ 877541 w 1605872"/>
              <a:gd name="connsiteY6" fmla="*/ 1343 h 307893"/>
              <a:gd name="connsiteX7" fmla="*/ 1052979 w 1605872"/>
              <a:gd name="connsiteY7" fmla="*/ 49189 h 307893"/>
              <a:gd name="connsiteX8" fmla="*/ 1356007 w 1605872"/>
              <a:gd name="connsiteY8" fmla="*/ 65138 h 307893"/>
              <a:gd name="connsiteX9" fmla="*/ 1605872 w 1605872"/>
              <a:gd name="connsiteY9" fmla="*/ 22608 h 307893"/>
              <a:gd name="connsiteX0" fmla="*/ 0 w 1605872"/>
              <a:gd name="connsiteY0" fmla="*/ 123825 h 315928"/>
              <a:gd name="connsiteX1" fmla="*/ 188361 w 1605872"/>
              <a:gd name="connsiteY1" fmla="*/ 306639 h 315928"/>
              <a:gd name="connsiteX2" fmla="*/ 349294 w 1605872"/>
              <a:gd name="connsiteY2" fmla="*/ 277997 h 315928"/>
              <a:gd name="connsiteX3" fmla="*/ 441607 w 1605872"/>
              <a:gd name="connsiteY3" fmla="*/ 182096 h 315928"/>
              <a:gd name="connsiteX4" fmla="*/ 723369 w 1605872"/>
              <a:gd name="connsiteY4" fmla="*/ 59822 h 315928"/>
              <a:gd name="connsiteX5" fmla="*/ 776532 w 1605872"/>
              <a:gd name="connsiteY5" fmla="*/ 17291 h 315928"/>
              <a:gd name="connsiteX6" fmla="*/ 877541 w 1605872"/>
              <a:gd name="connsiteY6" fmla="*/ 1343 h 315928"/>
              <a:gd name="connsiteX7" fmla="*/ 1052979 w 1605872"/>
              <a:gd name="connsiteY7" fmla="*/ 49189 h 315928"/>
              <a:gd name="connsiteX8" fmla="*/ 1356007 w 1605872"/>
              <a:gd name="connsiteY8" fmla="*/ 65138 h 315928"/>
              <a:gd name="connsiteX9" fmla="*/ 1605872 w 1605872"/>
              <a:gd name="connsiteY9" fmla="*/ 22608 h 315928"/>
              <a:gd name="connsiteX0" fmla="*/ 0 w 1605872"/>
              <a:gd name="connsiteY0" fmla="*/ 123825 h 314598"/>
              <a:gd name="connsiteX1" fmla="*/ 188361 w 1605872"/>
              <a:gd name="connsiteY1" fmla="*/ 306639 h 314598"/>
              <a:gd name="connsiteX2" fmla="*/ 349294 w 1605872"/>
              <a:gd name="connsiteY2" fmla="*/ 277997 h 314598"/>
              <a:gd name="connsiteX3" fmla="*/ 464562 w 1605872"/>
              <a:gd name="connsiteY3" fmla="*/ 243561 h 314598"/>
              <a:gd name="connsiteX4" fmla="*/ 723369 w 1605872"/>
              <a:gd name="connsiteY4" fmla="*/ 59822 h 314598"/>
              <a:gd name="connsiteX5" fmla="*/ 776532 w 1605872"/>
              <a:gd name="connsiteY5" fmla="*/ 17291 h 314598"/>
              <a:gd name="connsiteX6" fmla="*/ 877541 w 1605872"/>
              <a:gd name="connsiteY6" fmla="*/ 1343 h 314598"/>
              <a:gd name="connsiteX7" fmla="*/ 1052979 w 1605872"/>
              <a:gd name="connsiteY7" fmla="*/ 49189 h 314598"/>
              <a:gd name="connsiteX8" fmla="*/ 1356007 w 1605872"/>
              <a:gd name="connsiteY8" fmla="*/ 65138 h 314598"/>
              <a:gd name="connsiteX9" fmla="*/ 1605872 w 1605872"/>
              <a:gd name="connsiteY9" fmla="*/ 22608 h 314598"/>
              <a:gd name="connsiteX0" fmla="*/ 0 w 1605872"/>
              <a:gd name="connsiteY0" fmla="*/ 125165 h 315938"/>
              <a:gd name="connsiteX1" fmla="*/ 188361 w 1605872"/>
              <a:gd name="connsiteY1" fmla="*/ 307979 h 315938"/>
              <a:gd name="connsiteX2" fmla="*/ 349294 w 1605872"/>
              <a:gd name="connsiteY2" fmla="*/ 279337 h 315938"/>
              <a:gd name="connsiteX3" fmla="*/ 464562 w 1605872"/>
              <a:gd name="connsiteY3" fmla="*/ 244901 h 315938"/>
              <a:gd name="connsiteX4" fmla="*/ 750150 w 1605872"/>
              <a:gd name="connsiteY4" fmla="*/ 122626 h 315938"/>
              <a:gd name="connsiteX5" fmla="*/ 776532 w 1605872"/>
              <a:gd name="connsiteY5" fmla="*/ 18631 h 315938"/>
              <a:gd name="connsiteX6" fmla="*/ 877541 w 1605872"/>
              <a:gd name="connsiteY6" fmla="*/ 2683 h 315938"/>
              <a:gd name="connsiteX7" fmla="*/ 1052979 w 1605872"/>
              <a:gd name="connsiteY7" fmla="*/ 50529 h 315938"/>
              <a:gd name="connsiteX8" fmla="*/ 1356007 w 1605872"/>
              <a:gd name="connsiteY8" fmla="*/ 66478 h 315938"/>
              <a:gd name="connsiteX9" fmla="*/ 1605872 w 1605872"/>
              <a:gd name="connsiteY9" fmla="*/ 23948 h 315938"/>
              <a:gd name="connsiteX0" fmla="*/ 0 w 1605872"/>
              <a:gd name="connsiteY0" fmla="*/ 122556 h 313329"/>
              <a:gd name="connsiteX1" fmla="*/ 188361 w 1605872"/>
              <a:gd name="connsiteY1" fmla="*/ 305370 h 313329"/>
              <a:gd name="connsiteX2" fmla="*/ 349294 w 1605872"/>
              <a:gd name="connsiteY2" fmla="*/ 276728 h 313329"/>
              <a:gd name="connsiteX3" fmla="*/ 464562 w 1605872"/>
              <a:gd name="connsiteY3" fmla="*/ 242292 h 313329"/>
              <a:gd name="connsiteX4" fmla="*/ 750150 w 1605872"/>
              <a:gd name="connsiteY4" fmla="*/ 120017 h 313329"/>
              <a:gd name="connsiteX5" fmla="*/ 845399 w 1605872"/>
              <a:gd name="connsiteY5" fmla="*/ 59926 h 313329"/>
              <a:gd name="connsiteX6" fmla="*/ 877541 w 1605872"/>
              <a:gd name="connsiteY6" fmla="*/ 74 h 313329"/>
              <a:gd name="connsiteX7" fmla="*/ 1052979 w 1605872"/>
              <a:gd name="connsiteY7" fmla="*/ 47920 h 313329"/>
              <a:gd name="connsiteX8" fmla="*/ 1356007 w 1605872"/>
              <a:gd name="connsiteY8" fmla="*/ 63869 h 313329"/>
              <a:gd name="connsiteX9" fmla="*/ 1605872 w 1605872"/>
              <a:gd name="connsiteY9" fmla="*/ 21339 h 313329"/>
              <a:gd name="connsiteX0" fmla="*/ 0 w 1605872"/>
              <a:gd name="connsiteY0" fmla="*/ 101217 h 291990"/>
              <a:gd name="connsiteX1" fmla="*/ 188361 w 1605872"/>
              <a:gd name="connsiteY1" fmla="*/ 284031 h 291990"/>
              <a:gd name="connsiteX2" fmla="*/ 349294 w 1605872"/>
              <a:gd name="connsiteY2" fmla="*/ 255389 h 291990"/>
              <a:gd name="connsiteX3" fmla="*/ 464562 w 1605872"/>
              <a:gd name="connsiteY3" fmla="*/ 220953 h 291990"/>
              <a:gd name="connsiteX4" fmla="*/ 750150 w 1605872"/>
              <a:gd name="connsiteY4" fmla="*/ 98678 h 291990"/>
              <a:gd name="connsiteX5" fmla="*/ 845399 w 1605872"/>
              <a:gd name="connsiteY5" fmla="*/ 38587 h 291990"/>
              <a:gd name="connsiteX6" fmla="*/ 915801 w 1605872"/>
              <a:gd name="connsiteY6" fmla="*/ 57761 h 291990"/>
              <a:gd name="connsiteX7" fmla="*/ 1052979 w 1605872"/>
              <a:gd name="connsiteY7" fmla="*/ 26581 h 291990"/>
              <a:gd name="connsiteX8" fmla="*/ 1356007 w 1605872"/>
              <a:gd name="connsiteY8" fmla="*/ 42530 h 291990"/>
              <a:gd name="connsiteX9" fmla="*/ 1605872 w 1605872"/>
              <a:gd name="connsiteY9" fmla="*/ 0 h 291990"/>
              <a:gd name="connsiteX0" fmla="*/ 0 w 1605872"/>
              <a:gd name="connsiteY0" fmla="*/ 101217 h 291990"/>
              <a:gd name="connsiteX1" fmla="*/ 188361 w 1605872"/>
              <a:gd name="connsiteY1" fmla="*/ 284031 h 291990"/>
              <a:gd name="connsiteX2" fmla="*/ 349294 w 1605872"/>
              <a:gd name="connsiteY2" fmla="*/ 255389 h 291990"/>
              <a:gd name="connsiteX3" fmla="*/ 464562 w 1605872"/>
              <a:gd name="connsiteY3" fmla="*/ 220953 h 291990"/>
              <a:gd name="connsiteX4" fmla="*/ 750150 w 1605872"/>
              <a:gd name="connsiteY4" fmla="*/ 98678 h 291990"/>
              <a:gd name="connsiteX5" fmla="*/ 845399 w 1605872"/>
              <a:gd name="connsiteY5" fmla="*/ 38587 h 291990"/>
              <a:gd name="connsiteX6" fmla="*/ 915801 w 1605872"/>
              <a:gd name="connsiteY6" fmla="*/ 57761 h 291990"/>
              <a:gd name="connsiteX7" fmla="*/ 1052979 w 1605872"/>
              <a:gd name="connsiteY7" fmla="*/ 109998 h 291990"/>
              <a:gd name="connsiteX8" fmla="*/ 1356007 w 1605872"/>
              <a:gd name="connsiteY8" fmla="*/ 42530 h 291990"/>
              <a:gd name="connsiteX9" fmla="*/ 1605872 w 1605872"/>
              <a:gd name="connsiteY9" fmla="*/ 0 h 291990"/>
              <a:gd name="connsiteX0" fmla="*/ 0 w 1605872"/>
              <a:gd name="connsiteY0" fmla="*/ 101217 h 291990"/>
              <a:gd name="connsiteX1" fmla="*/ 188361 w 1605872"/>
              <a:gd name="connsiteY1" fmla="*/ 284031 h 291990"/>
              <a:gd name="connsiteX2" fmla="*/ 349294 w 1605872"/>
              <a:gd name="connsiteY2" fmla="*/ 255389 h 291990"/>
              <a:gd name="connsiteX3" fmla="*/ 464562 w 1605872"/>
              <a:gd name="connsiteY3" fmla="*/ 220953 h 291990"/>
              <a:gd name="connsiteX4" fmla="*/ 750150 w 1605872"/>
              <a:gd name="connsiteY4" fmla="*/ 98678 h 291990"/>
              <a:gd name="connsiteX5" fmla="*/ 845399 w 1605872"/>
              <a:gd name="connsiteY5" fmla="*/ 38587 h 291990"/>
              <a:gd name="connsiteX6" fmla="*/ 915801 w 1605872"/>
              <a:gd name="connsiteY6" fmla="*/ 57761 h 291990"/>
              <a:gd name="connsiteX7" fmla="*/ 1052979 w 1605872"/>
              <a:gd name="connsiteY7" fmla="*/ 109998 h 291990"/>
              <a:gd name="connsiteX8" fmla="*/ 1382789 w 1605872"/>
              <a:gd name="connsiteY8" fmla="*/ 134727 h 291990"/>
              <a:gd name="connsiteX9" fmla="*/ 1605872 w 1605872"/>
              <a:gd name="connsiteY9" fmla="*/ 0 h 291990"/>
              <a:gd name="connsiteX0" fmla="*/ 0 w 1621176"/>
              <a:gd name="connsiteY0" fmla="*/ 64415 h 255188"/>
              <a:gd name="connsiteX1" fmla="*/ 188361 w 1621176"/>
              <a:gd name="connsiteY1" fmla="*/ 247229 h 255188"/>
              <a:gd name="connsiteX2" fmla="*/ 349294 w 1621176"/>
              <a:gd name="connsiteY2" fmla="*/ 218587 h 255188"/>
              <a:gd name="connsiteX3" fmla="*/ 464562 w 1621176"/>
              <a:gd name="connsiteY3" fmla="*/ 184151 h 255188"/>
              <a:gd name="connsiteX4" fmla="*/ 750150 w 1621176"/>
              <a:gd name="connsiteY4" fmla="*/ 61876 h 255188"/>
              <a:gd name="connsiteX5" fmla="*/ 845399 w 1621176"/>
              <a:gd name="connsiteY5" fmla="*/ 1785 h 255188"/>
              <a:gd name="connsiteX6" fmla="*/ 915801 w 1621176"/>
              <a:gd name="connsiteY6" fmla="*/ 20959 h 255188"/>
              <a:gd name="connsiteX7" fmla="*/ 1052979 w 1621176"/>
              <a:gd name="connsiteY7" fmla="*/ 73196 h 255188"/>
              <a:gd name="connsiteX8" fmla="*/ 1382789 w 1621176"/>
              <a:gd name="connsiteY8" fmla="*/ 97925 h 255188"/>
              <a:gd name="connsiteX9" fmla="*/ 1621176 w 1621176"/>
              <a:gd name="connsiteY9" fmla="*/ 42225 h 255188"/>
              <a:gd name="connsiteX0" fmla="*/ 0 w 1621176"/>
              <a:gd name="connsiteY0" fmla="*/ 64415 h 255188"/>
              <a:gd name="connsiteX1" fmla="*/ 188361 w 1621176"/>
              <a:gd name="connsiteY1" fmla="*/ 247229 h 255188"/>
              <a:gd name="connsiteX2" fmla="*/ 349294 w 1621176"/>
              <a:gd name="connsiteY2" fmla="*/ 218587 h 255188"/>
              <a:gd name="connsiteX3" fmla="*/ 464562 w 1621176"/>
              <a:gd name="connsiteY3" fmla="*/ 184151 h 255188"/>
              <a:gd name="connsiteX4" fmla="*/ 750150 w 1621176"/>
              <a:gd name="connsiteY4" fmla="*/ 61876 h 255188"/>
              <a:gd name="connsiteX5" fmla="*/ 845399 w 1621176"/>
              <a:gd name="connsiteY5" fmla="*/ 1785 h 255188"/>
              <a:gd name="connsiteX6" fmla="*/ 915801 w 1621176"/>
              <a:gd name="connsiteY6" fmla="*/ 20959 h 255188"/>
              <a:gd name="connsiteX7" fmla="*/ 1052979 w 1621176"/>
              <a:gd name="connsiteY7" fmla="*/ 73196 h 255188"/>
              <a:gd name="connsiteX8" fmla="*/ 1382789 w 1621176"/>
              <a:gd name="connsiteY8" fmla="*/ 89146 h 255188"/>
              <a:gd name="connsiteX9" fmla="*/ 1621176 w 1621176"/>
              <a:gd name="connsiteY9" fmla="*/ 42225 h 255188"/>
              <a:gd name="connsiteX0" fmla="*/ 0 w 1621176"/>
              <a:gd name="connsiteY0" fmla="*/ 46512 h 237285"/>
              <a:gd name="connsiteX1" fmla="*/ 188361 w 1621176"/>
              <a:gd name="connsiteY1" fmla="*/ 229326 h 237285"/>
              <a:gd name="connsiteX2" fmla="*/ 349294 w 1621176"/>
              <a:gd name="connsiteY2" fmla="*/ 200684 h 237285"/>
              <a:gd name="connsiteX3" fmla="*/ 464562 w 1621176"/>
              <a:gd name="connsiteY3" fmla="*/ 166248 h 237285"/>
              <a:gd name="connsiteX4" fmla="*/ 750150 w 1621176"/>
              <a:gd name="connsiteY4" fmla="*/ 43973 h 237285"/>
              <a:gd name="connsiteX5" fmla="*/ 845399 w 1621176"/>
              <a:gd name="connsiteY5" fmla="*/ 10225 h 237285"/>
              <a:gd name="connsiteX6" fmla="*/ 915801 w 1621176"/>
              <a:gd name="connsiteY6" fmla="*/ 3056 h 237285"/>
              <a:gd name="connsiteX7" fmla="*/ 1052979 w 1621176"/>
              <a:gd name="connsiteY7" fmla="*/ 55293 h 237285"/>
              <a:gd name="connsiteX8" fmla="*/ 1382789 w 1621176"/>
              <a:gd name="connsiteY8" fmla="*/ 71243 h 237285"/>
              <a:gd name="connsiteX9" fmla="*/ 1621176 w 1621176"/>
              <a:gd name="connsiteY9" fmla="*/ 24322 h 237285"/>
              <a:gd name="connsiteX0" fmla="*/ 0 w 1621176"/>
              <a:gd name="connsiteY0" fmla="*/ 40315 h 231088"/>
              <a:gd name="connsiteX1" fmla="*/ 188361 w 1621176"/>
              <a:gd name="connsiteY1" fmla="*/ 223129 h 231088"/>
              <a:gd name="connsiteX2" fmla="*/ 349294 w 1621176"/>
              <a:gd name="connsiteY2" fmla="*/ 194487 h 231088"/>
              <a:gd name="connsiteX3" fmla="*/ 464562 w 1621176"/>
              <a:gd name="connsiteY3" fmla="*/ 160051 h 231088"/>
              <a:gd name="connsiteX4" fmla="*/ 750150 w 1621176"/>
              <a:gd name="connsiteY4" fmla="*/ 37776 h 231088"/>
              <a:gd name="connsiteX5" fmla="*/ 845399 w 1621176"/>
              <a:gd name="connsiteY5" fmla="*/ 4028 h 231088"/>
              <a:gd name="connsiteX6" fmla="*/ 915801 w 1621176"/>
              <a:gd name="connsiteY6" fmla="*/ 5639 h 231088"/>
              <a:gd name="connsiteX7" fmla="*/ 1052979 w 1621176"/>
              <a:gd name="connsiteY7" fmla="*/ 49096 h 231088"/>
              <a:gd name="connsiteX8" fmla="*/ 1382789 w 1621176"/>
              <a:gd name="connsiteY8" fmla="*/ 65046 h 231088"/>
              <a:gd name="connsiteX9" fmla="*/ 1621176 w 1621176"/>
              <a:gd name="connsiteY9" fmla="*/ 18125 h 231088"/>
              <a:gd name="connsiteX0" fmla="*/ 0 w 1621176"/>
              <a:gd name="connsiteY0" fmla="*/ 41716 h 232489"/>
              <a:gd name="connsiteX1" fmla="*/ 188361 w 1621176"/>
              <a:gd name="connsiteY1" fmla="*/ 224530 h 232489"/>
              <a:gd name="connsiteX2" fmla="*/ 349294 w 1621176"/>
              <a:gd name="connsiteY2" fmla="*/ 195888 h 232489"/>
              <a:gd name="connsiteX3" fmla="*/ 464562 w 1621176"/>
              <a:gd name="connsiteY3" fmla="*/ 161452 h 232489"/>
              <a:gd name="connsiteX4" fmla="*/ 750150 w 1621176"/>
              <a:gd name="connsiteY4" fmla="*/ 39177 h 232489"/>
              <a:gd name="connsiteX5" fmla="*/ 845399 w 1621176"/>
              <a:gd name="connsiteY5" fmla="*/ 5429 h 232489"/>
              <a:gd name="connsiteX6" fmla="*/ 915801 w 1621176"/>
              <a:gd name="connsiteY6" fmla="*/ 7040 h 232489"/>
              <a:gd name="connsiteX7" fmla="*/ 1045327 w 1621176"/>
              <a:gd name="connsiteY7" fmla="*/ 72449 h 232489"/>
              <a:gd name="connsiteX8" fmla="*/ 1382789 w 1621176"/>
              <a:gd name="connsiteY8" fmla="*/ 66447 h 232489"/>
              <a:gd name="connsiteX9" fmla="*/ 1621176 w 1621176"/>
              <a:gd name="connsiteY9" fmla="*/ 19526 h 232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21176" h="232489">
                <a:moveTo>
                  <a:pt x="0" y="41716"/>
                </a:moveTo>
                <a:cubicBezTo>
                  <a:pt x="29683" y="87347"/>
                  <a:pt x="130145" y="198835"/>
                  <a:pt x="188361" y="224530"/>
                </a:cubicBezTo>
                <a:cubicBezTo>
                  <a:pt x="246577" y="250225"/>
                  <a:pt x="303261" y="206401"/>
                  <a:pt x="349294" y="195888"/>
                </a:cubicBezTo>
                <a:cubicBezTo>
                  <a:pt x="395327" y="185375"/>
                  <a:pt x="397753" y="187570"/>
                  <a:pt x="464562" y="161452"/>
                </a:cubicBezTo>
                <a:cubicBezTo>
                  <a:pt x="531371" y="135334"/>
                  <a:pt x="686677" y="65181"/>
                  <a:pt x="750150" y="39177"/>
                </a:cubicBezTo>
                <a:cubicBezTo>
                  <a:pt x="813623" y="13173"/>
                  <a:pt x="817791" y="10785"/>
                  <a:pt x="845399" y="5429"/>
                </a:cubicBezTo>
                <a:cubicBezTo>
                  <a:pt x="873008" y="73"/>
                  <a:pt x="882480" y="-4130"/>
                  <a:pt x="915801" y="7040"/>
                </a:cubicBezTo>
                <a:cubicBezTo>
                  <a:pt x="949122" y="18210"/>
                  <a:pt x="967496" y="62548"/>
                  <a:pt x="1045327" y="72449"/>
                </a:cubicBezTo>
                <a:cubicBezTo>
                  <a:pt x="1123158" y="82350"/>
                  <a:pt x="1290640" y="70877"/>
                  <a:pt x="1382789" y="66447"/>
                </a:cubicBezTo>
                <a:cubicBezTo>
                  <a:pt x="1474938" y="62017"/>
                  <a:pt x="1585734" y="36361"/>
                  <a:pt x="1621176" y="19526"/>
                </a:cubicBezTo>
              </a:path>
            </a:pathLst>
          </a:custGeom>
          <a:noFill/>
          <a:ln w="50800" cmpd="dbl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Полилиния 71"/>
          <p:cNvSpPr/>
          <p:nvPr/>
        </p:nvSpPr>
        <p:spPr>
          <a:xfrm>
            <a:off x="217967" y="3052673"/>
            <a:ext cx="3684182" cy="1441631"/>
          </a:xfrm>
          <a:custGeom>
            <a:avLst/>
            <a:gdLst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36135 w 3684182"/>
              <a:gd name="connsiteY35" fmla="*/ 207770 h 1855816"/>
              <a:gd name="connsiteX36" fmla="*/ 2099931 w 3684182"/>
              <a:gd name="connsiteY36" fmla="*/ 186505 h 1855816"/>
              <a:gd name="connsiteX37" fmla="*/ 2163726 w 3684182"/>
              <a:gd name="connsiteY37" fmla="*/ 186505 h 1855816"/>
              <a:gd name="connsiteX38" fmla="*/ 2211573 w 3684182"/>
              <a:gd name="connsiteY38" fmla="*/ 250300 h 1855816"/>
              <a:gd name="connsiteX39" fmla="*/ 2232838 w 3684182"/>
              <a:gd name="connsiteY39" fmla="*/ 308779 h 1855816"/>
              <a:gd name="connsiteX40" fmla="*/ 2243470 w 3684182"/>
              <a:gd name="connsiteY40" fmla="*/ 351309 h 1855816"/>
              <a:gd name="connsiteX41" fmla="*/ 2227521 w 3684182"/>
              <a:gd name="connsiteY41" fmla="*/ 431053 h 1855816"/>
              <a:gd name="connsiteX42" fmla="*/ 2259419 w 3684182"/>
              <a:gd name="connsiteY42" fmla="*/ 457635 h 1855816"/>
              <a:gd name="connsiteX43" fmla="*/ 2301949 w 3684182"/>
              <a:gd name="connsiteY43" fmla="*/ 489532 h 1855816"/>
              <a:gd name="connsiteX44" fmla="*/ 2349796 w 3684182"/>
              <a:gd name="connsiteY44" fmla="*/ 542695 h 1855816"/>
              <a:gd name="connsiteX45" fmla="*/ 2402959 w 3684182"/>
              <a:gd name="connsiteY45" fmla="*/ 574593 h 1855816"/>
              <a:gd name="connsiteX46" fmla="*/ 2461438 w 3684182"/>
              <a:gd name="connsiteY46" fmla="*/ 574593 h 1855816"/>
              <a:gd name="connsiteX47" fmla="*/ 2535866 w 3684182"/>
              <a:gd name="connsiteY47" fmla="*/ 542695 h 1855816"/>
              <a:gd name="connsiteX48" fmla="*/ 2663456 w 3684182"/>
              <a:gd name="connsiteY48" fmla="*/ 489532 h 1855816"/>
              <a:gd name="connsiteX49" fmla="*/ 2838893 w 3684182"/>
              <a:gd name="connsiteY49" fmla="*/ 420421 h 1855816"/>
              <a:gd name="connsiteX50" fmla="*/ 2918638 w 3684182"/>
              <a:gd name="connsiteY50" fmla="*/ 372574 h 1855816"/>
              <a:gd name="connsiteX51" fmla="*/ 3046228 w 3684182"/>
              <a:gd name="connsiteY51" fmla="*/ 388523 h 1855816"/>
              <a:gd name="connsiteX52" fmla="*/ 3136605 w 3684182"/>
              <a:gd name="connsiteY52" fmla="*/ 431053 h 1855816"/>
              <a:gd name="connsiteX53" fmla="*/ 3285461 w 3684182"/>
              <a:gd name="connsiteY53" fmla="*/ 441686 h 1855816"/>
              <a:gd name="connsiteX54" fmla="*/ 3684182 w 3684182"/>
              <a:gd name="connsiteY54" fmla="*/ 420421 h 1855816"/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36135 w 3684182"/>
              <a:gd name="connsiteY35" fmla="*/ 207770 h 1855816"/>
              <a:gd name="connsiteX36" fmla="*/ 2099931 w 3684182"/>
              <a:gd name="connsiteY36" fmla="*/ 186505 h 1855816"/>
              <a:gd name="connsiteX37" fmla="*/ 2064251 w 3684182"/>
              <a:gd name="connsiteY37" fmla="*/ 463097 h 1855816"/>
              <a:gd name="connsiteX38" fmla="*/ 2211573 w 3684182"/>
              <a:gd name="connsiteY38" fmla="*/ 250300 h 1855816"/>
              <a:gd name="connsiteX39" fmla="*/ 2232838 w 3684182"/>
              <a:gd name="connsiteY39" fmla="*/ 308779 h 1855816"/>
              <a:gd name="connsiteX40" fmla="*/ 2243470 w 3684182"/>
              <a:gd name="connsiteY40" fmla="*/ 351309 h 1855816"/>
              <a:gd name="connsiteX41" fmla="*/ 2227521 w 3684182"/>
              <a:gd name="connsiteY41" fmla="*/ 431053 h 1855816"/>
              <a:gd name="connsiteX42" fmla="*/ 2259419 w 3684182"/>
              <a:gd name="connsiteY42" fmla="*/ 457635 h 1855816"/>
              <a:gd name="connsiteX43" fmla="*/ 2301949 w 3684182"/>
              <a:gd name="connsiteY43" fmla="*/ 489532 h 1855816"/>
              <a:gd name="connsiteX44" fmla="*/ 2349796 w 3684182"/>
              <a:gd name="connsiteY44" fmla="*/ 542695 h 1855816"/>
              <a:gd name="connsiteX45" fmla="*/ 2402959 w 3684182"/>
              <a:gd name="connsiteY45" fmla="*/ 574593 h 1855816"/>
              <a:gd name="connsiteX46" fmla="*/ 2461438 w 3684182"/>
              <a:gd name="connsiteY46" fmla="*/ 574593 h 1855816"/>
              <a:gd name="connsiteX47" fmla="*/ 2535866 w 3684182"/>
              <a:gd name="connsiteY47" fmla="*/ 542695 h 1855816"/>
              <a:gd name="connsiteX48" fmla="*/ 2663456 w 3684182"/>
              <a:gd name="connsiteY48" fmla="*/ 489532 h 1855816"/>
              <a:gd name="connsiteX49" fmla="*/ 2838893 w 3684182"/>
              <a:gd name="connsiteY49" fmla="*/ 420421 h 1855816"/>
              <a:gd name="connsiteX50" fmla="*/ 2918638 w 3684182"/>
              <a:gd name="connsiteY50" fmla="*/ 372574 h 1855816"/>
              <a:gd name="connsiteX51" fmla="*/ 3046228 w 3684182"/>
              <a:gd name="connsiteY51" fmla="*/ 388523 h 1855816"/>
              <a:gd name="connsiteX52" fmla="*/ 3136605 w 3684182"/>
              <a:gd name="connsiteY52" fmla="*/ 431053 h 1855816"/>
              <a:gd name="connsiteX53" fmla="*/ 3285461 w 3684182"/>
              <a:gd name="connsiteY53" fmla="*/ 441686 h 1855816"/>
              <a:gd name="connsiteX54" fmla="*/ 3684182 w 3684182"/>
              <a:gd name="connsiteY54" fmla="*/ 420421 h 1855816"/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36135 w 3684182"/>
              <a:gd name="connsiteY35" fmla="*/ 207770 h 1855816"/>
              <a:gd name="connsiteX36" fmla="*/ 2019586 w 3684182"/>
              <a:gd name="connsiteY36" fmla="*/ 384071 h 1855816"/>
              <a:gd name="connsiteX37" fmla="*/ 2064251 w 3684182"/>
              <a:gd name="connsiteY37" fmla="*/ 463097 h 1855816"/>
              <a:gd name="connsiteX38" fmla="*/ 2211573 w 3684182"/>
              <a:gd name="connsiteY38" fmla="*/ 250300 h 1855816"/>
              <a:gd name="connsiteX39" fmla="*/ 2232838 w 3684182"/>
              <a:gd name="connsiteY39" fmla="*/ 308779 h 1855816"/>
              <a:gd name="connsiteX40" fmla="*/ 2243470 w 3684182"/>
              <a:gd name="connsiteY40" fmla="*/ 351309 h 1855816"/>
              <a:gd name="connsiteX41" fmla="*/ 2227521 w 3684182"/>
              <a:gd name="connsiteY41" fmla="*/ 431053 h 1855816"/>
              <a:gd name="connsiteX42" fmla="*/ 2259419 w 3684182"/>
              <a:gd name="connsiteY42" fmla="*/ 457635 h 1855816"/>
              <a:gd name="connsiteX43" fmla="*/ 2301949 w 3684182"/>
              <a:gd name="connsiteY43" fmla="*/ 489532 h 1855816"/>
              <a:gd name="connsiteX44" fmla="*/ 2349796 w 3684182"/>
              <a:gd name="connsiteY44" fmla="*/ 542695 h 1855816"/>
              <a:gd name="connsiteX45" fmla="*/ 2402959 w 3684182"/>
              <a:gd name="connsiteY45" fmla="*/ 574593 h 1855816"/>
              <a:gd name="connsiteX46" fmla="*/ 2461438 w 3684182"/>
              <a:gd name="connsiteY46" fmla="*/ 574593 h 1855816"/>
              <a:gd name="connsiteX47" fmla="*/ 2535866 w 3684182"/>
              <a:gd name="connsiteY47" fmla="*/ 542695 h 1855816"/>
              <a:gd name="connsiteX48" fmla="*/ 2663456 w 3684182"/>
              <a:gd name="connsiteY48" fmla="*/ 489532 h 1855816"/>
              <a:gd name="connsiteX49" fmla="*/ 2838893 w 3684182"/>
              <a:gd name="connsiteY49" fmla="*/ 420421 h 1855816"/>
              <a:gd name="connsiteX50" fmla="*/ 2918638 w 3684182"/>
              <a:gd name="connsiteY50" fmla="*/ 372574 h 1855816"/>
              <a:gd name="connsiteX51" fmla="*/ 3046228 w 3684182"/>
              <a:gd name="connsiteY51" fmla="*/ 388523 h 1855816"/>
              <a:gd name="connsiteX52" fmla="*/ 3136605 w 3684182"/>
              <a:gd name="connsiteY52" fmla="*/ 431053 h 1855816"/>
              <a:gd name="connsiteX53" fmla="*/ 3285461 w 3684182"/>
              <a:gd name="connsiteY53" fmla="*/ 441686 h 1855816"/>
              <a:gd name="connsiteX54" fmla="*/ 3684182 w 3684182"/>
              <a:gd name="connsiteY54" fmla="*/ 420421 h 1855816"/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09353 w 3684182"/>
              <a:gd name="connsiteY35" fmla="*/ 282406 h 1855816"/>
              <a:gd name="connsiteX36" fmla="*/ 2019586 w 3684182"/>
              <a:gd name="connsiteY36" fmla="*/ 384071 h 1855816"/>
              <a:gd name="connsiteX37" fmla="*/ 2064251 w 3684182"/>
              <a:gd name="connsiteY37" fmla="*/ 463097 h 1855816"/>
              <a:gd name="connsiteX38" fmla="*/ 2211573 w 3684182"/>
              <a:gd name="connsiteY38" fmla="*/ 250300 h 1855816"/>
              <a:gd name="connsiteX39" fmla="*/ 2232838 w 3684182"/>
              <a:gd name="connsiteY39" fmla="*/ 308779 h 1855816"/>
              <a:gd name="connsiteX40" fmla="*/ 2243470 w 3684182"/>
              <a:gd name="connsiteY40" fmla="*/ 351309 h 1855816"/>
              <a:gd name="connsiteX41" fmla="*/ 2227521 w 3684182"/>
              <a:gd name="connsiteY41" fmla="*/ 431053 h 1855816"/>
              <a:gd name="connsiteX42" fmla="*/ 2259419 w 3684182"/>
              <a:gd name="connsiteY42" fmla="*/ 457635 h 1855816"/>
              <a:gd name="connsiteX43" fmla="*/ 2301949 w 3684182"/>
              <a:gd name="connsiteY43" fmla="*/ 489532 h 1855816"/>
              <a:gd name="connsiteX44" fmla="*/ 2349796 w 3684182"/>
              <a:gd name="connsiteY44" fmla="*/ 542695 h 1855816"/>
              <a:gd name="connsiteX45" fmla="*/ 2402959 w 3684182"/>
              <a:gd name="connsiteY45" fmla="*/ 574593 h 1855816"/>
              <a:gd name="connsiteX46" fmla="*/ 2461438 w 3684182"/>
              <a:gd name="connsiteY46" fmla="*/ 574593 h 1855816"/>
              <a:gd name="connsiteX47" fmla="*/ 2535866 w 3684182"/>
              <a:gd name="connsiteY47" fmla="*/ 542695 h 1855816"/>
              <a:gd name="connsiteX48" fmla="*/ 2663456 w 3684182"/>
              <a:gd name="connsiteY48" fmla="*/ 489532 h 1855816"/>
              <a:gd name="connsiteX49" fmla="*/ 2838893 w 3684182"/>
              <a:gd name="connsiteY49" fmla="*/ 420421 h 1855816"/>
              <a:gd name="connsiteX50" fmla="*/ 2918638 w 3684182"/>
              <a:gd name="connsiteY50" fmla="*/ 372574 h 1855816"/>
              <a:gd name="connsiteX51" fmla="*/ 3046228 w 3684182"/>
              <a:gd name="connsiteY51" fmla="*/ 388523 h 1855816"/>
              <a:gd name="connsiteX52" fmla="*/ 3136605 w 3684182"/>
              <a:gd name="connsiteY52" fmla="*/ 431053 h 1855816"/>
              <a:gd name="connsiteX53" fmla="*/ 3285461 w 3684182"/>
              <a:gd name="connsiteY53" fmla="*/ 441686 h 1855816"/>
              <a:gd name="connsiteX54" fmla="*/ 3684182 w 3684182"/>
              <a:gd name="connsiteY54" fmla="*/ 420421 h 1855816"/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09353 w 3684182"/>
              <a:gd name="connsiteY35" fmla="*/ 282406 h 1855816"/>
              <a:gd name="connsiteX36" fmla="*/ 2019586 w 3684182"/>
              <a:gd name="connsiteY36" fmla="*/ 384071 h 1855816"/>
              <a:gd name="connsiteX37" fmla="*/ 2064251 w 3684182"/>
              <a:gd name="connsiteY37" fmla="*/ 463097 h 1855816"/>
              <a:gd name="connsiteX38" fmla="*/ 2146532 w 3684182"/>
              <a:gd name="connsiteY38" fmla="*/ 500550 h 1855816"/>
              <a:gd name="connsiteX39" fmla="*/ 2232838 w 3684182"/>
              <a:gd name="connsiteY39" fmla="*/ 308779 h 1855816"/>
              <a:gd name="connsiteX40" fmla="*/ 2243470 w 3684182"/>
              <a:gd name="connsiteY40" fmla="*/ 351309 h 1855816"/>
              <a:gd name="connsiteX41" fmla="*/ 2227521 w 3684182"/>
              <a:gd name="connsiteY41" fmla="*/ 431053 h 1855816"/>
              <a:gd name="connsiteX42" fmla="*/ 2259419 w 3684182"/>
              <a:gd name="connsiteY42" fmla="*/ 457635 h 1855816"/>
              <a:gd name="connsiteX43" fmla="*/ 2301949 w 3684182"/>
              <a:gd name="connsiteY43" fmla="*/ 489532 h 1855816"/>
              <a:gd name="connsiteX44" fmla="*/ 2349796 w 3684182"/>
              <a:gd name="connsiteY44" fmla="*/ 542695 h 1855816"/>
              <a:gd name="connsiteX45" fmla="*/ 2402959 w 3684182"/>
              <a:gd name="connsiteY45" fmla="*/ 574593 h 1855816"/>
              <a:gd name="connsiteX46" fmla="*/ 2461438 w 3684182"/>
              <a:gd name="connsiteY46" fmla="*/ 574593 h 1855816"/>
              <a:gd name="connsiteX47" fmla="*/ 2535866 w 3684182"/>
              <a:gd name="connsiteY47" fmla="*/ 542695 h 1855816"/>
              <a:gd name="connsiteX48" fmla="*/ 2663456 w 3684182"/>
              <a:gd name="connsiteY48" fmla="*/ 489532 h 1855816"/>
              <a:gd name="connsiteX49" fmla="*/ 2838893 w 3684182"/>
              <a:gd name="connsiteY49" fmla="*/ 420421 h 1855816"/>
              <a:gd name="connsiteX50" fmla="*/ 2918638 w 3684182"/>
              <a:gd name="connsiteY50" fmla="*/ 372574 h 1855816"/>
              <a:gd name="connsiteX51" fmla="*/ 3046228 w 3684182"/>
              <a:gd name="connsiteY51" fmla="*/ 388523 h 1855816"/>
              <a:gd name="connsiteX52" fmla="*/ 3136605 w 3684182"/>
              <a:gd name="connsiteY52" fmla="*/ 431053 h 1855816"/>
              <a:gd name="connsiteX53" fmla="*/ 3285461 w 3684182"/>
              <a:gd name="connsiteY53" fmla="*/ 441686 h 1855816"/>
              <a:gd name="connsiteX54" fmla="*/ 3684182 w 3684182"/>
              <a:gd name="connsiteY54" fmla="*/ 420421 h 1855816"/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09353 w 3684182"/>
              <a:gd name="connsiteY35" fmla="*/ 282406 h 1855816"/>
              <a:gd name="connsiteX36" fmla="*/ 2019586 w 3684182"/>
              <a:gd name="connsiteY36" fmla="*/ 384071 h 1855816"/>
              <a:gd name="connsiteX37" fmla="*/ 2064251 w 3684182"/>
              <a:gd name="connsiteY37" fmla="*/ 463097 h 1855816"/>
              <a:gd name="connsiteX38" fmla="*/ 2146532 w 3684182"/>
              <a:gd name="connsiteY38" fmla="*/ 500550 h 1855816"/>
              <a:gd name="connsiteX39" fmla="*/ 2163971 w 3684182"/>
              <a:gd name="connsiteY39" fmla="*/ 545859 h 1855816"/>
              <a:gd name="connsiteX40" fmla="*/ 2243470 w 3684182"/>
              <a:gd name="connsiteY40" fmla="*/ 351309 h 1855816"/>
              <a:gd name="connsiteX41" fmla="*/ 2227521 w 3684182"/>
              <a:gd name="connsiteY41" fmla="*/ 431053 h 1855816"/>
              <a:gd name="connsiteX42" fmla="*/ 2259419 w 3684182"/>
              <a:gd name="connsiteY42" fmla="*/ 457635 h 1855816"/>
              <a:gd name="connsiteX43" fmla="*/ 2301949 w 3684182"/>
              <a:gd name="connsiteY43" fmla="*/ 489532 h 1855816"/>
              <a:gd name="connsiteX44" fmla="*/ 2349796 w 3684182"/>
              <a:gd name="connsiteY44" fmla="*/ 542695 h 1855816"/>
              <a:gd name="connsiteX45" fmla="*/ 2402959 w 3684182"/>
              <a:gd name="connsiteY45" fmla="*/ 574593 h 1855816"/>
              <a:gd name="connsiteX46" fmla="*/ 2461438 w 3684182"/>
              <a:gd name="connsiteY46" fmla="*/ 574593 h 1855816"/>
              <a:gd name="connsiteX47" fmla="*/ 2535866 w 3684182"/>
              <a:gd name="connsiteY47" fmla="*/ 542695 h 1855816"/>
              <a:gd name="connsiteX48" fmla="*/ 2663456 w 3684182"/>
              <a:gd name="connsiteY48" fmla="*/ 489532 h 1855816"/>
              <a:gd name="connsiteX49" fmla="*/ 2838893 w 3684182"/>
              <a:gd name="connsiteY49" fmla="*/ 420421 h 1855816"/>
              <a:gd name="connsiteX50" fmla="*/ 2918638 w 3684182"/>
              <a:gd name="connsiteY50" fmla="*/ 372574 h 1855816"/>
              <a:gd name="connsiteX51" fmla="*/ 3046228 w 3684182"/>
              <a:gd name="connsiteY51" fmla="*/ 388523 h 1855816"/>
              <a:gd name="connsiteX52" fmla="*/ 3136605 w 3684182"/>
              <a:gd name="connsiteY52" fmla="*/ 431053 h 1855816"/>
              <a:gd name="connsiteX53" fmla="*/ 3285461 w 3684182"/>
              <a:gd name="connsiteY53" fmla="*/ 441686 h 1855816"/>
              <a:gd name="connsiteX54" fmla="*/ 3684182 w 3684182"/>
              <a:gd name="connsiteY54" fmla="*/ 420421 h 1855816"/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09353 w 3684182"/>
              <a:gd name="connsiteY35" fmla="*/ 282406 h 1855816"/>
              <a:gd name="connsiteX36" fmla="*/ 2019586 w 3684182"/>
              <a:gd name="connsiteY36" fmla="*/ 384071 h 1855816"/>
              <a:gd name="connsiteX37" fmla="*/ 2064251 w 3684182"/>
              <a:gd name="connsiteY37" fmla="*/ 463097 h 1855816"/>
              <a:gd name="connsiteX38" fmla="*/ 2146532 w 3684182"/>
              <a:gd name="connsiteY38" fmla="*/ 500550 h 1855816"/>
              <a:gd name="connsiteX39" fmla="*/ 2163971 w 3684182"/>
              <a:gd name="connsiteY39" fmla="*/ 545859 h 1855816"/>
              <a:gd name="connsiteX40" fmla="*/ 2243470 w 3684182"/>
              <a:gd name="connsiteY40" fmla="*/ 351309 h 1855816"/>
              <a:gd name="connsiteX41" fmla="*/ 2238998 w 3684182"/>
              <a:gd name="connsiteY41" fmla="*/ 584715 h 1855816"/>
              <a:gd name="connsiteX42" fmla="*/ 2259419 w 3684182"/>
              <a:gd name="connsiteY42" fmla="*/ 457635 h 1855816"/>
              <a:gd name="connsiteX43" fmla="*/ 2301949 w 3684182"/>
              <a:gd name="connsiteY43" fmla="*/ 489532 h 1855816"/>
              <a:gd name="connsiteX44" fmla="*/ 2349796 w 3684182"/>
              <a:gd name="connsiteY44" fmla="*/ 542695 h 1855816"/>
              <a:gd name="connsiteX45" fmla="*/ 2402959 w 3684182"/>
              <a:gd name="connsiteY45" fmla="*/ 574593 h 1855816"/>
              <a:gd name="connsiteX46" fmla="*/ 2461438 w 3684182"/>
              <a:gd name="connsiteY46" fmla="*/ 574593 h 1855816"/>
              <a:gd name="connsiteX47" fmla="*/ 2535866 w 3684182"/>
              <a:gd name="connsiteY47" fmla="*/ 542695 h 1855816"/>
              <a:gd name="connsiteX48" fmla="*/ 2663456 w 3684182"/>
              <a:gd name="connsiteY48" fmla="*/ 489532 h 1855816"/>
              <a:gd name="connsiteX49" fmla="*/ 2838893 w 3684182"/>
              <a:gd name="connsiteY49" fmla="*/ 420421 h 1855816"/>
              <a:gd name="connsiteX50" fmla="*/ 2918638 w 3684182"/>
              <a:gd name="connsiteY50" fmla="*/ 372574 h 1855816"/>
              <a:gd name="connsiteX51" fmla="*/ 3046228 w 3684182"/>
              <a:gd name="connsiteY51" fmla="*/ 388523 h 1855816"/>
              <a:gd name="connsiteX52" fmla="*/ 3136605 w 3684182"/>
              <a:gd name="connsiteY52" fmla="*/ 431053 h 1855816"/>
              <a:gd name="connsiteX53" fmla="*/ 3285461 w 3684182"/>
              <a:gd name="connsiteY53" fmla="*/ 441686 h 1855816"/>
              <a:gd name="connsiteX54" fmla="*/ 3684182 w 3684182"/>
              <a:gd name="connsiteY54" fmla="*/ 420421 h 1855816"/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09353 w 3684182"/>
              <a:gd name="connsiteY35" fmla="*/ 282406 h 1855816"/>
              <a:gd name="connsiteX36" fmla="*/ 2019586 w 3684182"/>
              <a:gd name="connsiteY36" fmla="*/ 384071 h 1855816"/>
              <a:gd name="connsiteX37" fmla="*/ 2064251 w 3684182"/>
              <a:gd name="connsiteY37" fmla="*/ 463097 h 1855816"/>
              <a:gd name="connsiteX38" fmla="*/ 2146532 w 3684182"/>
              <a:gd name="connsiteY38" fmla="*/ 500550 h 1855816"/>
              <a:gd name="connsiteX39" fmla="*/ 2163971 w 3684182"/>
              <a:gd name="connsiteY39" fmla="*/ 545859 h 1855816"/>
              <a:gd name="connsiteX40" fmla="*/ 2201385 w 3684182"/>
              <a:gd name="connsiteY40" fmla="*/ 557655 h 1855816"/>
              <a:gd name="connsiteX41" fmla="*/ 2238998 w 3684182"/>
              <a:gd name="connsiteY41" fmla="*/ 584715 h 1855816"/>
              <a:gd name="connsiteX42" fmla="*/ 2259419 w 3684182"/>
              <a:gd name="connsiteY42" fmla="*/ 457635 h 1855816"/>
              <a:gd name="connsiteX43" fmla="*/ 2301949 w 3684182"/>
              <a:gd name="connsiteY43" fmla="*/ 489532 h 1855816"/>
              <a:gd name="connsiteX44" fmla="*/ 2349796 w 3684182"/>
              <a:gd name="connsiteY44" fmla="*/ 542695 h 1855816"/>
              <a:gd name="connsiteX45" fmla="*/ 2402959 w 3684182"/>
              <a:gd name="connsiteY45" fmla="*/ 574593 h 1855816"/>
              <a:gd name="connsiteX46" fmla="*/ 2461438 w 3684182"/>
              <a:gd name="connsiteY46" fmla="*/ 574593 h 1855816"/>
              <a:gd name="connsiteX47" fmla="*/ 2535866 w 3684182"/>
              <a:gd name="connsiteY47" fmla="*/ 542695 h 1855816"/>
              <a:gd name="connsiteX48" fmla="*/ 2663456 w 3684182"/>
              <a:gd name="connsiteY48" fmla="*/ 489532 h 1855816"/>
              <a:gd name="connsiteX49" fmla="*/ 2838893 w 3684182"/>
              <a:gd name="connsiteY49" fmla="*/ 420421 h 1855816"/>
              <a:gd name="connsiteX50" fmla="*/ 2918638 w 3684182"/>
              <a:gd name="connsiteY50" fmla="*/ 372574 h 1855816"/>
              <a:gd name="connsiteX51" fmla="*/ 3046228 w 3684182"/>
              <a:gd name="connsiteY51" fmla="*/ 388523 h 1855816"/>
              <a:gd name="connsiteX52" fmla="*/ 3136605 w 3684182"/>
              <a:gd name="connsiteY52" fmla="*/ 431053 h 1855816"/>
              <a:gd name="connsiteX53" fmla="*/ 3285461 w 3684182"/>
              <a:gd name="connsiteY53" fmla="*/ 441686 h 1855816"/>
              <a:gd name="connsiteX54" fmla="*/ 3684182 w 3684182"/>
              <a:gd name="connsiteY54" fmla="*/ 420421 h 1855816"/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09353 w 3684182"/>
              <a:gd name="connsiteY35" fmla="*/ 282406 h 1855816"/>
              <a:gd name="connsiteX36" fmla="*/ 2019586 w 3684182"/>
              <a:gd name="connsiteY36" fmla="*/ 384071 h 1855816"/>
              <a:gd name="connsiteX37" fmla="*/ 2064251 w 3684182"/>
              <a:gd name="connsiteY37" fmla="*/ 463097 h 1855816"/>
              <a:gd name="connsiteX38" fmla="*/ 2146532 w 3684182"/>
              <a:gd name="connsiteY38" fmla="*/ 500550 h 1855816"/>
              <a:gd name="connsiteX39" fmla="*/ 2163971 w 3684182"/>
              <a:gd name="connsiteY39" fmla="*/ 545859 h 1855816"/>
              <a:gd name="connsiteX40" fmla="*/ 2201385 w 3684182"/>
              <a:gd name="connsiteY40" fmla="*/ 557655 h 1855816"/>
              <a:gd name="connsiteX41" fmla="*/ 2238998 w 3684182"/>
              <a:gd name="connsiteY41" fmla="*/ 584715 h 1855816"/>
              <a:gd name="connsiteX42" fmla="*/ 2278549 w 3684182"/>
              <a:gd name="connsiteY42" fmla="*/ 593735 h 1855816"/>
              <a:gd name="connsiteX43" fmla="*/ 2301949 w 3684182"/>
              <a:gd name="connsiteY43" fmla="*/ 489532 h 1855816"/>
              <a:gd name="connsiteX44" fmla="*/ 2349796 w 3684182"/>
              <a:gd name="connsiteY44" fmla="*/ 542695 h 1855816"/>
              <a:gd name="connsiteX45" fmla="*/ 2402959 w 3684182"/>
              <a:gd name="connsiteY45" fmla="*/ 574593 h 1855816"/>
              <a:gd name="connsiteX46" fmla="*/ 2461438 w 3684182"/>
              <a:gd name="connsiteY46" fmla="*/ 574593 h 1855816"/>
              <a:gd name="connsiteX47" fmla="*/ 2535866 w 3684182"/>
              <a:gd name="connsiteY47" fmla="*/ 542695 h 1855816"/>
              <a:gd name="connsiteX48" fmla="*/ 2663456 w 3684182"/>
              <a:gd name="connsiteY48" fmla="*/ 489532 h 1855816"/>
              <a:gd name="connsiteX49" fmla="*/ 2838893 w 3684182"/>
              <a:gd name="connsiteY49" fmla="*/ 420421 h 1855816"/>
              <a:gd name="connsiteX50" fmla="*/ 2918638 w 3684182"/>
              <a:gd name="connsiteY50" fmla="*/ 372574 h 1855816"/>
              <a:gd name="connsiteX51" fmla="*/ 3046228 w 3684182"/>
              <a:gd name="connsiteY51" fmla="*/ 388523 h 1855816"/>
              <a:gd name="connsiteX52" fmla="*/ 3136605 w 3684182"/>
              <a:gd name="connsiteY52" fmla="*/ 431053 h 1855816"/>
              <a:gd name="connsiteX53" fmla="*/ 3285461 w 3684182"/>
              <a:gd name="connsiteY53" fmla="*/ 441686 h 1855816"/>
              <a:gd name="connsiteX54" fmla="*/ 3684182 w 3684182"/>
              <a:gd name="connsiteY54" fmla="*/ 420421 h 1855816"/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09353 w 3684182"/>
              <a:gd name="connsiteY35" fmla="*/ 282406 h 1855816"/>
              <a:gd name="connsiteX36" fmla="*/ 2019586 w 3684182"/>
              <a:gd name="connsiteY36" fmla="*/ 384071 h 1855816"/>
              <a:gd name="connsiteX37" fmla="*/ 2064251 w 3684182"/>
              <a:gd name="connsiteY37" fmla="*/ 463097 h 1855816"/>
              <a:gd name="connsiteX38" fmla="*/ 2146532 w 3684182"/>
              <a:gd name="connsiteY38" fmla="*/ 500550 h 1855816"/>
              <a:gd name="connsiteX39" fmla="*/ 2163971 w 3684182"/>
              <a:gd name="connsiteY39" fmla="*/ 545859 h 1855816"/>
              <a:gd name="connsiteX40" fmla="*/ 2201385 w 3684182"/>
              <a:gd name="connsiteY40" fmla="*/ 557655 h 1855816"/>
              <a:gd name="connsiteX41" fmla="*/ 2238998 w 3684182"/>
              <a:gd name="connsiteY41" fmla="*/ 584715 h 1855816"/>
              <a:gd name="connsiteX42" fmla="*/ 2278549 w 3684182"/>
              <a:gd name="connsiteY42" fmla="*/ 593735 h 1855816"/>
              <a:gd name="connsiteX43" fmla="*/ 2328730 w 3684182"/>
              <a:gd name="connsiteY43" fmla="*/ 599292 h 1855816"/>
              <a:gd name="connsiteX44" fmla="*/ 2349796 w 3684182"/>
              <a:gd name="connsiteY44" fmla="*/ 542695 h 1855816"/>
              <a:gd name="connsiteX45" fmla="*/ 2402959 w 3684182"/>
              <a:gd name="connsiteY45" fmla="*/ 574593 h 1855816"/>
              <a:gd name="connsiteX46" fmla="*/ 2461438 w 3684182"/>
              <a:gd name="connsiteY46" fmla="*/ 574593 h 1855816"/>
              <a:gd name="connsiteX47" fmla="*/ 2535866 w 3684182"/>
              <a:gd name="connsiteY47" fmla="*/ 542695 h 1855816"/>
              <a:gd name="connsiteX48" fmla="*/ 2663456 w 3684182"/>
              <a:gd name="connsiteY48" fmla="*/ 489532 h 1855816"/>
              <a:gd name="connsiteX49" fmla="*/ 2838893 w 3684182"/>
              <a:gd name="connsiteY49" fmla="*/ 420421 h 1855816"/>
              <a:gd name="connsiteX50" fmla="*/ 2918638 w 3684182"/>
              <a:gd name="connsiteY50" fmla="*/ 372574 h 1855816"/>
              <a:gd name="connsiteX51" fmla="*/ 3046228 w 3684182"/>
              <a:gd name="connsiteY51" fmla="*/ 388523 h 1855816"/>
              <a:gd name="connsiteX52" fmla="*/ 3136605 w 3684182"/>
              <a:gd name="connsiteY52" fmla="*/ 431053 h 1855816"/>
              <a:gd name="connsiteX53" fmla="*/ 3285461 w 3684182"/>
              <a:gd name="connsiteY53" fmla="*/ 441686 h 1855816"/>
              <a:gd name="connsiteX54" fmla="*/ 3684182 w 3684182"/>
              <a:gd name="connsiteY54" fmla="*/ 420421 h 1855816"/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09353 w 3684182"/>
              <a:gd name="connsiteY35" fmla="*/ 282406 h 1855816"/>
              <a:gd name="connsiteX36" fmla="*/ 2019586 w 3684182"/>
              <a:gd name="connsiteY36" fmla="*/ 384071 h 1855816"/>
              <a:gd name="connsiteX37" fmla="*/ 2064251 w 3684182"/>
              <a:gd name="connsiteY37" fmla="*/ 463097 h 1855816"/>
              <a:gd name="connsiteX38" fmla="*/ 2146532 w 3684182"/>
              <a:gd name="connsiteY38" fmla="*/ 500550 h 1855816"/>
              <a:gd name="connsiteX39" fmla="*/ 2163971 w 3684182"/>
              <a:gd name="connsiteY39" fmla="*/ 545859 h 1855816"/>
              <a:gd name="connsiteX40" fmla="*/ 2201385 w 3684182"/>
              <a:gd name="connsiteY40" fmla="*/ 557655 h 1855816"/>
              <a:gd name="connsiteX41" fmla="*/ 2238998 w 3684182"/>
              <a:gd name="connsiteY41" fmla="*/ 584715 h 1855816"/>
              <a:gd name="connsiteX42" fmla="*/ 2278549 w 3684182"/>
              <a:gd name="connsiteY42" fmla="*/ 593735 h 1855816"/>
              <a:gd name="connsiteX43" fmla="*/ 2328730 w 3684182"/>
              <a:gd name="connsiteY43" fmla="*/ 599292 h 1855816"/>
              <a:gd name="connsiteX44" fmla="*/ 2365099 w 3684182"/>
              <a:gd name="connsiteY44" fmla="*/ 595379 h 1855816"/>
              <a:gd name="connsiteX45" fmla="*/ 2402959 w 3684182"/>
              <a:gd name="connsiteY45" fmla="*/ 574593 h 1855816"/>
              <a:gd name="connsiteX46" fmla="*/ 2461438 w 3684182"/>
              <a:gd name="connsiteY46" fmla="*/ 574593 h 1855816"/>
              <a:gd name="connsiteX47" fmla="*/ 2535866 w 3684182"/>
              <a:gd name="connsiteY47" fmla="*/ 542695 h 1855816"/>
              <a:gd name="connsiteX48" fmla="*/ 2663456 w 3684182"/>
              <a:gd name="connsiteY48" fmla="*/ 489532 h 1855816"/>
              <a:gd name="connsiteX49" fmla="*/ 2838893 w 3684182"/>
              <a:gd name="connsiteY49" fmla="*/ 420421 h 1855816"/>
              <a:gd name="connsiteX50" fmla="*/ 2918638 w 3684182"/>
              <a:gd name="connsiteY50" fmla="*/ 372574 h 1855816"/>
              <a:gd name="connsiteX51" fmla="*/ 3046228 w 3684182"/>
              <a:gd name="connsiteY51" fmla="*/ 388523 h 1855816"/>
              <a:gd name="connsiteX52" fmla="*/ 3136605 w 3684182"/>
              <a:gd name="connsiteY52" fmla="*/ 431053 h 1855816"/>
              <a:gd name="connsiteX53" fmla="*/ 3285461 w 3684182"/>
              <a:gd name="connsiteY53" fmla="*/ 441686 h 1855816"/>
              <a:gd name="connsiteX54" fmla="*/ 3684182 w 3684182"/>
              <a:gd name="connsiteY54" fmla="*/ 420421 h 1855816"/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09353 w 3684182"/>
              <a:gd name="connsiteY35" fmla="*/ 282406 h 1855816"/>
              <a:gd name="connsiteX36" fmla="*/ 2019586 w 3684182"/>
              <a:gd name="connsiteY36" fmla="*/ 384071 h 1855816"/>
              <a:gd name="connsiteX37" fmla="*/ 2064251 w 3684182"/>
              <a:gd name="connsiteY37" fmla="*/ 463097 h 1855816"/>
              <a:gd name="connsiteX38" fmla="*/ 2135054 w 3684182"/>
              <a:gd name="connsiteY38" fmla="*/ 531282 h 1855816"/>
              <a:gd name="connsiteX39" fmla="*/ 2163971 w 3684182"/>
              <a:gd name="connsiteY39" fmla="*/ 545859 h 1855816"/>
              <a:gd name="connsiteX40" fmla="*/ 2201385 w 3684182"/>
              <a:gd name="connsiteY40" fmla="*/ 557655 h 1855816"/>
              <a:gd name="connsiteX41" fmla="*/ 2238998 w 3684182"/>
              <a:gd name="connsiteY41" fmla="*/ 584715 h 1855816"/>
              <a:gd name="connsiteX42" fmla="*/ 2278549 w 3684182"/>
              <a:gd name="connsiteY42" fmla="*/ 593735 h 1855816"/>
              <a:gd name="connsiteX43" fmla="*/ 2328730 w 3684182"/>
              <a:gd name="connsiteY43" fmla="*/ 599292 h 1855816"/>
              <a:gd name="connsiteX44" fmla="*/ 2365099 w 3684182"/>
              <a:gd name="connsiteY44" fmla="*/ 595379 h 1855816"/>
              <a:gd name="connsiteX45" fmla="*/ 2402959 w 3684182"/>
              <a:gd name="connsiteY45" fmla="*/ 574593 h 1855816"/>
              <a:gd name="connsiteX46" fmla="*/ 2461438 w 3684182"/>
              <a:gd name="connsiteY46" fmla="*/ 574593 h 1855816"/>
              <a:gd name="connsiteX47" fmla="*/ 2535866 w 3684182"/>
              <a:gd name="connsiteY47" fmla="*/ 542695 h 1855816"/>
              <a:gd name="connsiteX48" fmla="*/ 2663456 w 3684182"/>
              <a:gd name="connsiteY48" fmla="*/ 489532 h 1855816"/>
              <a:gd name="connsiteX49" fmla="*/ 2838893 w 3684182"/>
              <a:gd name="connsiteY49" fmla="*/ 420421 h 1855816"/>
              <a:gd name="connsiteX50" fmla="*/ 2918638 w 3684182"/>
              <a:gd name="connsiteY50" fmla="*/ 372574 h 1855816"/>
              <a:gd name="connsiteX51" fmla="*/ 3046228 w 3684182"/>
              <a:gd name="connsiteY51" fmla="*/ 388523 h 1855816"/>
              <a:gd name="connsiteX52" fmla="*/ 3136605 w 3684182"/>
              <a:gd name="connsiteY52" fmla="*/ 431053 h 1855816"/>
              <a:gd name="connsiteX53" fmla="*/ 3285461 w 3684182"/>
              <a:gd name="connsiteY53" fmla="*/ 441686 h 1855816"/>
              <a:gd name="connsiteX54" fmla="*/ 3684182 w 3684182"/>
              <a:gd name="connsiteY54" fmla="*/ 420421 h 1855816"/>
              <a:gd name="connsiteX0" fmla="*/ 0 w 3684182"/>
              <a:gd name="connsiteY0" fmla="*/ 1855816 h 1855816"/>
              <a:gd name="connsiteX1" fmla="*/ 111642 w 3684182"/>
              <a:gd name="connsiteY1" fmla="*/ 1728225 h 1855816"/>
              <a:gd name="connsiteX2" fmla="*/ 207335 w 3684182"/>
              <a:gd name="connsiteY2" fmla="*/ 1621900 h 1855816"/>
              <a:gd name="connsiteX3" fmla="*/ 244549 w 3684182"/>
              <a:gd name="connsiteY3" fmla="*/ 1574053 h 1855816"/>
              <a:gd name="connsiteX4" fmla="*/ 281763 w 3684182"/>
              <a:gd name="connsiteY4" fmla="*/ 1478360 h 1855816"/>
              <a:gd name="connsiteX5" fmla="*/ 329610 w 3684182"/>
              <a:gd name="connsiteY5" fmla="*/ 1409249 h 1855816"/>
              <a:gd name="connsiteX6" fmla="*/ 435935 w 3684182"/>
              <a:gd name="connsiteY6" fmla="*/ 1340137 h 1855816"/>
              <a:gd name="connsiteX7" fmla="*/ 478466 w 3684182"/>
              <a:gd name="connsiteY7" fmla="*/ 1318872 h 1855816"/>
              <a:gd name="connsiteX8" fmla="*/ 558210 w 3684182"/>
              <a:gd name="connsiteY8" fmla="*/ 1340137 h 1855816"/>
              <a:gd name="connsiteX9" fmla="*/ 643270 w 3684182"/>
              <a:gd name="connsiteY9" fmla="*/ 1350770 h 1855816"/>
              <a:gd name="connsiteX10" fmla="*/ 701749 w 3684182"/>
              <a:gd name="connsiteY10" fmla="*/ 1356086 h 1855816"/>
              <a:gd name="connsiteX11" fmla="*/ 754912 w 3684182"/>
              <a:gd name="connsiteY11" fmla="*/ 1302923 h 1855816"/>
              <a:gd name="connsiteX12" fmla="*/ 802759 w 3684182"/>
              <a:gd name="connsiteY12" fmla="*/ 1276342 h 1855816"/>
              <a:gd name="connsiteX13" fmla="*/ 887819 w 3684182"/>
              <a:gd name="connsiteY13" fmla="*/ 1276342 h 1855816"/>
              <a:gd name="connsiteX14" fmla="*/ 956931 w 3684182"/>
              <a:gd name="connsiteY14" fmla="*/ 1244444 h 1855816"/>
              <a:gd name="connsiteX15" fmla="*/ 1041991 w 3684182"/>
              <a:gd name="connsiteY15" fmla="*/ 1207230 h 1855816"/>
              <a:gd name="connsiteX16" fmla="*/ 1121735 w 3684182"/>
              <a:gd name="connsiteY16" fmla="*/ 1132802 h 1855816"/>
              <a:gd name="connsiteX17" fmla="*/ 1185531 w 3684182"/>
              <a:gd name="connsiteY17" fmla="*/ 1015844 h 1855816"/>
              <a:gd name="connsiteX18" fmla="*/ 1233377 w 3684182"/>
              <a:gd name="connsiteY18" fmla="*/ 962681 h 1855816"/>
              <a:gd name="connsiteX19" fmla="*/ 1270591 w 3684182"/>
              <a:gd name="connsiteY19" fmla="*/ 882937 h 1855816"/>
              <a:gd name="connsiteX20" fmla="*/ 1318438 w 3684182"/>
              <a:gd name="connsiteY20" fmla="*/ 840407 h 1855816"/>
              <a:gd name="connsiteX21" fmla="*/ 1355652 w 3684182"/>
              <a:gd name="connsiteY21" fmla="*/ 739398 h 1855816"/>
              <a:gd name="connsiteX22" fmla="*/ 1371600 w 3684182"/>
              <a:gd name="connsiteY22" fmla="*/ 686235 h 1855816"/>
              <a:gd name="connsiteX23" fmla="*/ 1440712 w 3684182"/>
              <a:gd name="connsiteY23" fmla="*/ 617123 h 1855816"/>
              <a:gd name="connsiteX24" fmla="*/ 1499191 w 3684182"/>
              <a:gd name="connsiteY24" fmla="*/ 585225 h 1855816"/>
              <a:gd name="connsiteX25" fmla="*/ 1499191 w 3684182"/>
              <a:gd name="connsiteY25" fmla="*/ 473584 h 1855816"/>
              <a:gd name="connsiteX26" fmla="*/ 1493875 w 3684182"/>
              <a:gd name="connsiteY26" fmla="*/ 377891 h 1855816"/>
              <a:gd name="connsiteX27" fmla="*/ 1531089 w 3684182"/>
              <a:gd name="connsiteY27" fmla="*/ 266249 h 1855816"/>
              <a:gd name="connsiteX28" fmla="*/ 1642731 w 3684182"/>
              <a:gd name="connsiteY28" fmla="*/ 250300 h 1855816"/>
              <a:gd name="connsiteX29" fmla="*/ 1701210 w 3684182"/>
              <a:gd name="connsiteY29" fmla="*/ 175872 h 1855816"/>
              <a:gd name="connsiteX30" fmla="*/ 1717159 w 3684182"/>
              <a:gd name="connsiteY30" fmla="*/ 80179 h 1855816"/>
              <a:gd name="connsiteX31" fmla="*/ 1786270 w 3684182"/>
              <a:gd name="connsiteY31" fmla="*/ 5751 h 1855816"/>
              <a:gd name="connsiteX32" fmla="*/ 1871331 w 3684182"/>
              <a:gd name="connsiteY32" fmla="*/ 16384 h 1855816"/>
              <a:gd name="connsiteX33" fmla="*/ 1945759 w 3684182"/>
              <a:gd name="connsiteY33" fmla="*/ 106760 h 1855816"/>
              <a:gd name="connsiteX34" fmla="*/ 1993605 w 3684182"/>
              <a:gd name="connsiteY34" fmla="*/ 218402 h 1855816"/>
              <a:gd name="connsiteX35" fmla="*/ 2009353 w 3684182"/>
              <a:gd name="connsiteY35" fmla="*/ 282406 h 1855816"/>
              <a:gd name="connsiteX36" fmla="*/ 2019586 w 3684182"/>
              <a:gd name="connsiteY36" fmla="*/ 384071 h 1855816"/>
              <a:gd name="connsiteX37" fmla="*/ 2064251 w 3684182"/>
              <a:gd name="connsiteY37" fmla="*/ 463097 h 1855816"/>
              <a:gd name="connsiteX38" fmla="*/ 2163971 w 3684182"/>
              <a:gd name="connsiteY38" fmla="*/ 545859 h 1855816"/>
              <a:gd name="connsiteX39" fmla="*/ 2201385 w 3684182"/>
              <a:gd name="connsiteY39" fmla="*/ 557655 h 1855816"/>
              <a:gd name="connsiteX40" fmla="*/ 2238998 w 3684182"/>
              <a:gd name="connsiteY40" fmla="*/ 584715 h 1855816"/>
              <a:gd name="connsiteX41" fmla="*/ 2278549 w 3684182"/>
              <a:gd name="connsiteY41" fmla="*/ 593735 h 1855816"/>
              <a:gd name="connsiteX42" fmla="*/ 2328730 w 3684182"/>
              <a:gd name="connsiteY42" fmla="*/ 599292 h 1855816"/>
              <a:gd name="connsiteX43" fmla="*/ 2365099 w 3684182"/>
              <a:gd name="connsiteY43" fmla="*/ 595379 h 1855816"/>
              <a:gd name="connsiteX44" fmla="*/ 2402959 w 3684182"/>
              <a:gd name="connsiteY44" fmla="*/ 574593 h 1855816"/>
              <a:gd name="connsiteX45" fmla="*/ 2461438 w 3684182"/>
              <a:gd name="connsiteY45" fmla="*/ 574593 h 1855816"/>
              <a:gd name="connsiteX46" fmla="*/ 2535866 w 3684182"/>
              <a:gd name="connsiteY46" fmla="*/ 542695 h 1855816"/>
              <a:gd name="connsiteX47" fmla="*/ 2663456 w 3684182"/>
              <a:gd name="connsiteY47" fmla="*/ 489532 h 1855816"/>
              <a:gd name="connsiteX48" fmla="*/ 2838893 w 3684182"/>
              <a:gd name="connsiteY48" fmla="*/ 420421 h 1855816"/>
              <a:gd name="connsiteX49" fmla="*/ 2918638 w 3684182"/>
              <a:gd name="connsiteY49" fmla="*/ 372574 h 1855816"/>
              <a:gd name="connsiteX50" fmla="*/ 3046228 w 3684182"/>
              <a:gd name="connsiteY50" fmla="*/ 388523 h 1855816"/>
              <a:gd name="connsiteX51" fmla="*/ 3136605 w 3684182"/>
              <a:gd name="connsiteY51" fmla="*/ 431053 h 1855816"/>
              <a:gd name="connsiteX52" fmla="*/ 3285461 w 3684182"/>
              <a:gd name="connsiteY52" fmla="*/ 441686 h 1855816"/>
              <a:gd name="connsiteX53" fmla="*/ 3684182 w 3684182"/>
              <a:gd name="connsiteY53" fmla="*/ 420421 h 1855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3684182" h="1855816">
                <a:moveTo>
                  <a:pt x="0" y="1855816"/>
                </a:moveTo>
                <a:lnTo>
                  <a:pt x="111642" y="1728225"/>
                </a:lnTo>
                <a:cubicBezTo>
                  <a:pt x="146198" y="1689239"/>
                  <a:pt x="185184" y="1647595"/>
                  <a:pt x="207335" y="1621900"/>
                </a:cubicBezTo>
                <a:cubicBezTo>
                  <a:pt x="229486" y="1596205"/>
                  <a:pt x="232144" y="1597976"/>
                  <a:pt x="244549" y="1574053"/>
                </a:cubicBezTo>
                <a:cubicBezTo>
                  <a:pt x="256954" y="1550130"/>
                  <a:pt x="267586" y="1505827"/>
                  <a:pt x="281763" y="1478360"/>
                </a:cubicBezTo>
                <a:cubicBezTo>
                  <a:pt x="295940" y="1450893"/>
                  <a:pt x="303915" y="1432286"/>
                  <a:pt x="329610" y="1409249"/>
                </a:cubicBezTo>
                <a:cubicBezTo>
                  <a:pt x="355305" y="1386212"/>
                  <a:pt x="411126" y="1355200"/>
                  <a:pt x="435935" y="1340137"/>
                </a:cubicBezTo>
                <a:cubicBezTo>
                  <a:pt x="460744" y="1325074"/>
                  <a:pt x="458087" y="1318872"/>
                  <a:pt x="478466" y="1318872"/>
                </a:cubicBezTo>
                <a:cubicBezTo>
                  <a:pt x="498845" y="1318872"/>
                  <a:pt x="530743" y="1334821"/>
                  <a:pt x="558210" y="1340137"/>
                </a:cubicBezTo>
                <a:cubicBezTo>
                  <a:pt x="585677" y="1345453"/>
                  <a:pt x="619347" y="1348112"/>
                  <a:pt x="643270" y="1350770"/>
                </a:cubicBezTo>
                <a:cubicBezTo>
                  <a:pt x="667193" y="1353428"/>
                  <a:pt x="683142" y="1364060"/>
                  <a:pt x="701749" y="1356086"/>
                </a:cubicBezTo>
                <a:cubicBezTo>
                  <a:pt x="720356" y="1348112"/>
                  <a:pt x="738077" y="1316214"/>
                  <a:pt x="754912" y="1302923"/>
                </a:cubicBezTo>
                <a:cubicBezTo>
                  <a:pt x="771747" y="1289632"/>
                  <a:pt x="780608" y="1280772"/>
                  <a:pt x="802759" y="1276342"/>
                </a:cubicBezTo>
                <a:cubicBezTo>
                  <a:pt x="824910" y="1271912"/>
                  <a:pt x="862124" y="1281658"/>
                  <a:pt x="887819" y="1276342"/>
                </a:cubicBezTo>
                <a:cubicBezTo>
                  <a:pt x="913514" y="1271026"/>
                  <a:pt x="931236" y="1255963"/>
                  <a:pt x="956931" y="1244444"/>
                </a:cubicBezTo>
                <a:cubicBezTo>
                  <a:pt x="982626" y="1232925"/>
                  <a:pt x="1014524" y="1225837"/>
                  <a:pt x="1041991" y="1207230"/>
                </a:cubicBezTo>
                <a:cubicBezTo>
                  <a:pt x="1069458" y="1188623"/>
                  <a:pt x="1097812" y="1164700"/>
                  <a:pt x="1121735" y="1132802"/>
                </a:cubicBezTo>
                <a:cubicBezTo>
                  <a:pt x="1145658" y="1100904"/>
                  <a:pt x="1166924" y="1044197"/>
                  <a:pt x="1185531" y="1015844"/>
                </a:cubicBezTo>
                <a:cubicBezTo>
                  <a:pt x="1204138" y="987490"/>
                  <a:pt x="1219200" y="984832"/>
                  <a:pt x="1233377" y="962681"/>
                </a:cubicBezTo>
                <a:cubicBezTo>
                  <a:pt x="1247554" y="940530"/>
                  <a:pt x="1256414" y="903316"/>
                  <a:pt x="1270591" y="882937"/>
                </a:cubicBezTo>
                <a:cubicBezTo>
                  <a:pt x="1284768" y="862558"/>
                  <a:pt x="1304261" y="864330"/>
                  <a:pt x="1318438" y="840407"/>
                </a:cubicBezTo>
                <a:cubicBezTo>
                  <a:pt x="1332615" y="816484"/>
                  <a:pt x="1346792" y="765093"/>
                  <a:pt x="1355652" y="739398"/>
                </a:cubicBezTo>
                <a:cubicBezTo>
                  <a:pt x="1364512" y="713703"/>
                  <a:pt x="1357423" y="706614"/>
                  <a:pt x="1371600" y="686235"/>
                </a:cubicBezTo>
                <a:cubicBezTo>
                  <a:pt x="1385777" y="665856"/>
                  <a:pt x="1419447" y="633958"/>
                  <a:pt x="1440712" y="617123"/>
                </a:cubicBezTo>
                <a:cubicBezTo>
                  <a:pt x="1461977" y="600288"/>
                  <a:pt x="1489445" y="609148"/>
                  <a:pt x="1499191" y="585225"/>
                </a:cubicBezTo>
                <a:cubicBezTo>
                  <a:pt x="1508937" y="561302"/>
                  <a:pt x="1500077" y="508140"/>
                  <a:pt x="1499191" y="473584"/>
                </a:cubicBezTo>
                <a:cubicBezTo>
                  <a:pt x="1498305" y="439028"/>
                  <a:pt x="1488559" y="412447"/>
                  <a:pt x="1493875" y="377891"/>
                </a:cubicBezTo>
                <a:cubicBezTo>
                  <a:pt x="1499191" y="343335"/>
                  <a:pt x="1506280" y="287514"/>
                  <a:pt x="1531089" y="266249"/>
                </a:cubicBezTo>
                <a:cubicBezTo>
                  <a:pt x="1555898" y="244984"/>
                  <a:pt x="1614377" y="265363"/>
                  <a:pt x="1642731" y="250300"/>
                </a:cubicBezTo>
                <a:cubicBezTo>
                  <a:pt x="1671085" y="235237"/>
                  <a:pt x="1688805" y="204225"/>
                  <a:pt x="1701210" y="175872"/>
                </a:cubicBezTo>
                <a:cubicBezTo>
                  <a:pt x="1713615" y="147519"/>
                  <a:pt x="1702982" y="108532"/>
                  <a:pt x="1717159" y="80179"/>
                </a:cubicBezTo>
                <a:cubicBezTo>
                  <a:pt x="1731336" y="51826"/>
                  <a:pt x="1760575" y="16383"/>
                  <a:pt x="1786270" y="5751"/>
                </a:cubicBezTo>
                <a:cubicBezTo>
                  <a:pt x="1811965" y="-4881"/>
                  <a:pt x="1844750" y="-451"/>
                  <a:pt x="1871331" y="16384"/>
                </a:cubicBezTo>
                <a:cubicBezTo>
                  <a:pt x="1897913" y="33219"/>
                  <a:pt x="1925380" y="73090"/>
                  <a:pt x="1945759" y="106760"/>
                </a:cubicBezTo>
                <a:cubicBezTo>
                  <a:pt x="1966138" y="140430"/>
                  <a:pt x="1983006" y="189128"/>
                  <a:pt x="1993605" y="218402"/>
                </a:cubicBezTo>
                <a:cubicBezTo>
                  <a:pt x="2004204" y="247676"/>
                  <a:pt x="2005023" y="254795"/>
                  <a:pt x="2009353" y="282406"/>
                </a:cubicBezTo>
                <a:cubicBezTo>
                  <a:pt x="2013683" y="310017"/>
                  <a:pt x="2010436" y="353956"/>
                  <a:pt x="2019586" y="384071"/>
                </a:cubicBezTo>
                <a:cubicBezTo>
                  <a:pt x="2028736" y="414186"/>
                  <a:pt x="2040187" y="436132"/>
                  <a:pt x="2064251" y="463097"/>
                </a:cubicBezTo>
                <a:cubicBezTo>
                  <a:pt x="2088315" y="490062"/>
                  <a:pt x="2141115" y="530099"/>
                  <a:pt x="2163971" y="545859"/>
                </a:cubicBezTo>
                <a:cubicBezTo>
                  <a:pt x="2186827" y="561619"/>
                  <a:pt x="2188881" y="551179"/>
                  <a:pt x="2201385" y="557655"/>
                </a:cubicBezTo>
                <a:cubicBezTo>
                  <a:pt x="2213890" y="564131"/>
                  <a:pt x="2226137" y="578702"/>
                  <a:pt x="2238998" y="584715"/>
                </a:cubicBezTo>
                <a:cubicBezTo>
                  <a:pt x="2251859" y="590728"/>
                  <a:pt x="2263594" y="591306"/>
                  <a:pt x="2278549" y="593735"/>
                </a:cubicBezTo>
                <a:cubicBezTo>
                  <a:pt x="2293504" y="596164"/>
                  <a:pt x="2314305" y="599018"/>
                  <a:pt x="2328730" y="599292"/>
                </a:cubicBezTo>
                <a:cubicBezTo>
                  <a:pt x="2343155" y="599566"/>
                  <a:pt x="2352728" y="599495"/>
                  <a:pt x="2365099" y="595379"/>
                </a:cubicBezTo>
                <a:cubicBezTo>
                  <a:pt x="2377470" y="591263"/>
                  <a:pt x="2386903" y="578057"/>
                  <a:pt x="2402959" y="574593"/>
                </a:cubicBezTo>
                <a:cubicBezTo>
                  <a:pt x="2419016" y="571129"/>
                  <a:pt x="2439287" y="579909"/>
                  <a:pt x="2461438" y="574593"/>
                </a:cubicBezTo>
                <a:cubicBezTo>
                  <a:pt x="2483589" y="569277"/>
                  <a:pt x="2535866" y="542695"/>
                  <a:pt x="2535866" y="542695"/>
                </a:cubicBezTo>
                <a:lnTo>
                  <a:pt x="2663456" y="489532"/>
                </a:lnTo>
                <a:cubicBezTo>
                  <a:pt x="2713960" y="469153"/>
                  <a:pt x="2796363" y="439914"/>
                  <a:pt x="2838893" y="420421"/>
                </a:cubicBezTo>
                <a:cubicBezTo>
                  <a:pt x="2881423" y="400928"/>
                  <a:pt x="2884082" y="377890"/>
                  <a:pt x="2918638" y="372574"/>
                </a:cubicBezTo>
                <a:cubicBezTo>
                  <a:pt x="2953194" y="367258"/>
                  <a:pt x="3009900" y="378777"/>
                  <a:pt x="3046228" y="388523"/>
                </a:cubicBezTo>
                <a:cubicBezTo>
                  <a:pt x="3082556" y="398269"/>
                  <a:pt x="3096733" y="422193"/>
                  <a:pt x="3136605" y="431053"/>
                </a:cubicBezTo>
                <a:cubicBezTo>
                  <a:pt x="3176477" y="439913"/>
                  <a:pt x="3194198" y="443458"/>
                  <a:pt x="3285461" y="441686"/>
                </a:cubicBezTo>
                <a:cubicBezTo>
                  <a:pt x="3376724" y="439914"/>
                  <a:pt x="3626589" y="412447"/>
                  <a:pt x="3684182" y="420421"/>
                </a:cubicBezTo>
              </a:path>
            </a:pathLst>
          </a:custGeom>
          <a:noFill/>
          <a:ln w="31750">
            <a:solidFill>
              <a:srgbClr val="76B82A"/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82C39A2-EFDA-D241-AC6D-52FC06369C3D}"/>
              </a:ext>
            </a:extLst>
          </p:cNvPr>
          <p:cNvSpPr txBox="1"/>
          <p:nvPr/>
        </p:nvSpPr>
        <p:spPr>
          <a:xfrm>
            <a:off x="2327877" y="2849790"/>
            <a:ext cx="1706991" cy="239087"/>
          </a:xfrm>
          <a:prstGeom prst="rect">
            <a:avLst/>
          </a:prstGeom>
          <a:solidFill>
            <a:srgbClr val="F3F3F5">
              <a:alpha val="87000"/>
            </a:srgbClr>
          </a:solidFill>
        </p:spPr>
        <p:txBody>
          <a:bodyPr wrap="square" rtlCol="0">
            <a:spAutoFit/>
          </a:bodyPr>
          <a:lstStyle/>
          <a:p>
            <a:r>
              <a:rPr lang="ru-RU" sz="700" b="1" cap="all" dirty="0">
                <a:solidFill>
                  <a:srgbClr val="7030A0"/>
                </a:solidFill>
                <a:latin typeface="+mj-lt"/>
              </a:rPr>
              <a:t>УЧАСТОК Москва-КАЛАНЧЕВСКАЯ —Москва-Пасс.-Курская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FAA4C9D-ED6F-6F40-A7BC-E3910923F254}"/>
              </a:ext>
            </a:extLst>
          </p:cNvPr>
          <p:cNvSpPr txBox="1"/>
          <p:nvPr/>
        </p:nvSpPr>
        <p:spPr>
          <a:xfrm>
            <a:off x="2546261" y="2969264"/>
            <a:ext cx="1479893" cy="2915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ct val="75000"/>
              </a:lnSpc>
            </a:pPr>
            <a:r>
              <a:rPr lang="ru-RU" sz="1200" dirty="0">
                <a:solidFill>
                  <a:srgbClr val="EE3524"/>
                </a:solidFill>
                <a:latin typeface="+mj-lt"/>
              </a:rPr>
              <a:t>ВСМ </a:t>
            </a:r>
          </a:p>
          <a:p>
            <a:pPr algn="r">
              <a:lnSpc>
                <a:spcPct val="75000"/>
              </a:lnSpc>
            </a:pPr>
            <a:r>
              <a:rPr lang="ru-RU" sz="1200" dirty="0">
                <a:solidFill>
                  <a:srgbClr val="EE3524"/>
                </a:solidFill>
                <a:latin typeface="+mj-lt"/>
              </a:rPr>
              <a:t>«Москва — Казань»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CEF421B-FC79-8245-BA51-3F4AEA9F4DB9}"/>
              </a:ext>
            </a:extLst>
          </p:cNvPr>
          <p:cNvSpPr txBox="1"/>
          <p:nvPr/>
        </p:nvSpPr>
        <p:spPr>
          <a:xfrm>
            <a:off x="435847" y="3309386"/>
            <a:ext cx="1167307" cy="2915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75000"/>
              </a:lnSpc>
            </a:pPr>
            <a:r>
              <a:rPr lang="ru-RU" sz="1200" dirty="0">
                <a:solidFill>
                  <a:srgbClr val="EE3524"/>
                </a:solidFill>
                <a:latin typeface="+mj-lt"/>
              </a:rPr>
              <a:t>ВСМ  «Центр – </a:t>
            </a:r>
          </a:p>
          <a:p>
            <a:pPr>
              <a:lnSpc>
                <a:spcPct val="75000"/>
              </a:lnSpc>
            </a:pPr>
            <a:r>
              <a:rPr lang="ru-RU" sz="1200" dirty="0">
                <a:solidFill>
                  <a:srgbClr val="EE3524"/>
                </a:solidFill>
                <a:latin typeface="+mj-lt"/>
              </a:rPr>
              <a:t>Запад»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3D3B0C0-44B2-8147-81B1-E583B98E0141}"/>
              </a:ext>
            </a:extLst>
          </p:cNvPr>
          <p:cNvSpPr txBox="1"/>
          <p:nvPr/>
        </p:nvSpPr>
        <p:spPr>
          <a:xfrm>
            <a:off x="280025" y="4458689"/>
            <a:ext cx="927768" cy="2600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Апрелевк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4300058" y="1173481"/>
            <a:ext cx="1971272" cy="4633342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CEB78121-E9E2-49DF-B086-1A26E34B74D4}"/>
              </a:ext>
            </a:extLst>
          </p:cNvPr>
          <p:cNvPicPr/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7561" y="4762580"/>
            <a:ext cx="1803717" cy="708891"/>
          </a:xfrm>
          <a:prstGeom prst="rect">
            <a:avLst/>
          </a:prstGeom>
        </p:spPr>
      </p:pic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D3C26F3D-B3F0-BD4B-A8BB-A5C33469ADA2}"/>
              </a:ext>
            </a:extLst>
          </p:cNvPr>
          <p:cNvCxnSpPr>
            <a:cxnSpLocks/>
          </p:cNvCxnSpPr>
          <p:nvPr/>
        </p:nvCxnSpPr>
        <p:spPr>
          <a:xfrm flipH="1">
            <a:off x="4089400" y="3748192"/>
            <a:ext cx="3659901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6D0A33EB-8C44-054C-865E-4A857E5DA84A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609" t="17968" r="22226" b="36014"/>
          <a:stretch/>
        </p:blipFill>
        <p:spPr>
          <a:xfrm>
            <a:off x="385959" y="4417757"/>
            <a:ext cx="246925" cy="124762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6D0A33EB-8C44-054C-865E-4A857E5DA84A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609" t="17968" r="22226" b="36014"/>
          <a:stretch/>
        </p:blipFill>
        <p:spPr>
          <a:xfrm>
            <a:off x="3655224" y="3775976"/>
            <a:ext cx="246925" cy="124762"/>
          </a:xfrm>
          <a:prstGeom prst="rect">
            <a:avLst/>
          </a:prstGeom>
        </p:spPr>
      </p:pic>
      <p:sp>
        <p:nvSpPr>
          <p:cNvPr id="78" name="Овал 77"/>
          <p:cNvSpPr/>
          <p:nvPr/>
        </p:nvSpPr>
        <p:spPr>
          <a:xfrm>
            <a:off x="3801072" y="3305671"/>
            <a:ext cx="143753" cy="150259"/>
          </a:xfrm>
          <a:prstGeom prst="ellipse">
            <a:avLst/>
          </a:prstGeom>
          <a:solidFill>
            <a:srgbClr val="7030A0"/>
          </a:solidFill>
          <a:ln w="25400" cap="rnd">
            <a:solidFill>
              <a:srgbClr val="7030A0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9" name="Овал 78"/>
          <p:cNvSpPr/>
          <p:nvPr/>
        </p:nvSpPr>
        <p:spPr>
          <a:xfrm>
            <a:off x="1761827" y="3153440"/>
            <a:ext cx="143753" cy="150259"/>
          </a:xfrm>
          <a:prstGeom prst="ellipse">
            <a:avLst/>
          </a:prstGeom>
          <a:solidFill>
            <a:srgbClr val="7030A0"/>
          </a:solidFill>
          <a:ln w="25400" cap="rnd">
            <a:solidFill>
              <a:srgbClr val="7030A0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2</a:t>
            </a: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5709C8FA-7417-7247-88C1-015FF7460B7D}"/>
              </a:ext>
            </a:extLst>
          </p:cNvPr>
          <p:cNvCxnSpPr>
            <a:cxnSpLocks/>
          </p:cNvCxnSpPr>
          <p:nvPr/>
        </p:nvCxnSpPr>
        <p:spPr>
          <a:xfrm flipH="1">
            <a:off x="4089400" y="1312771"/>
            <a:ext cx="3659899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05848C9F-2693-7A4B-9A60-EE6B8889C3D5}"/>
              </a:ext>
            </a:extLst>
          </p:cNvPr>
          <p:cNvSpPr/>
          <p:nvPr/>
        </p:nvSpPr>
        <p:spPr>
          <a:xfrm>
            <a:off x="3945467" y="1014760"/>
            <a:ext cx="3864168" cy="2074117"/>
          </a:xfrm>
          <a:prstGeom prst="roundRect">
            <a:avLst>
              <a:gd name="adj" fmla="val 450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ru-RU" sz="1200" b="1" kern="0" dirty="0">
                <a:solidFill>
                  <a:srgbClr val="C00000"/>
                </a:solidFill>
                <a:latin typeface="+mj-lt"/>
              </a:rPr>
              <a:t>1.Работа конечных станций МЦД-4</a:t>
            </a:r>
            <a:endParaRPr lang="ru-RU" sz="1200" b="1" dirty="0">
              <a:solidFill>
                <a:srgbClr val="C00000"/>
              </a:solidFill>
              <a:latin typeface="+mj-lt"/>
            </a:endParaRPr>
          </a:p>
          <a:p>
            <a:r>
              <a:rPr lang="ru-RU" sz="1200" b="1" dirty="0">
                <a:solidFill>
                  <a:srgbClr val="002060"/>
                </a:solidFill>
              </a:rPr>
              <a:t>Цель моделирования: </a:t>
            </a:r>
            <a:r>
              <a:rPr lang="ru-RU" sz="1200" dirty="0">
                <a:solidFill>
                  <a:schemeClr val="tx1"/>
                </a:solidFill>
              </a:rPr>
              <a:t>проверка пропуска требуемых размеров движения поездов МЦД и поездов остальных категорий </a:t>
            </a:r>
          </a:p>
          <a:p>
            <a:r>
              <a:rPr lang="ru-RU" sz="1200" b="1" dirty="0">
                <a:solidFill>
                  <a:srgbClr val="002060"/>
                </a:solidFill>
              </a:rPr>
              <a:t>Результаты:</a:t>
            </a:r>
            <a:r>
              <a:rPr lang="ru-RU" sz="1200" dirty="0">
                <a:solidFill>
                  <a:srgbClr val="002060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для пропуска требуемых потоков (по 12 пар/час) по </a:t>
            </a:r>
            <a:r>
              <a:rPr lang="en-US" sz="1200" dirty="0">
                <a:solidFill>
                  <a:schemeClr val="tx1"/>
                </a:solidFill>
              </a:rPr>
              <a:t>I – II </a:t>
            </a:r>
            <a:r>
              <a:rPr lang="ru-RU" sz="1200" dirty="0">
                <a:solidFill>
                  <a:schemeClr val="tx1"/>
                </a:solidFill>
              </a:rPr>
              <a:t>и </a:t>
            </a:r>
            <a:r>
              <a:rPr lang="en-US" sz="1200" dirty="0">
                <a:solidFill>
                  <a:schemeClr val="tx1"/>
                </a:solidFill>
              </a:rPr>
              <a:t>III – IV </a:t>
            </a:r>
            <a:r>
              <a:rPr lang="ru-RU" sz="1200" dirty="0">
                <a:solidFill>
                  <a:schemeClr val="tx1"/>
                </a:solidFill>
              </a:rPr>
              <a:t>гл. ст. Апрелевка необходимо реализовывать по схеме целевого этапа; на ст. Железнодорожная необходимо предусмотреть укладку перекрестного съезда между путями 7 и II</a:t>
            </a:r>
            <a:endParaRPr lang="ru-RU" sz="12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id="{D3C26F3D-B3F0-BD4B-A8BB-A5C33469ADA2}"/>
              </a:ext>
            </a:extLst>
          </p:cNvPr>
          <p:cNvCxnSpPr>
            <a:cxnSpLocks/>
          </p:cNvCxnSpPr>
          <p:nvPr/>
        </p:nvCxnSpPr>
        <p:spPr>
          <a:xfrm flipH="1">
            <a:off x="4089400" y="1314873"/>
            <a:ext cx="3659901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  <p:sp>
        <p:nvSpPr>
          <p:cNvPr id="91" name="Овал 90"/>
          <p:cNvSpPr/>
          <p:nvPr/>
        </p:nvSpPr>
        <p:spPr>
          <a:xfrm>
            <a:off x="144183" y="4412316"/>
            <a:ext cx="143753" cy="150259"/>
          </a:xfrm>
          <a:prstGeom prst="ellipse">
            <a:avLst/>
          </a:prstGeom>
          <a:solidFill>
            <a:srgbClr val="7030A0"/>
          </a:solidFill>
          <a:ln w="25400" cap="rnd">
            <a:solidFill>
              <a:srgbClr val="7030A0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3" name="Скругленный прямоугольник 92">
            <a:extLst>
              <a:ext uri="{FF2B5EF4-FFF2-40B4-BE49-F238E27FC236}">
                <a16:creationId xmlns:a16="http://schemas.microsoft.com/office/drawing/2014/main" id="{B9C0917E-E368-B244-A43B-544419B2D3A6}"/>
              </a:ext>
            </a:extLst>
          </p:cNvPr>
          <p:cNvSpPr/>
          <p:nvPr/>
        </p:nvSpPr>
        <p:spPr>
          <a:xfrm>
            <a:off x="3945467" y="3450573"/>
            <a:ext cx="3861585" cy="2169304"/>
          </a:xfrm>
          <a:prstGeom prst="roundRect">
            <a:avLst>
              <a:gd name="adj" fmla="val 4506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glow rad="88900">
              <a:schemeClr val="tx1">
                <a:alpha val="4000"/>
              </a:schemeClr>
            </a:glow>
            <a:outerShdw blurRad="63500" dist="635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ru-RU" sz="1200" b="1" kern="0" dirty="0">
                <a:solidFill>
                  <a:srgbClr val="C00000"/>
                </a:solidFill>
                <a:latin typeface="+mj-lt"/>
              </a:rPr>
              <a:t>2.Увязка МЦД с Поездами дальнего следования</a:t>
            </a:r>
            <a:endParaRPr lang="ru-RU" sz="1200" b="1" dirty="0">
              <a:solidFill>
                <a:srgbClr val="C00000"/>
              </a:solidFill>
              <a:latin typeface="+mj-lt"/>
            </a:endParaRPr>
          </a:p>
          <a:p>
            <a:r>
              <a:rPr lang="ru-RU" sz="1200" b="1" dirty="0">
                <a:solidFill>
                  <a:srgbClr val="002060"/>
                </a:solidFill>
              </a:rPr>
              <a:t>Цель моделирования: </a:t>
            </a:r>
            <a:r>
              <a:rPr lang="ru-RU" sz="1200" dirty="0">
                <a:solidFill>
                  <a:schemeClr val="tx1"/>
                </a:solidFill>
              </a:rPr>
              <a:t>проверка возможности переработки и пропуска станциями потоков пассажирских поездов различных категорий (высокоскоростных, МЦД, пригородных, дальнего следования)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и выявление «узких мест»</a:t>
            </a:r>
          </a:p>
          <a:p>
            <a:r>
              <a:rPr lang="ru-RU" sz="1200" b="1" dirty="0">
                <a:solidFill>
                  <a:srgbClr val="002060"/>
                </a:solidFill>
              </a:rPr>
              <a:t>Результаты:</a:t>
            </a:r>
            <a:r>
              <a:rPr lang="ru-RU" sz="1200" dirty="0">
                <a:solidFill>
                  <a:srgbClr val="002060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выявлены «узкие места» структуры и технологии, выдвинуты предложения по реконструкции инфраструктуры и организации движения поездов</a:t>
            </a:r>
            <a:endParaRPr lang="ru-RU" sz="12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94" name="Прямая соединительная линия 93">
            <a:extLst>
              <a:ext uri="{FF2B5EF4-FFF2-40B4-BE49-F238E27FC236}">
                <a16:creationId xmlns:a16="http://schemas.microsoft.com/office/drawing/2014/main" id="{D3C26F3D-B3F0-BD4B-A8BB-A5C33469ADA2}"/>
              </a:ext>
            </a:extLst>
          </p:cNvPr>
          <p:cNvCxnSpPr>
            <a:cxnSpLocks/>
          </p:cNvCxnSpPr>
          <p:nvPr/>
        </p:nvCxnSpPr>
        <p:spPr>
          <a:xfrm flipH="1">
            <a:off x="4089400" y="3748192"/>
            <a:ext cx="3659901" cy="0"/>
          </a:xfrm>
          <a:prstGeom prst="line">
            <a:avLst/>
          </a:prstGeom>
          <a:noFill/>
          <a:ln w="635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76200" dir="4620000" sx="101000" sy="101000" algn="tl" rotWithShape="0">
              <a:prstClr val="black">
                <a:alpha val="0"/>
              </a:prstClr>
            </a:outerShdw>
          </a:effectLst>
        </p:spPr>
      </p:cxnSp>
      <p:sp>
        <p:nvSpPr>
          <p:cNvPr id="96" name="Овал 95">
            <a:extLst>
              <a:ext uri="{FF2B5EF4-FFF2-40B4-BE49-F238E27FC236}">
                <a16:creationId xmlns:a16="http://schemas.microsoft.com/office/drawing/2014/main" id="{407CFAAA-CC4C-6E43-BC9C-25336EC2B32F}"/>
              </a:ext>
            </a:extLst>
          </p:cNvPr>
          <p:cNvSpPr/>
          <p:nvPr/>
        </p:nvSpPr>
        <p:spPr>
          <a:xfrm>
            <a:off x="2084040" y="3141036"/>
            <a:ext cx="258757" cy="259122"/>
          </a:xfrm>
          <a:prstGeom prst="ellipse">
            <a:avLst/>
          </a:prstGeom>
          <a:solidFill>
            <a:srgbClr val="7030A0">
              <a:alpha val="22000"/>
            </a:srgbClr>
          </a:solidFill>
          <a:ln w="25400" cap="rnd">
            <a:solidFill>
              <a:srgbClr val="7030A0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Овал 96"/>
          <p:cNvSpPr/>
          <p:nvPr/>
        </p:nvSpPr>
        <p:spPr>
          <a:xfrm>
            <a:off x="2229276" y="2977210"/>
            <a:ext cx="143753" cy="150259"/>
          </a:xfrm>
          <a:prstGeom prst="ellipse">
            <a:avLst/>
          </a:prstGeom>
          <a:solidFill>
            <a:srgbClr val="7030A0"/>
          </a:solidFill>
          <a:ln w="25400" cap="rnd">
            <a:solidFill>
              <a:srgbClr val="7030A0"/>
            </a:soli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0713345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solidFill>
                  <a:prstClr val="white"/>
                </a:solidFill>
                <a:latin typeface="Calibri"/>
              </a:rPr>
              <a:pPr/>
              <a:t>22</a:t>
            </a:fld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2" name="Заголовок 1">
            <a:extLst>
              <a:ext uri="{FF2B5EF4-FFF2-40B4-BE49-F238E27FC236}">
                <a16:creationId xmlns:a16="http://schemas.microsoft.com/office/drawing/2014/main" id="{963CFAF6-3747-8945-9C11-81C47C460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251" y="86686"/>
            <a:ext cx="9482944" cy="659632"/>
          </a:xfrm>
        </p:spPr>
        <p:txBody>
          <a:bodyPr>
            <a:noAutofit/>
          </a:bodyPr>
          <a:lstStyle/>
          <a:p>
            <a:r>
              <a:rPr lang="ru-RU" sz="1800" dirty="0"/>
              <a:t>Комплексное имитационное моделирование железнодорожной инфраструктуры позволит оценить влияние сервиса МЦД на технологию пропуска всех поездов в Московском транспортном узле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35BC712F-15E2-41FE-A7AF-5EDC9B636CDC}"/>
              </a:ext>
            </a:extLst>
          </p:cNvPr>
          <p:cNvGrpSpPr/>
          <p:nvPr/>
        </p:nvGrpSpPr>
        <p:grpSpPr>
          <a:xfrm>
            <a:off x="-64077" y="872591"/>
            <a:ext cx="7308436" cy="5233761"/>
            <a:chOff x="-64077" y="641660"/>
            <a:chExt cx="7308436" cy="5911943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0FA2769D-849D-9747-84A6-86C14CE910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3" y="725402"/>
              <a:ext cx="7014101" cy="5788141"/>
            </a:xfrm>
            <a:prstGeom prst="rect">
              <a:avLst/>
            </a:prstGeom>
          </p:spPr>
        </p:pic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5EE19CB2-1717-C047-A2B4-3AED72ADE31D}"/>
                </a:ext>
              </a:extLst>
            </p:cNvPr>
            <p:cNvSpPr/>
            <p:nvPr/>
          </p:nvSpPr>
          <p:spPr>
            <a:xfrm>
              <a:off x="3193755" y="2503574"/>
              <a:ext cx="3787966" cy="1078643"/>
            </a:xfrm>
            <a:custGeom>
              <a:avLst/>
              <a:gdLst>
                <a:gd name="connsiteX0" fmla="*/ 0 w 5521569"/>
                <a:gd name="connsiteY0" fmla="*/ 0 h 2741776"/>
                <a:gd name="connsiteX1" fmla="*/ 381000 w 5521569"/>
                <a:gd name="connsiteY1" fmla="*/ 615462 h 2741776"/>
                <a:gd name="connsiteX2" fmla="*/ 1090246 w 5521569"/>
                <a:gd name="connsiteY2" fmla="*/ 955431 h 2741776"/>
                <a:gd name="connsiteX3" fmla="*/ 1348154 w 5521569"/>
                <a:gd name="connsiteY3" fmla="*/ 1113692 h 2741776"/>
                <a:gd name="connsiteX4" fmla="*/ 2069123 w 5521569"/>
                <a:gd name="connsiteY4" fmla="*/ 1711569 h 2741776"/>
                <a:gd name="connsiteX5" fmla="*/ 2391508 w 5521569"/>
                <a:gd name="connsiteY5" fmla="*/ 2074985 h 2741776"/>
                <a:gd name="connsiteX6" fmla="*/ 2485292 w 5521569"/>
                <a:gd name="connsiteY6" fmla="*/ 2162908 h 2741776"/>
                <a:gd name="connsiteX7" fmla="*/ 2573216 w 5521569"/>
                <a:gd name="connsiteY7" fmla="*/ 2491154 h 2741776"/>
                <a:gd name="connsiteX8" fmla="*/ 2684585 w 5521569"/>
                <a:gd name="connsiteY8" fmla="*/ 2573215 h 2741776"/>
                <a:gd name="connsiteX9" fmla="*/ 2731477 w 5521569"/>
                <a:gd name="connsiteY9" fmla="*/ 2637692 h 2741776"/>
                <a:gd name="connsiteX10" fmla="*/ 2907323 w 5521569"/>
                <a:gd name="connsiteY10" fmla="*/ 2708031 h 2741776"/>
                <a:gd name="connsiteX11" fmla="*/ 3030416 w 5521569"/>
                <a:gd name="connsiteY11" fmla="*/ 2737339 h 2741776"/>
                <a:gd name="connsiteX12" fmla="*/ 3124200 w 5521569"/>
                <a:gd name="connsiteY12" fmla="*/ 2719754 h 2741776"/>
                <a:gd name="connsiteX13" fmla="*/ 3563816 w 5521569"/>
                <a:gd name="connsiteY13" fmla="*/ 2538046 h 2741776"/>
                <a:gd name="connsiteX14" fmla="*/ 3757246 w 5521569"/>
                <a:gd name="connsiteY14" fmla="*/ 2479431 h 2741776"/>
                <a:gd name="connsiteX15" fmla="*/ 3956539 w 5521569"/>
                <a:gd name="connsiteY15" fmla="*/ 2526323 h 2741776"/>
                <a:gd name="connsiteX16" fmla="*/ 4747846 w 5521569"/>
                <a:gd name="connsiteY16" fmla="*/ 2508739 h 2741776"/>
                <a:gd name="connsiteX17" fmla="*/ 5521569 w 5521569"/>
                <a:gd name="connsiteY17" fmla="*/ 2461846 h 2741776"/>
                <a:gd name="connsiteX0" fmla="*/ 0 w 6260123"/>
                <a:gd name="connsiteY0" fmla="*/ 0 h 2741776"/>
                <a:gd name="connsiteX1" fmla="*/ 381000 w 6260123"/>
                <a:gd name="connsiteY1" fmla="*/ 615462 h 2741776"/>
                <a:gd name="connsiteX2" fmla="*/ 1090246 w 6260123"/>
                <a:gd name="connsiteY2" fmla="*/ 955431 h 2741776"/>
                <a:gd name="connsiteX3" fmla="*/ 1348154 w 6260123"/>
                <a:gd name="connsiteY3" fmla="*/ 1113692 h 2741776"/>
                <a:gd name="connsiteX4" fmla="*/ 2069123 w 6260123"/>
                <a:gd name="connsiteY4" fmla="*/ 1711569 h 2741776"/>
                <a:gd name="connsiteX5" fmla="*/ 2391508 w 6260123"/>
                <a:gd name="connsiteY5" fmla="*/ 2074985 h 2741776"/>
                <a:gd name="connsiteX6" fmla="*/ 2485292 w 6260123"/>
                <a:gd name="connsiteY6" fmla="*/ 2162908 h 2741776"/>
                <a:gd name="connsiteX7" fmla="*/ 2573216 w 6260123"/>
                <a:gd name="connsiteY7" fmla="*/ 2491154 h 2741776"/>
                <a:gd name="connsiteX8" fmla="*/ 2684585 w 6260123"/>
                <a:gd name="connsiteY8" fmla="*/ 2573215 h 2741776"/>
                <a:gd name="connsiteX9" fmla="*/ 2731477 w 6260123"/>
                <a:gd name="connsiteY9" fmla="*/ 2637692 h 2741776"/>
                <a:gd name="connsiteX10" fmla="*/ 2907323 w 6260123"/>
                <a:gd name="connsiteY10" fmla="*/ 2708031 h 2741776"/>
                <a:gd name="connsiteX11" fmla="*/ 3030416 w 6260123"/>
                <a:gd name="connsiteY11" fmla="*/ 2737339 h 2741776"/>
                <a:gd name="connsiteX12" fmla="*/ 3124200 w 6260123"/>
                <a:gd name="connsiteY12" fmla="*/ 2719754 h 2741776"/>
                <a:gd name="connsiteX13" fmla="*/ 3563816 w 6260123"/>
                <a:gd name="connsiteY13" fmla="*/ 2538046 h 2741776"/>
                <a:gd name="connsiteX14" fmla="*/ 3757246 w 6260123"/>
                <a:gd name="connsiteY14" fmla="*/ 2479431 h 2741776"/>
                <a:gd name="connsiteX15" fmla="*/ 3956539 w 6260123"/>
                <a:gd name="connsiteY15" fmla="*/ 2526323 h 2741776"/>
                <a:gd name="connsiteX16" fmla="*/ 4747846 w 6260123"/>
                <a:gd name="connsiteY16" fmla="*/ 2508739 h 2741776"/>
                <a:gd name="connsiteX17" fmla="*/ 6260123 w 6260123"/>
                <a:gd name="connsiteY17" fmla="*/ 1664677 h 2741776"/>
                <a:gd name="connsiteX0" fmla="*/ 0 w 6260123"/>
                <a:gd name="connsiteY0" fmla="*/ 0 h 2741776"/>
                <a:gd name="connsiteX1" fmla="*/ 381000 w 6260123"/>
                <a:gd name="connsiteY1" fmla="*/ 615462 h 2741776"/>
                <a:gd name="connsiteX2" fmla="*/ 1090246 w 6260123"/>
                <a:gd name="connsiteY2" fmla="*/ 955431 h 2741776"/>
                <a:gd name="connsiteX3" fmla="*/ 1348154 w 6260123"/>
                <a:gd name="connsiteY3" fmla="*/ 1113692 h 2741776"/>
                <a:gd name="connsiteX4" fmla="*/ 2069123 w 6260123"/>
                <a:gd name="connsiteY4" fmla="*/ 1711569 h 2741776"/>
                <a:gd name="connsiteX5" fmla="*/ 2391508 w 6260123"/>
                <a:gd name="connsiteY5" fmla="*/ 2074985 h 2741776"/>
                <a:gd name="connsiteX6" fmla="*/ 2485292 w 6260123"/>
                <a:gd name="connsiteY6" fmla="*/ 2162908 h 2741776"/>
                <a:gd name="connsiteX7" fmla="*/ 2573216 w 6260123"/>
                <a:gd name="connsiteY7" fmla="*/ 2491154 h 2741776"/>
                <a:gd name="connsiteX8" fmla="*/ 2684585 w 6260123"/>
                <a:gd name="connsiteY8" fmla="*/ 2573215 h 2741776"/>
                <a:gd name="connsiteX9" fmla="*/ 2731477 w 6260123"/>
                <a:gd name="connsiteY9" fmla="*/ 2637692 h 2741776"/>
                <a:gd name="connsiteX10" fmla="*/ 2907323 w 6260123"/>
                <a:gd name="connsiteY10" fmla="*/ 2708031 h 2741776"/>
                <a:gd name="connsiteX11" fmla="*/ 3030416 w 6260123"/>
                <a:gd name="connsiteY11" fmla="*/ 2737339 h 2741776"/>
                <a:gd name="connsiteX12" fmla="*/ 3124200 w 6260123"/>
                <a:gd name="connsiteY12" fmla="*/ 2719754 h 2741776"/>
                <a:gd name="connsiteX13" fmla="*/ 3563816 w 6260123"/>
                <a:gd name="connsiteY13" fmla="*/ 2538046 h 2741776"/>
                <a:gd name="connsiteX14" fmla="*/ 3757246 w 6260123"/>
                <a:gd name="connsiteY14" fmla="*/ 2479431 h 2741776"/>
                <a:gd name="connsiteX15" fmla="*/ 3956539 w 6260123"/>
                <a:gd name="connsiteY15" fmla="*/ 2526323 h 2741776"/>
                <a:gd name="connsiteX16" fmla="*/ 4741984 w 6260123"/>
                <a:gd name="connsiteY16" fmla="*/ 2467708 h 2741776"/>
                <a:gd name="connsiteX17" fmla="*/ 6260123 w 6260123"/>
                <a:gd name="connsiteY17" fmla="*/ 1664677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90246 w 6559061"/>
                <a:gd name="connsiteY2" fmla="*/ 955431 h 2741776"/>
                <a:gd name="connsiteX3" fmla="*/ 1348154 w 6559061"/>
                <a:gd name="connsiteY3" fmla="*/ 1113692 h 2741776"/>
                <a:gd name="connsiteX4" fmla="*/ 2069123 w 6559061"/>
                <a:gd name="connsiteY4" fmla="*/ 1711569 h 2741776"/>
                <a:gd name="connsiteX5" fmla="*/ 2391508 w 6559061"/>
                <a:gd name="connsiteY5" fmla="*/ 2074985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41984 w 6559061"/>
                <a:gd name="connsiteY16" fmla="*/ 2467708 h 2741776"/>
                <a:gd name="connsiteX17" fmla="*/ 6559061 w 6559061"/>
                <a:gd name="connsiteY17" fmla="*/ 1705708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90246 w 6559061"/>
                <a:gd name="connsiteY2" fmla="*/ 955431 h 2741776"/>
                <a:gd name="connsiteX3" fmla="*/ 1348154 w 6559061"/>
                <a:gd name="connsiteY3" fmla="*/ 1113692 h 2741776"/>
                <a:gd name="connsiteX4" fmla="*/ 2069123 w 6559061"/>
                <a:gd name="connsiteY4" fmla="*/ 1711569 h 2741776"/>
                <a:gd name="connsiteX5" fmla="*/ 2391508 w 6559061"/>
                <a:gd name="connsiteY5" fmla="*/ 2074985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41984 w 6559061"/>
                <a:gd name="connsiteY16" fmla="*/ 2467708 h 2741776"/>
                <a:gd name="connsiteX17" fmla="*/ 6559061 w 6559061"/>
                <a:gd name="connsiteY17" fmla="*/ 1705708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90246 w 6559061"/>
                <a:gd name="connsiteY2" fmla="*/ 955431 h 2741776"/>
                <a:gd name="connsiteX3" fmla="*/ 1348154 w 6559061"/>
                <a:gd name="connsiteY3" fmla="*/ 1113692 h 2741776"/>
                <a:gd name="connsiteX4" fmla="*/ 2069123 w 6559061"/>
                <a:gd name="connsiteY4" fmla="*/ 1711569 h 2741776"/>
                <a:gd name="connsiteX5" fmla="*/ 2391508 w 6559061"/>
                <a:gd name="connsiteY5" fmla="*/ 2074985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24399 w 6559061"/>
                <a:gd name="connsiteY16" fmla="*/ 2479431 h 2741776"/>
                <a:gd name="connsiteX17" fmla="*/ 6559061 w 6559061"/>
                <a:gd name="connsiteY17" fmla="*/ 1705708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90246 w 6559061"/>
                <a:gd name="connsiteY2" fmla="*/ 955431 h 2741776"/>
                <a:gd name="connsiteX3" fmla="*/ 1348154 w 6559061"/>
                <a:gd name="connsiteY3" fmla="*/ 1113692 h 2741776"/>
                <a:gd name="connsiteX4" fmla="*/ 2069123 w 6559061"/>
                <a:gd name="connsiteY4" fmla="*/ 1711569 h 2741776"/>
                <a:gd name="connsiteX5" fmla="*/ 2391508 w 6559061"/>
                <a:gd name="connsiteY5" fmla="*/ 2074985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24399 w 6559061"/>
                <a:gd name="connsiteY16" fmla="*/ 2479431 h 2741776"/>
                <a:gd name="connsiteX17" fmla="*/ 4947139 w 6559061"/>
                <a:gd name="connsiteY17" fmla="*/ 1951892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90246 w 6559061"/>
                <a:gd name="connsiteY2" fmla="*/ 955431 h 2741776"/>
                <a:gd name="connsiteX3" fmla="*/ 1348154 w 6559061"/>
                <a:gd name="connsiteY3" fmla="*/ 1113692 h 2741776"/>
                <a:gd name="connsiteX4" fmla="*/ 2069123 w 6559061"/>
                <a:gd name="connsiteY4" fmla="*/ 1711569 h 2741776"/>
                <a:gd name="connsiteX5" fmla="*/ 2391508 w 6559061"/>
                <a:gd name="connsiteY5" fmla="*/ 2074985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24399 w 6559061"/>
                <a:gd name="connsiteY16" fmla="*/ 2479431 h 2741776"/>
                <a:gd name="connsiteX17" fmla="*/ 5369170 w 6559061"/>
                <a:gd name="connsiteY17" fmla="*/ 1992923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90246 w 6559061"/>
                <a:gd name="connsiteY2" fmla="*/ 955431 h 2741776"/>
                <a:gd name="connsiteX3" fmla="*/ 1348154 w 6559061"/>
                <a:gd name="connsiteY3" fmla="*/ 1113692 h 2741776"/>
                <a:gd name="connsiteX4" fmla="*/ 2069123 w 6559061"/>
                <a:gd name="connsiteY4" fmla="*/ 1711569 h 2741776"/>
                <a:gd name="connsiteX5" fmla="*/ 2391508 w 6559061"/>
                <a:gd name="connsiteY5" fmla="*/ 2074985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369170 w 6559061"/>
                <a:gd name="connsiteY17" fmla="*/ 1992923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90246 w 6559061"/>
                <a:gd name="connsiteY2" fmla="*/ 955431 h 2741776"/>
                <a:gd name="connsiteX3" fmla="*/ 1348154 w 6559061"/>
                <a:gd name="connsiteY3" fmla="*/ 1113692 h 2741776"/>
                <a:gd name="connsiteX4" fmla="*/ 2069123 w 6559061"/>
                <a:gd name="connsiteY4" fmla="*/ 1711569 h 2741776"/>
                <a:gd name="connsiteX5" fmla="*/ 2391508 w 6559061"/>
                <a:gd name="connsiteY5" fmla="*/ 2074985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90246 w 6559061"/>
                <a:gd name="connsiteY2" fmla="*/ 955431 h 2741776"/>
                <a:gd name="connsiteX3" fmla="*/ 1348154 w 6559061"/>
                <a:gd name="connsiteY3" fmla="*/ 1113692 h 2741776"/>
                <a:gd name="connsiteX4" fmla="*/ 2069123 w 6559061"/>
                <a:gd name="connsiteY4" fmla="*/ 1711569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90246 w 6559061"/>
                <a:gd name="connsiteY2" fmla="*/ 955431 h 2741776"/>
                <a:gd name="connsiteX3" fmla="*/ 1348154 w 6559061"/>
                <a:gd name="connsiteY3" fmla="*/ 1113692 h 2741776"/>
                <a:gd name="connsiteX4" fmla="*/ 2027242 w 6559061"/>
                <a:gd name="connsiteY4" fmla="*/ 1733413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90246 w 6559061"/>
                <a:gd name="connsiteY2" fmla="*/ 955431 h 2741776"/>
                <a:gd name="connsiteX3" fmla="*/ 1327214 w 6559061"/>
                <a:gd name="connsiteY3" fmla="*/ 1128256 h 2741776"/>
                <a:gd name="connsiteX4" fmla="*/ 2027242 w 6559061"/>
                <a:gd name="connsiteY4" fmla="*/ 1733413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97226 w 6559061"/>
                <a:gd name="connsiteY2" fmla="*/ 977276 h 2741776"/>
                <a:gd name="connsiteX3" fmla="*/ 1327214 w 6559061"/>
                <a:gd name="connsiteY3" fmla="*/ 1128256 h 2741776"/>
                <a:gd name="connsiteX4" fmla="*/ 2027242 w 6559061"/>
                <a:gd name="connsiteY4" fmla="*/ 1733413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90246 w 6559061"/>
                <a:gd name="connsiteY2" fmla="*/ 969993 h 2741776"/>
                <a:gd name="connsiteX3" fmla="*/ 1327214 w 6559061"/>
                <a:gd name="connsiteY3" fmla="*/ 1128256 h 2741776"/>
                <a:gd name="connsiteX4" fmla="*/ 2027242 w 6559061"/>
                <a:gd name="connsiteY4" fmla="*/ 1733413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81000 w 6559061"/>
                <a:gd name="connsiteY1" fmla="*/ 615462 h 2741776"/>
                <a:gd name="connsiteX2" fmla="*/ 1041385 w 6559061"/>
                <a:gd name="connsiteY2" fmla="*/ 955430 h 2741776"/>
                <a:gd name="connsiteX3" fmla="*/ 1327214 w 6559061"/>
                <a:gd name="connsiteY3" fmla="*/ 1128256 h 2741776"/>
                <a:gd name="connsiteX4" fmla="*/ 2027242 w 6559061"/>
                <a:gd name="connsiteY4" fmla="*/ 1733413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429861 w 6559061"/>
                <a:gd name="connsiteY1" fmla="*/ 630026 h 2741776"/>
                <a:gd name="connsiteX2" fmla="*/ 1041385 w 6559061"/>
                <a:gd name="connsiteY2" fmla="*/ 955430 h 2741776"/>
                <a:gd name="connsiteX3" fmla="*/ 1327214 w 6559061"/>
                <a:gd name="connsiteY3" fmla="*/ 1128256 h 2741776"/>
                <a:gd name="connsiteX4" fmla="*/ 2027242 w 6559061"/>
                <a:gd name="connsiteY4" fmla="*/ 1733413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94960 w 6559061"/>
                <a:gd name="connsiteY1" fmla="*/ 630026 h 2741776"/>
                <a:gd name="connsiteX2" fmla="*/ 1041385 w 6559061"/>
                <a:gd name="connsiteY2" fmla="*/ 955430 h 2741776"/>
                <a:gd name="connsiteX3" fmla="*/ 1327214 w 6559061"/>
                <a:gd name="connsiteY3" fmla="*/ 1128256 h 2741776"/>
                <a:gd name="connsiteX4" fmla="*/ 2027242 w 6559061"/>
                <a:gd name="connsiteY4" fmla="*/ 1733413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94960 w 6559061"/>
                <a:gd name="connsiteY1" fmla="*/ 630026 h 2741776"/>
                <a:gd name="connsiteX2" fmla="*/ 1041385 w 6559061"/>
                <a:gd name="connsiteY2" fmla="*/ 955430 h 2741776"/>
                <a:gd name="connsiteX3" fmla="*/ 1313253 w 6559061"/>
                <a:gd name="connsiteY3" fmla="*/ 1164665 h 2741776"/>
                <a:gd name="connsiteX4" fmla="*/ 2027242 w 6559061"/>
                <a:gd name="connsiteY4" fmla="*/ 1733413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94960 w 6559061"/>
                <a:gd name="connsiteY1" fmla="*/ 630026 h 2741776"/>
                <a:gd name="connsiteX2" fmla="*/ 1041385 w 6559061"/>
                <a:gd name="connsiteY2" fmla="*/ 955430 h 2741776"/>
                <a:gd name="connsiteX3" fmla="*/ 1327214 w 6559061"/>
                <a:gd name="connsiteY3" fmla="*/ 1135537 h 2741776"/>
                <a:gd name="connsiteX4" fmla="*/ 2027242 w 6559061"/>
                <a:gd name="connsiteY4" fmla="*/ 1733413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94960 w 6559061"/>
                <a:gd name="connsiteY1" fmla="*/ 630026 h 2741776"/>
                <a:gd name="connsiteX2" fmla="*/ 1041385 w 6559061"/>
                <a:gd name="connsiteY2" fmla="*/ 955430 h 2741776"/>
                <a:gd name="connsiteX3" fmla="*/ 1313254 w 6559061"/>
                <a:gd name="connsiteY3" fmla="*/ 1164665 h 2741776"/>
                <a:gd name="connsiteX4" fmla="*/ 2027242 w 6559061"/>
                <a:gd name="connsiteY4" fmla="*/ 1733413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94960 w 6559061"/>
                <a:gd name="connsiteY1" fmla="*/ 630026 h 2741776"/>
                <a:gd name="connsiteX2" fmla="*/ 1041385 w 6559061"/>
                <a:gd name="connsiteY2" fmla="*/ 955430 h 2741776"/>
                <a:gd name="connsiteX3" fmla="*/ 1348155 w 6559061"/>
                <a:gd name="connsiteY3" fmla="*/ 1157383 h 2741776"/>
                <a:gd name="connsiteX4" fmla="*/ 2027242 w 6559061"/>
                <a:gd name="connsiteY4" fmla="*/ 1733413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1776"/>
                <a:gd name="connsiteX1" fmla="*/ 394960 w 6559061"/>
                <a:gd name="connsiteY1" fmla="*/ 630026 h 2741776"/>
                <a:gd name="connsiteX2" fmla="*/ 1041385 w 6559061"/>
                <a:gd name="connsiteY2" fmla="*/ 955430 h 2741776"/>
                <a:gd name="connsiteX3" fmla="*/ 1348155 w 6559061"/>
                <a:gd name="connsiteY3" fmla="*/ 1157383 h 2741776"/>
                <a:gd name="connsiteX4" fmla="*/ 2041203 w 6559061"/>
                <a:gd name="connsiteY4" fmla="*/ 1740696 h 2741776"/>
                <a:gd name="connsiteX5" fmla="*/ 2363588 w 6559061"/>
                <a:gd name="connsiteY5" fmla="*/ 2104113 h 2741776"/>
                <a:gd name="connsiteX6" fmla="*/ 2485292 w 6559061"/>
                <a:gd name="connsiteY6" fmla="*/ 2162908 h 2741776"/>
                <a:gd name="connsiteX7" fmla="*/ 2573216 w 6559061"/>
                <a:gd name="connsiteY7" fmla="*/ 2491154 h 2741776"/>
                <a:gd name="connsiteX8" fmla="*/ 2684585 w 6559061"/>
                <a:gd name="connsiteY8" fmla="*/ 2573215 h 2741776"/>
                <a:gd name="connsiteX9" fmla="*/ 2731477 w 6559061"/>
                <a:gd name="connsiteY9" fmla="*/ 2637692 h 2741776"/>
                <a:gd name="connsiteX10" fmla="*/ 2907323 w 6559061"/>
                <a:gd name="connsiteY10" fmla="*/ 2708031 h 2741776"/>
                <a:gd name="connsiteX11" fmla="*/ 3030416 w 6559061"/>
                <a:gd name="connsiteY11" fmla="*/ 2737339 h 2741776"/>
                <a:gd name="connsiteX12" fmla="*/ 3124200 w 6559061"/>
                <a:gd name="connsiteY12" fmla="*/ 2719754 h 2741776"/>
                <a:gd name="connsiteX13" fmla="*/ 3563816 w 6559061"/>
                <a:gd name="connsiteY13" fmla="*/ 2538046 h 2741776"/>
                <a:gd name="connsiteX14" fmla="*/ 3757246 w 6559061"/>
                <a:gd name="connsiteY14" fmla="*/ 2479431 h 2741776"/>
                <a:gd name="connsiteX15" fmla="*/ 3956539 w 6559061"/>
                <a:gd name="connsiteY15" fmla="*/ 2526323 h 2741776"/>
                <a:gd name="connsiteX16" fmla="*/ 4794738 w 6559061"/>
                <a:gd name="connsiteY16" fmla="*/ 2508739 h 2741776"/>
                <a:gd name="connsiteX17" fmla="*/ 5105401 w 6559061"/>
                <a:gd name="connsiteY17" fmla="*/ 1975338 h 2741776"/>
                <a:gd name="connsiteX18" fmla="*/ 6559061 w 6559061"/>
                <a:gd name="connsiteY18" fmla="*/ 1705708 h 2741776"/>
                <a:gd name="connsiteX0" fmla="*/ 0 w 6559061"/>
                <a:gd name="connsiteY0" fmla="*/ 0 h 2740831"/>
                <a:gd name="connsiteX1" fmla="*/ 394960 w 6559061"/>
                <a:gd name="connsiteY1" fmla="*/ 630026 h 2740831"/>
                <a:gd name="connsiteX2" fmla="*/ 1041385 w 6559061"/>
                <a:gd name="connsiteY2" fmla="*/ 955430 h 2740831"/>
                <a:gd name="connsiteX3" fmla="*/ 1348155 w 6559061"/>
                <a:gd name="connsiteY3" fmla="*/ 1157383 h 2740831"/>
                <a:gd name="connsiteX4" fmla="*/ 2041203 w 6559061"/>
                <a:gd name="connsiteY4" fmla="*/ 1740696 h 2740831"/>
                <a:gd name="connsiteX5" fmla="*/ 2363588 w 6559061"/>
                <a:gd name="connsiteY5" fmla="*/ 2104113 h 2740831"/>
                <a:gd name="connsiteX6" fmla="*/ 2485292 w 6559061"/>
                <a:gd name="connsiteY6" fmla="*/ 2162908 h 2740831"/>
                <a:gd name="connsiteX7" fmla="*/ 2573216 w 6559061"/>
                <a:gd name="connsiteY7" fmla="*/ 2491154 h 2740831"/>
                <a:gd name="connsiteX8" fmla="*/ 2684585 w 6559061"/>
                <a:gd name="connsiteY8" fmla="*/ 2573215 h 2740831"/>
                <a:gd name="connsiteX9" fmla="*/ 2731477 w 6559061"/>
                <a:gd name="connsiteY9" fmla="*/ 2637692 h 2740831"/>
                <a:gd name="connsiteX10" fmla="*/ 2900343 w 6559061"/>
                <a:gd name="connsiteY10" fmla="*/ 2722594 h 2740831"/>
                <a:gd name="connsiteX11" fmla="*/ 3030416 w 6559061"/>
                <a:gd name="connsiteY11" fmla="*/ 2737339 h 2740831"/>
                <a:gd name="connsiteX12" fmla="*/ 3124200 w 6559061"/>
                <a:gd name="connsiteY12" fmla="*/ 2719754 h 2740831"/>
                <a:gd name="connsiteX13" fmla="*/ 3563816 w 6559061"/>
                <a:gd name="connsiteY13" fmla="*/ 2538046 h 2740831"/>
                <a:gd name="connsiteX14" fmla="*/ 3757246 w 6559061"/>
                <a:gd name="connsiteY14" fmla="*/ 2479431 h 2740831"/>
                <a:gd name="connsiteX15" fmla="*/ 3956539 w 6559061"/>
                <a:gd name="connsiteY15" fmla="*/ 2526323 h 2740831"/>
                <a:gd name="connsiteX16" fmla="*/ 4794738 w 6559061"/>
                <a:gd name="connsiteY16" fmla="*/ 2508739 h 2740831"/>
                <a:gd name="connsiteX17" fmla="*/ 5105401 w 6559061"/>
                <a:gd name="connsiteY17" fmla="*/ 1975338 h 2740831"/>
                <a:gd name="connsiteX18" fmla="*/ 6559061 w 6559061"/>
                <a:gd name="connsiteY18" fmla="*/ 1705708 h 2740831"/>
                <a:gd name="connsiteX0" fmla="*/ 0 w 6559061"/>
                <a:gd name="connsiteY0" fmla="*/ 0 h 2740831"/>
                <a:gd name="connsiteX1" fmla="*/ 394960 w 6559061"/>
                <a:gd name="connsiteY1" fmla="*/ 630026 h 2740831"/>
                <a:gd name="connsiteX2" fmla="*/ 1041385 w 6559061"/>
                <a:gd name="connsiteY2" fmla="*/ 955430 h 2740831"/>
                <a:gd name="connsiteX3" fmla="*/ 1348155 w 6559061"/>
                <a:gd name="connsiteY3" fmla="*/ 1157383 h 2740831"/>
                <a:gd name="connsiteX4" fmla="*/ 2041203 w 6559061"/>
                <a:gd name="connsiteY4" fmla="*/ 1740696 h 2740831"/>
                <a:gd name="connsiteX5" fmla="*/ 2363588 w 6559061"/>
                <a:gd name="connsiteY5" fmla="*/ 2104113 h 2740831"/>
                <a:gd name="connsiteX6" fmla="*/ 2485292 w 6559061"/>
                <a:gd name="connsiteY6" fmla="*/ 2162908 h 2740831"/>
                <a:gd name="connsiteX7" fmla="*/ 2573216 w 6559061"/>
                <a:gd name="connsiteY7" fmla="*/ 2491154 h 2740831"/>
                <a:gd name="connsiteX8" fmla="*/ 2684585 w 6559061"/>
                <a:gd name="connsiteY8" fmla="*/ 2573215 h 2740831"/>
                <a:gd name="connsiteX9" fmla="*/ 2731477 w 6559061"/>
                <a:gd name="connsiteY9" fmla="*/ 2637692 h 2740831"/>
                <a:gd name="connsiteX10" fmla="*/ 2900343 w 6559061"/>
                <a:gd name="connsiteY10" fmla="*/ 2722594 h 2740831"/>
                <a:gd name="connsiteX11" fmla="*/ 3030416 w 6559061"/>
                <a:gd name="connsiteY11" fmla="*/ 2737339 h 2740831"/>
                <a:gd name="connsiteX12" fmla="*/ 3124200 w 6559061"/>
                <a:gd name="connsiteY12" fmla="*/ 2719754 h 2740831"/>
                <a:gd name="connsiteX13" fmla="*/ 3563816 w 6559061"/>
                <a:gd name="connsiteY13" fmla="*/ 2538046 h 2740831"/>
                <a:gd name="connsiteX14" fmla="*/ 3771206 w 6559061"/>
                <a:gd name="connsiteY14" fmla="*/ 2493994 h 2740831"/>
                <a:gd name="connsiteX15" fmla="*/ 3956539 w 6559061"/>
                <a:gd name="connsiteY15" fmla="*/ 2526323 h 2740831"/>
                <a:gd name="connsiteX16" fmla="*/ 4794738 w 6559061"/>
                <a:gd name="connsiteY16" fmla="*/ 2508739 h 2740831"/>
                <a:gd name="connsiteX17" fmla="*/ 5105401 w 6559061"/>
                <a:gd name="connsiteY17" fmla="*/ 1975338 h 2740831"/>
                <a:gd name="connsiteX18" fmla="*/ 6559061 w 6559061"/>
                <a:gd name="connsiteY18" fmla="*/ 1705708 h 2740831"/>
                <a:gd name="connsiteX0" fmla="*/ 0 w 6559061"/>
                <a:gd name="connsiteY0" fmla="*/ 0 h 2740831"/>
                <a:gd name="connsiteX1" fmla="*/ 394960 w 6559061"/>
                <a:gd name="connsiteY1" fmla="*/ 630026 h 2740831"/>
                <a:gd name="connsiteX2" fmla="*/ 1041385 w 6559061"/>
                <a:gd name="connsiteY2" fmla="*/ 955430 h 2740831"/>
                <a:gd name="connsiteX3" fmla="*/ 1348155 w 6559061"/>
                <a:gd name="connsiteY3" fmla="*/ 1157383 h 2740831"/>
                <a:gd name="connsiteX4" fmla="*/ 2041203 w 6559061"/>
                <a:gd name="connsiteY4" fmla="*/ 1740696 h 2740831"/>
                <a:gd name="connsiteX5" fmla="*/ 2363588 w 6559061"/>
                <a:gd name="connsiteY5" fmla="*/ 2104113 h 2740831"/>
                <a:gd name="connsiteX6" fmla="*/ 2485292 w 6559061"/>
                <a:gd name="connsiteY6" fmla="*/ 2162908 h 2740831"/>
                <a:gd name="connsiteX7" fmla="*/ 2573216 w 6559061"/>
                <a:gd name="connsiteY7" fmla="*/ 2491154 h 2740831"/>
                <a:gd name="connsiteX8" fmla="*/ 2684585 w 6559061"/>
                <a:gd name="connsiteY8" fmla="*/ 2573215 h 2740831"/>
                <a:gd name="connsiteX9" fmla="*/ 2731477 w 6559061"/>
                <a:gd name="connsiteY9" fmla="*/ 2637692 h 2740831"/>
                <a:gd name="connsiteX10" fmla="*/ 2900343 w 6559061"/>
                <a:gd name="connsiteY10" fmla="*/ 2722594 h 2740831"/>
                <a:gd name="connsiteX11" fmla="*/ 3030416 w 6559061"/>
                <a:gd name="connsiteY11" fmla="*/ 2737339 h 2740831"/>
                <a:gd name="connsiteX12" fmla="*/ 3124200 w 6559061"/>
                <a:gd name="connsiteY12" fmla="*/ 2719754 h 2740831"/>
                <a:gd name="connsiteX13" fmla="*/ 3563816 w 6559061"/>
                <a:gd name="connsiteY13" fmla="*/ 2538046 h 2740831"/>
                <a:gd name="connsiteX14" fmla="*/ 3764226 w 6559061"/>
                <a:gd name="connsiteY14" fmla="*/ 2486712 h 2740831"/>
                <a:gd name="connsiteX15" fmla="*/ 3956539 w 6559061"/>
                <a:gd name="connsiteY15" fmla="*/ 2526323 h 2740831"/>
                <a:gd name="connsiteX16" fmla="*/ 4794738 w 6559061"/>
                <a:gd name="connsiteY16" fmla="*/ 2508739 h 2740831"/>
                <a:gd name="connsiteX17" fmla="*/ 5105401 w 6559061"/>
                <a:gd name="connsiteY17" fmla="*/ 1975338 h 2740831"/>
                <a:gd name="connsiteX18" fmla="*/ 6559061 w 6559061"/>
                <a:gd name="connsiteY18" fmla="*/ 1705708 h 2740831"/>
                <a:gd name="connsiteX0" fmla="*/ 0 w 6559061"/>
                <a:gd name="connsiteY0" fmla="*/ 0 h 2740831"/>
                <a:gd name="connsiteX1" fmla="*/ 394960 w 6559061"/>
                <a:gd name="connsiteY1" fmla="*/ 630026 h 2740831"/>
                <a:gd name="connsiteX2" fmla="*/ 1041385 w 6559061"/>
                <a:gd name="connsiteY2" fmla="*/ 955430 h 2740831"/>
                <a:gd name="connsiteX3" fmla="*/ 1348155 w 6559061"/>
                <a:gd name="connsiteY3" fmla="*/ 1157383 h 2740831"/>
                <a:gd name="connsiteX4" fmla="*/ 2041203 w 6559061"/>
                <a:gd name="connsiteY4" fmla="*/ 1740696 h 2740831"/>
                <a:gd name="connsiteX5" fmla="*/ 2363588 w 6559061"/>
                <a:gd name="connsiteY5" fmla="*/ 2104113 h 2740831"/>
                <a:gd name="connsiteX6" fmla="*/ 2485292 w 6559061"/>
                <a:gd name="connsiteY6" fmla="*/ 2162908 h 2740831"/>
                <a:gd name="connsiteX7" fmla="*/ 2573216 w 6559061"/>
                <a:gd name="connsiteY7" fmla="*/ 2491154 h 2740831"/>
                <a:gd name="connsiteX8" fmla="*/ 2684585 w 6559061"/>
                <a:gd name="connsiteY8" fmla="*/ 2573215 h 2740831"/>
                <a:gd name="connsiteX9" fmla="*/ 2731477 w 6559061"/>
                <a:gd name="connsiteY9" fmla="*/ 2637692 h 2740831"/>
                <a:gd name="connsiteX10" fmla="*/ 2900343 w 6559061"/>
                <a:gd name="connsiteY10" fmla="*/ 2722594 h 2740831"/>
                <a:gd name="connsiteX11" fmla="*/ 3030416 w 6559061"/>
                <a:gd name="connsiteY11" fmla="*/ 2737339 h 2740831"/>
                <a:gd name="connsiteX12" fmla="*/ 3124200 w 6559061"/>
                <a:gd name="connsiteY12" fmla="*/ 2719754 h 2740831"/>
                <a:gd name="connsiteX13" fmla="*/ 3563816 w 6559061"/>
                <a:gd name="connsiteY13" fmla="*/ 2538046 h 2740831"/>
                <a:gd name="connsiteX14" fmla="*/ 3764226 w 6559061"/>
                <a:gd name="connsiteY14" fmla="*/ 2486712 h 2740831"/>
                <a:gd name="connsiteX15" fmla="*/ 3949558 w 6559061"/>
                <a:gd name="connsiteY15" fmla="*/ 2555450 h 2740831"/>
                <a:gd name="connsiteX16" fmla="*/ 4794738 w 6559061"/>
                <a:gd name="connsiteY16" fmla="*/ 2508739 h 2740831"/>
                <a:gd name="connsiteX17" fmla="*/ 5105401 w 6559061"/>
                <a:gd name="connsiteY17" fmla="*/ 1975338 h 2740831"/>
                <a:gd name="connsiteX18" fmla="*/ 6559061 w 6559061"/>
                <a:gd name="connsiteY18" fmla="*/ 1705708 h 2740831"/>
                <a:gd name="connsiteX0" fmla="*/ 0 w 6559061"/>
                <a:gd name="connsiteY0" fmla="*/ 0 h 2740831"/>
                <a:gd name="connsiteX1" fmla="*/ 394960 w 6559061"/>
                <a:gd name="connsiteY1" fmla="*/ 630026 h 2740831"/>
                <a:gd name="connsiteX2" fmla="*/ 1041385 w 6559061"/>
                <a:gd name="connsiteY2" fmla="*/ 955430 h 2740831"/>
                <a:gd name="connsiteX3" fmla="*/ 1348155 w 6559061"/>
                <a:gd name="connsiteY3" fmla="*/ 1157383 h 2740831"/>
                <a:gd name="connsiteX4" fmla="*/ 2041203 w 6559061"/>
                <a:gd name="connsiteY4" fmla="*/ 1740696 h 2740831"/>
                <a:gd name="connsiteX5" fmla="*/ 2363588 w 6559061"/>
                <a:gd name="connsiteY5" fmla="*/ 2104113 h 2740831"/>
                <a:gd name="connsiteX6" fmla="*/ 2485292 w 6559061"/>
                <a:gd name="connsiteY6" fmla="*/ 2162908 h 2740831"/>
                <a:gd name="connsiteX7" fmla="*/ 2573216 w 6559061"/>
                <a:gd name="connsiteY7" fmla="*/ 2491154 h 2740831"/>
                <a:gd name="connsiteX8" fmla="*/ 2684585 w 6559061"/>
                <a:gd name="connsiteY8" fmla="*/ 2573215 h 2740831"/>
                <a:gd name="connsiteX9" fmla="*/ 2731477 w 6559061"/>
                <a:gd name="connsiteY9" fmla="*/ 2637692 h 2740831"/>
                <a:gd name="connsiteX10" fmla="*/ 2900343 w 6559061"/>
                <a:gd name="connsiteY10" fmla="*/ 2722594 h 2740831"/>
                <a:gd name="connsiteX11" fmla="*/ 3030416 w 6559061"/>
                <a:gd name="connsiteY11" fmla="*/ 2737339 h 2740831"/>
                <a:gd name="connsiteX12" fmla="*/ 3124200 w 6559061"/>
                <a:gd name="connsiteY12" fmla="*/ 2719754 h 2740831"/>
                <a:gd name="connsiteX13" fmla="*/ 3563816 w 6559061"/>
                <a:gd name="connsiteY13" fmla="*/ 2538046 h 2740831"/>
                <a:gd name="connsiteX14" fmla="*/ 3799127 w 6559061"/>
                <a:gd name="connsiteY14" fmla="*/ 2493994 h 2740831"/>
                <a:gd name="connsiteX15" fmla="*/ 3949558 w 6559061"/>
                <a:gd name="connsiteY15" fmla="*/ 2555450 h 2740831"/>
                <a:gd name="connsiteX16" fmla="*/ 4794738 w 6559061"/>
                <a:gd name="connsiteY16" fmla="*/ 2508739 h 2740831"/>
                <a:gd name="connsiteX17" fmla="*/ 5105401 w 6559061"/>
                <a:gd name="connsiteY17" fmla="*/ 1975338 h 2740831"/>
                <a:gd name="connsiteX18" fmla="*/ 6559061 w 6559061"/>
                <a:gd name="connsiteY18" fmla="*/ 1705708 h 2740831"/>
                <a:gd name="connsiteX0" fmla="*/ 0 w 6559061"/>
                <a:gd name="connsiteY0" fmla="*/ 0 h 2740831"/>
                <a:gd name="connsiteX1" fmla="*/ 394960 w 6559061"/>
                <a:gd name="connsiteY1" fmla="*/ 630026 h 2740831"/>
                <a:gd name="connsiteX2" fmla="*/ 1041385 w 6559061"/>
                <a:gd name="connsiteY2" fmla="*/ 955430 h 2740831"/>
                <a:gd name="connsiteX3" fmla="*/ 1348155 w 6559061"/>
                <a:gd name="connsiteY3" fmla="*/ 1157383 h 2740831"/>
                <a:gd name="connsiteX4" fmla="*/ 2041203 w 6559061"/>
                <a:gd name="connsiteY4" fmla="*/ 1740696 h 2740831"/>
                <a:gd name="connsiteX5" fmla="*/ 2363588 w 6559061"/>
                <a:gd name="connsiteY5" fmla="*/ 2104113 h 2740831"/>
                <a:gd name="connsiteX6" fmla="*/ 2485292 w 6559061"/>
                <a:gd name="connsiteY6" fmla="*/ 2162908 h 2740831"/>
                <a:gd name="connsiteX7" fmla="*/ 2573216 w 6559061"/>
                <a:gd name="connsiteY7" fmla="*/ 2491154 h 2740831"/>
                <a:gd name="connsiteX8" fmla="*/ 2684585 w 6559061"/>
                <a:gd name="connsiteY8" fmla="*/ 2573215 h 2740831"/>
                <a:gd name="connsiteX9" fmla="*/ 2731477 w 6559061"/>
                <a:gd name="connsiteY9" fmla="*/ 2637692 h 2740831"/>
                <a:gd name="connsiteX10" fmla="*/ 2900343 w 6559061"/>
                <a:gd name="connsiteY10" fmla="*/ 2722594 h 2740831"/>
                <a:gd name="connsiteX11" fmla="*/ 3030416 w 6559061"/>
                <a:gd name="connsiteY11" fmla="*/ 2737339 h 2740831"/>
                <a:gd name="connsiteX12" fmla="*/ 3124200 w 6559061"/>
                <a:gd name="connsiteY12" fmla="*/ 2719754 h 2740831"/>
                <a:gd name="connsiteX13" fmla="*/ 3563816 w 6559061"/>
                <a:gd name="connsiteY13" fmla="*/ 2538046 h 2740831"/>
                <a:gd name="connsiteX14" fmla="*/ 3806107 w 6559061"/>
                <a:gd name="connsiteY14" fmla="*/ 2486712 h 2740831"/>
                <a:gd name="connsiteX15" fmla="*/ 3949558 w 6559061"/>
                <a:gd name="connsiteY15" fmla="*/ 2555450 h 2740831"/>
                <a:gd name="connsiteX16" fmla="*/ 4794738 w 6559061"/>
                <a:gd name="connsiteY16" fmla="*/ 2508739 h 2740831"/>
                <a:gd name="connsiteX17" fmla="*/ 5105401 w 6559061"/>
                <a:gd name="connsiteY17" fmla="*/ 1975338 h 2740831"/>
                <a:gd name="connsiteX18" fmla="*/ 6559061 w 6559061"/>
                <a:gd name="connsiteY18" fmla="*/ 1705708 h 2740831"/>
                <a:gd name="connsiteX0" fmla="*/ 0 w 6559061"/>
                <a:gd name="connsiteY0" fmla="*/ 0 h 2740831"/>
                <a:gd name="connsiteX1" fmla="*/ 394960 w 6559061"/>
                <a:gd name="connsiteY1" fmla="*/ 630026 h 2740831"/>
                <a:gd name="connsiteX2" fmla="*/ 1041385 w 6559061"/>
                <a:gd name="connsiteY2" fmla="*/ 955430 h 2740831"/>
                <a:gd name="connsiteX3" fmla="*/ 1348155 w 6559061"/>
                <a:gd name="connsiteY3" fmla="*/ 1157383 h 2740831"/>
                <a:gd name="connsiteX4" fmla="*/ 2041203 w 6559061"/>
                <a:gd name="connsiteY4" fmla="*/ 1740696 h 2740831"/>
                <a:gd name="connsiteX5" fmla="*/ 2363588 w 6559061"/>
                <a:gd name="connsiteY5" fmla="*/ 2104113 h 2740831"/>
                <a:gd name="connsiteX6" fmla="*/ 2485292 w 6559061"/>
                <a:gd name="connsiteY6" fmla="*/ 2162908 h 2740831"/>
                <a:gd name="connsiteX7" fmla="*/ 2573216 w 6559061"/>
                <a:gd name="connsiteY7" fmla="*/ 2491154 h 2740831"/>
                <a:gd name="connsiteX8" fmla="*/ 2684585 w 6559061"/>
                <a:gd name="connsiteY8" fmla="*/ 2573215 h 2740831"/>
                <a:gd name="connsiteX9" fmla="*/ 2731477 w 6559061"/>
                <a:gd name="connsiteY9" fmla="*/ 2637692 h 2740831"/>
                <a:gd name="connsiteX10" fmla="*/ 2900343 w 6559061"/>
                <a:gd name="connsiteY10" fmla="*/ 2722594 h 2740831"/>
                <a:gd name="connsiteX11" fmla="*/ 3030416 w 6559061"/>
                <a:gd name="connsiteY11" fmla="*/ 2737339 h 2740831"/>
                <a:gd name="connsiteX12" fmla="*/ 3124200 w 6559061"/>
                <a:gd name="connsiteY12" fmla="*/ 2719754 h 2740831"/>
                <a:gd name="connsiteX13" fmla="*/ 3563816 w 6559061"/>
                <a:gd name="connsiteY13" fmla="*/ 2538046 h 2740831"/>
                <a:gd name="connsiteX14" fmla="*/ 3806107 w 6559061"/>
                <a:gd name="connsiteY14" fmla="*/ 2486712 h 2740831"/>
                <a:gd name="connsiteX15" fmla="*/ 3970499 w 6559061"/>
                <a:gd name="connsiteY15" fmla="*/ 2548169 h 2740831"/>
                <a:gd name="connsiteX16" fmla="*/ 4794738 w 6559061"/>
                <a:gd name="connsiteY16" fmla="*/ 2508739 h 2740831"/>
                <a:gd name="connsiteX17" fmla="*/ 5105401 w 6559061"/>
                <a:gd name="connsiteY17" fmla="*/ 1975338 h 2740831"/>
                <a:gd name="connsiteX18" fmla="*/ 6559061 w 6559061"/>
                <a:gd name="connsiteY18" fmla="*/ 1705708 h 2740831"/>
                <a:gd name="connsiteX0" fmla="*/ 0 w 6559061"/>
                <a:gd name="connsiteY0" fmla="*/ 0 h 2740392"/>
                <a:gd name="connsiteX1" fmla="*/ 394960 w 6559061"/>
                <a:gd name="connsiteY1" fmla="*/ 630026 h 2740392"/>
                <a:gd name="connsiteX2" fmla="*/ 1041385 w 6559061"/>
                <a:gd name="connsiteY2" fmla="*/ 955430 h 2740392"/>
                <a:gd name="connsiteX3" fmla="*/ 1348155 w 6559061"/>
                <a:gd name="connsiteY3" fmla="*/ 1157383 h 2740392"/>
                <a:gd name="connsiteX4" fmla="*/ 2041203 w 6559061"/>
                <a:gd name="connsiteY4" fmla="*/ 1740696 h 2740392"/>
                <a:gd name="connsiteX5" fmla="*/ 2363588 w 6559061"/>
                <a:gd name="connsiteY5" fmla="*/ 2104113 h 2740392"/>
                <a:gd name="connsiteX6" fmla="*/ 2485292 w 6559061"/>
                <a:gd name="connsiteY6" fmla="*/ 2162908 h 2740392"/>
                <a:gd name="connsiteX7" fmla="*/ 2573216 w 6559061"/>
                <a:gd name="connsiteY7" fmla="*/ 2491154 h 2740392"/>
                <a:gd name="connsiteX8" fmla="*/ 2684585 w 6559061"/>
                <a:gd name="connsiteY8" fmla="*/ 2573215 h 2740392"/>
                <a:gd name="connsiteX9" fmla="*/ 2731477 w 6559061"/>
                <a:gd name="connsiteY9" fmla="*/ 2637692 h 2740392"/>
                <a:gd name="connsiteX10" fmla="*/ 2900343 w 6559061"/>
                <a:gd name="connsiteY10" fmla="*/ 2722594 h 2740392"/>
                <a:gd name="connsiteX11" fmla="*/ 3030416 w 6559061"/>
                <a:gd name="connsiteY11" fmla="*/ 2737339 h 2740392"/>
                <a:gd name="connsiteX12" fmla="*/ 3124200 w 6559061"/>
                <a:gd name="connsiteY12" fmla="*/ 2719754 h 2740392"/>
                <a:gd name="connsiteX13" fmla="*/ 3570797 w 6559061"/>
                <a:gd name="connsiteY13" fmla="*/ 2545328 h 2740392"/>
                <a:gd name="connsiteX14" fmla="*/ 3806107 w 6559061"/>
                <a:gd name="connsiteY14" fmla="*/ 2486712 h 2740392"/>
                <a:gd name="connsiteX15" fmla="*/ 3970499 w 6559061"/>
                <a:gd name="connsiteY15" fmla="*/ 2548169 h 2740392"/>
                <a:gd name="connsiteX16" fmla="*/ 4794738 w 6559061"/>
                <a:gd name="connsiteY16" fmla="*/ 2508739 h 2740392"/>
                <a:gd name="connsiteX17" fmla="*/ 5105401 w 6559061"/>
                <a:gd name="connsiteY17" fmla="*/ 1975338 h 2740392"/>
                <a:gd name="connsiteX18" fmla="*/ 6559061 w 6559061"/>
                <a:gd name="connsiteY18" fmla="*/ 1705708 h 2740392"/>
                <a:gd name="connsiteX0" fmla="*/ 0 w 6559061"/>
                <a:gd name="connsiteY0" fmla="*/ 0 h 2740392"/>
                <a:gd name="connsiteX1" fmla="*/ 394960 w 6559061"/>
                <a:gd name="connsiteY1" fmla="*/ 630026 h 2740392"/>
                <a:gd name="connsiteX2" fmla="*/ 1062326 w 6559061"/>
                <a:gd name="connsiteY2" fmla="*/ 948149 h 2740392"/>
                <a:gd name="connsiteX3" fmla="*/ 1348155 w 6559061"/>
                <a:gd name="connsiteY3" fmla="*/ 1157383 h 2740392"/>
                <a:gd name="connsiteX4" fmla="*/ 2041203 w 6559061"/>
                <a:gd name="connsiteY4" fmla="*/ 1740696 h 2740392"/>
                <a:gd name="connsiteX5" fmla="*/ 2363588 w 6559061"/>
                <a:gd name="connsiteY5" fmla="*/ 2104113 h 2740392"/>
                <a:gd name="connsiteX6" fmla="*/ 2485292 w 6559061"/>
                <a:gd name="connsiteY6" fmla="*/ 2162908 h 2740392"/>
                <a:gd name="connsiteX7" fmla="*/ 2573216 w 6559061"/>
                <a:gd name="connsiteY7" fmla="*/ 2491154 h 2740392"/>
                <a:gd name="connsiteX8" fmla="*/ 2684585 w 6559061"/>
                <a:gd name="connsiteY8" fmla="*/ 2573215 h 2740392"/>
                <a:gd name="connsiteX9" fmla="*/ 2731477 w 6559061"/>
                <a:gd name="connsiteY9" fmla="*/ 2637692 h 2740392"/>
                <a:gd name="connsiteX10" fmla="*/ 2900343 w 6559061"/>
                <a:gd name="connsiteY10" fmla="*/ 2722594 h 2740392"/>
                <a:gd name="connsiteX11" fmla="*/ 3030416 w 6559061"/>
                <a:gd name="connsiteY11" fmla="*/ 2737339 h 2740392"/>
                <a:gd name="connsiteX12" fmla="*/ 3124200 w 6559061"/>
                <a:gd name="connsiteY12" fmla="*/ 2719754 h 2740392"/>
                <a:gd name="connsiteX13" fmla="*/ 3570797 w 6559061"/>
                <a:gd name="connsiteY13" fmla="*/ 2545328 h 2740392"/>
                <a:gd name="connsiteX14" fmla="*/ 3806107 w 6559061"/>
                <a:gd name="connsiteY14" fmla="*/ 2486712 h 2740392"/>
                <a:gd name="connsiteX15" fmla="*/ 3970499 w 6559061"/>
                <a:gd name="connsiteY15" fmla="*/ 2548169 h 2740392"/>
                <a:gd name="connsiteX16" fmla="*/ 4794738 w 6559061"/>
                <a:gd name="connsiteY16" fmla="*/ 2508739 h 2740392"/>
                <a:gd name="connsiteX17" fmla="*/ 5105401 w 6559061"/>
                <a:gd name="connsiteY17" fmla="*/ 1975338 h 2740392"/>
                <a:gd name="connsiteX18" fmla="*/ 6559061 w 6559061"/>
                <a:gd name="connsiteY18" fmla="*/ 1705708 h 2740392"/>
                <a:gd name="connsiteX0" fmla="*/ 0 w 6559061"/>
                <a:gd name="connsiteY0" fmla="*/ 0 h 2740392"/>
                <a:gd name="connsiteX1" fmla="*/ 422880 w 6559061"/>
                <a:gd name="connsiteY1" fmla="*/ 637308 h 2740392"/>
                <a:gd name="connsiteX2" fmla="*/ 1062326 w 6559061"/>
                <a:gd name="connsiteY2" fmla="*/ 948149 h 2740392"/>
                <a:gd name="connsiteX3" fmla="*/ 1348155 w 6559061"/>
                <a:gd name="connsiteY3" fmla="*/ 1157383 h 2740392"/>
                <a:gd name="connsiteX4" fmla="*/ 2041203 w 6559061"/>
                <a:gd name="connsiteY4" fmla="*/ 1740696 h 2740392"/>
                <a:gd name="connsiteX5" fmla="*/ 2363588 w 6559061"/>
                <a:gd name="connsiteY5" fmla="*/ 2104113 h 2740392"/>
                <a:gd name="connsiteX6" fmla="*/ 2485292 w 6559061"/>
                <a:gd name="connsiteY6" fmla="*/ 2162908 h 2740392"/>
                <a:gd name="connsiteX7" fmla="*/ 2573216 w 6559061"/>
                <a:gd name="connsiteY7" fmla="*/ 2491154 h 2740392"/>
                <a:gd name="connsiteX8" fmla="*/ 2684585 w 6559061"/>
                <a:gd name="connsiteY8" fmla="*/ 2573215 h 2740392"/>
                <a:gd name="connsiteX9" fmla="*/ 2731477 w 6559061"/>
                <a:gd name="connsiteY9" fmla="*/ 2637692 h 2740392"/>
                <a:gd name="connsiteX10" fmla="*/ 2900343 w 6559061"/>
                <a:gd name="connsiteY10" fmla="*/ 2722594 h 2740392"/>
                <a:gd name="connsiteX11" fmla="*/ 3030416 w 6559061"/>
                <a:gd name="connsiteY11" fmla="*/ 2737339 h 2740392"/>
                <a:gd name="connsiteX12" fmla="*/ 3124200 w 6559061"/>
                <a:gd name="connsiteY12" fmla="*/ 2719754 h 2740392"/>
                <a:gd name="connsiteX13" fmla="*/ 3570797 w 6559061"/>
                <a:gd name="connsiteY13" fmla="*/ 2545328 h 2740392"/>
                <a:gd name="connsiteX14" fmla="*/ 3806107 w 6559061"/>
                <a:gd name="connsiteY14" fmla="*/ 2486712 h 2740392"/>
                <a:gd name="connsiteX15" fmla="*/ 3970499 w 6559061"/>
                <a:gd name="connsiteY15" fmla="*/ 2548169 h 2740392"/>
                <a:gd name="connsiteX16" fmla="*/ 4794738 w 6559061"/>
                <a:gd name="connsiteY16" fmla="*/ 2508739 h 2740392"/>
                <a:gd name="connsiteX17" fmla="*/ 5105401 w 6559061"/>
                <a:gd name="connsiteY17" fmla="*/ 1975338 h 2740392"/>
                <a:gd name="connsiteX18" fmla="*/ 6559061 w 6559061"/>
                <a:gd name="connsiteY18" fmla="*/ 1705708 h 2740392"/>
                <a:gd name="connsiteX0" fmla="*/ 0 w 6559061"/>
                <a:gd name="connsiteY0" fmla="*/ 0 h 2740392"/>
                <a:gd name="connsiteX1" fmla="*/ 422880 w 6559061"/>
                <a:gd name="connsiteY1" fmla="*/ 637308 h 2740392"/>
                <a:gd name="connsiteX2" fmla="*/ 1062326 w 6559061"/>
                <a:gd name="connsiteY2" fmla="*/ 948149 h 2740392"/>
                <a:gd name="connsiteX3" fmla="*/ 1348155 w 6559061"/>
                <a:gd name="connsiteY3" fmla="*/ 1157383 h 2740392"/>
                <a:gd name="connsiteX4" fmla="*/ 2041203 w 6559061"/>
                <a:gd name="connsiteY4" fmla="*/ 1740696 h 2740392"/>
                <a:gd name="connsiteX5" fmla="*/ 2363588 w 6559061"/>
                <a:gd name="connsiteY5" fmla="*/ 2104113 h 2740392"/>
                <a:gd name="connsiteX6" fmla="*/ 2485292 w 6559061"/>
                <a:gd name="connsiteY6" fmla="*/ 2162908 h 2740392"/>
                <a:gd name="connsiteX7" fmla="*/ 2650026 w 6559061"/>
                <a:gd name="connsiteY7" fmla="*/ 2491154 h 2740392"/>
                <a:gd name="connsiteX8" fmla="*/ 2684585 w 6559061"/>
                <a:gd name="connsiteY8" fmla="*/ 2573215 h 2740392"/>
                <a:gd name="connsiteX9" fmla="*/ 2731477 w 6559061"/>
                <a:gd name="connsiteY9" fmla="*/ 2637692 h 2740392"/>
                <a:gd name="connsiteX10" fmla="*/ 2900343 w 6559061"/>
                <a:gd name="connsiteY10" fmla="*/ 2722594 h 2740392"/>
                <a:gd name="connsiteX11" fmla="*/ 3030416 w 6559061"/>
                <a:gd name="connsiteY11" fmla="*/ 2737339 h 2740392"/>
                <a:gd name="connsiteX12" fmla="*/ 3124200 w 6559061"/>
                <a:gd name="connsiteY12" fmla="*/ 2719754 h 2740392"/>
                <a:gd name="connsiteX13" fmla="*/ 3570797 w 6559061"/>
                <a:gd name="connsiteY13" fmla="*/ 2545328 h 2740392"/>
                <a:gd name="connsiteX14" fmla="*/ 3806107 w 6559061"/>
                <a:gd name="connsiteY14" fmla="*/ 2486712 h 2740392"/>
                <a:gd name="connsiteX15" fmla="*/ 3970499 w 6559061"/>
                <a:gd name="connsiteY15" fmla="*/ 2548169 h 2740392"/>
                <a:gd name="connsiteX16" fmla="*/ 4794738 w 6559061"/>
                <a:gd name="connsiteY16" fmla="*/ 2508739 h 2740392"/>
                <a:gd name="connsiteX17" fmla="*/ 5105401 w 6559061"/>
                <a:gd name="connsiteY17" fmla="*/ 1975338 h 2740392"/>
                <a:gd name="connsiteX18" fmla="*/ 6559061 w 6559061"/>
                <a:gd name="connsiteY18" fmla="*/ 1705708 h 2740392"/>
                <a:gd name="connsiteX0" fmla="*/ 0 w 6559061"/>
                <a:gd name="connsiteY0" fmla="*/ 0 h 2740392"/>
                <a:gd name="connsiteX1" fmla="*/ 422880 w 6559061"/>
                <a:gd name="connsiteY1" fmla="*/ 637308 h 2740392"/>
                <a:gd name="connsiteX2" fmla="*/ 1062326 w 6559061"/>
                <a:gd name="connsiteY2" fmla="*/ 948149 h 2740392"/>
                <a:gd name="connsiteX3" fmla="*/ 1348155 w 6559061"/>
                <a:gd name="connsiteY3" fmla="*/ 1157383 h 2740392"/>
                <a:gd name="connsiteX4" fmla="*/ 2041203 w 6559061"/>
                <a:gd name="connsiteY4" fmla="*/ 1740696 h 2740392"/>
                <a:gd name="connsiteX5" fmla="*/ 2363588 w 6559061"/>
                <a:gd name="connsiteY5" fmla="*/ 2104113 h 2740392"/>
                <a:gd name="connsiteX6" fmla="*/ 2518210 w 6559061"/>
                <a:gd name="connsiteY6" fmla="*/ 2166723 h 2740392"/>
                <a:gd name="connsiteX7" fmla="*/ 2650026 w 6559061"/>
                <a:gd name="connsiteY7" fmla="*/ 2491154 h 2740392"/>
                <a:gd name="connsiteX8" fmla="*/ 2684585 w 6559061"/>
                <a:gd name="connsiteY8" fmla="*/ 2573215 h 2740392"/>
                <a:gd name="connsiteX9" fmla="*/ 2731477 w 6559061"/>
                <a:gd name="connsiteY9" fmla="*/ 2637692 h 2740392"/>
                <a:gd name="connsiteX10" fmla="*/ 2900343 w 6559061"/>
                <a:gd name="connsiteY10" fmla="*/ 2722594 h 2740392"/>
                <a:gd name="connsiteX11" fmla="*/ 3030416 w 6559061"/>
                <a:gd name="connsiteY11" fmla="*/ 2737339 h 2740392"/>
                <a:gd name="connsiteX12" fmla="*/ 3124200 w 6559061"/>
                <a:gd name="connsiteY12" fmla="*/ 2719754 h 2740392"/>
                <a:gd name="connsiteX13" fmla="*/ 3570797 w 6559061"/>
                <a:gd name="connsiteY13" fmla="*/ 2545328 h 2740392"/>
                <a:gd name="connsiteX14" fmla="*/ 3806107 w 6559061"/>
                <a:gd name="connsiteY14" fmla="*/ 2486712 h 2740392"/>
                <a:gd name="connsiteX15" fmla="*/ 3970499 w 6559061"/>
                <a:gd name="connsiteY15" fmla="*/ 2548169 h 2740392"/>
                <a:gd name="connsiteX16" fmla="*/ 4794738 w 6559061"/>
                <a:gd name="connsiteY16" fmla="*/ 2508739 h 2740392"/>
                <a:gd name="connsiteX17" fmla="*/ 5105401 w 6559061"/>
                <a:gd name="connsiteY17" fmla="*/ 1975338 h 2740392"/>
                <a:gd name="connsiteX18" fmla="*/ 6559061 w 6559061"/>
                <a:gd name="connsiteY18" fmla="*/ 1705708 h 2740392"/>
                <a:gd name="connsiteX0" fmla="*/ 0 w 6559061"/>
                <a:gd name="connsiteY0" fmla="*/ 0 h 2740392"/>
                <a:gd name="connsiteX1" fmla="*/ 422880 w 6559061"/>
                <a:gd name="connsiteY1" fmla="*/ 637308 h 2740392"/>
                <a:gd name="connsiteX2" fmla="*/ 1062326 w 6559061"/>
                <a:gd name="connsiteY2" fmla="*/ 948149 h 2740392"/>
                <a:gd name="connsiteX3" fmla="*/ 1348155 w 6559061"/>
                <a:gd name="connsiteY3" fmla="*/ 1157383 h 2740392"/>
                <a:gd name="connsiteX4" fmla="*/ 2041203 w 6559061"/>
                <a:gd name="connsiteY4" fmla="*/ 1740696 h 2740392"/>
                <a:gd name="connsiteX5" fmla="*/ 2363588 w 6559061"/>
                <a:gd name="connsiteY5" fmla="*/ 2104113 h 2740392"/>
                <a:gd name="connsiteX6" fmla="*/ 2543813 w 6559061"/>
                <a:gd name="connsiteY6" fmla="*/ 2170540 h 2740392"/>
                <a:gd name="connsiteX7" fmla="*/ 2650026 w 6559061"/>
                <a:gd name="connsiteY7" fmla="*/ 2491154 h 2740392"/>
                <a:gd name="connsiteX8" fmla="*/ 2684585 w 6559061"/>
                <a:gd name="connsiteY8" fmla="*/ 2573215 h 2740392"/>
                <a:gd name="connsiteX9" fmla="*/ 2731477 w 6559061"/>
                <a:gd name="connsiteY9" fmla="*/ 2637692 h 2740392"/>
                <a:gd name="connsiteX10" fmla="*/ 2900343 w 6559061"/>
                <a:gd name="connsiteY10" fmla="*/ 2722594 h 2740392"/>
                <a:gd name="connsiteX11" fmla="*/ 3030416 w 6559061"/>
                <a:gd name="connsiteY11" fmla="*/ 2737339 h 2740392"/>
                <a:gd name="connsiteX12" fmla="*/ 3124200 w 6559061"/>
                <a:gd name="connsiteY12" fmla="*/ 2719754 h 2740392"/>
                <a:gd name="connsiteX13" fmla="*/ 3570797 w 6559061"/>
                <a:gd name="connsiteY13" fmla="*/ 2545328 h 2740392"/>
                <a:gd name="connsiteX14" fmla="*/ 3806107 w 6559061"/>
                <a:gd name="connsiteY14" fmla="*/ 2486712 h 2740392"/>
                <a:gd name="connsiteX15" fmla="*/ 3970499 w 6559061"/>
                <a:gd name="connsiteY15" fmla="*/ 2548169 h 2740392"/>
                <a:gd name="connsiteX16" fmla="*/ 4794738 w 6559061"/>
                <a:gd name="connsiteY16" fmla="*/ 2508739 h 2740392"/>
                <a:gd name="connsiteX17" fmla="*/ 5105401 w 6559061"/>
                <a:gd name="connsiteY17" fmla="*/ 1975338 h 2740392"/>
                <a:gd name="connsiteX18" fmla="*/ 6559061 w 6559061"/>
                <a:gd name="connsiteY18" fmla="*/ 1705708 h 2740392"/>
                <a:gd name="connsiteX0" fmla="*/ 0 w 6559061"/>
                <a:gd name="connsiteY0" fmla="*/ 0 h 2740392"/>
                <a:gd name="connsiteX1" fmla="*/ 422880 w 6559061"/>
                <a:gd name="connsiteY1" fmla="*/ 637308 h 2740392"/>
                <a:gd name="connsiteX2" fmla="*/ 1062326 w 6559061"/>
                <a:gd name="connsiteY2" fmla="*/ 948149 h 2740392"/>
                <a:gd name="connsiteX3" fmla="*/ 1348155 w 6559061"/>
                <a:gd name="connsiteY3" fmla="*/ 1157383 h 2740392"/>
                <a:gd name="connsiteX4" fmla="*/ 2041203 w 6559061"/>
                <a:gd name="connsiteY4" fmla="*/ 1740696 h 2740392"/>
                <a:gd name="connsiteX5" fmla="*/ 2363588 w 6559061"/>
                <a:gd name="connsiteY5" fmla="*/ 2104113 h 2740392"/>
                <a:gd name="connsiteX6" fmla="*/ 2540155 w 6559061"/>
                <a:gd name="connsiteY6" fmla="*/ 2185804 h 2740392"/>
                <a:gd name="connsiteX7" fmla="*/ 2650026 w 6559061"/>
                <a:gd name="connsiteY7" fmla="*/ 2491154 h 2740392"/>
                <a:gd name="connsiteX8" fmla="*/ 2684585 w 6559061"/>
                <a:gd name="connsiteY8" fmla="*/ 2573215 h 2740392"/>
                <a:gd name="connsiteX9" fmla="*/ 2731477 w 6559061"/>
                <a:gd name="connsiteY9" fmla="*/ 2637692 h 2740392"/>
                <a:gd name="connsiteX10" fmla="*/ 2900343 w 6559061"/>
                <a:gd name="connsiteY10" fmla="*/ 2722594 h 2740392"/>
                <a:gd name="connsiteX11" fmla="*/ 3030416 w 6559061"/>
                <a:gd name="connsiteY11" fmla="*/ 2737339 h 2740392"/>
                <a:gd name="connsiteX12" fmla="*/ 3124200 w 6559061"/>
                <a:gd name="connsiteY12" fmla="*/ 2719754 h 2740392"/>
                <a:gd name="connsiteX13" fmla="*/ 3570797 w 6559061"/>
                <a:gd name="connsiteY13" fmla="*/ 2545328 h 2740392"/>
                <a:gd name="connsiteX14" fmla="*/ 3806107 w 6559061"/>
                <a:gd name="connsiteY14" fmla="*/ 2486712 h 2740392"/>
                <a:gd name="connsiteX15" fmla="*/ 3970499 w 6559061"/>
                <a:gd name="connsiteY15" fmla="*/ 2548169 h 2740392"/>
                <a:gd name="connsiteX16" fmla="*/ 4794738 w 6559061"/>
                <a:gd name="connsiteY16" fmla="*/ 2508739 h 2740392"/>
                <a:gd name="connsiteX17" fmla="*/ 5105401 w 6559061"/>
                <a:gd name="connsiteY17" fmla="*/ 1975338 h 2740392"/>
                <a:gd name="connsiteX18" fmla="*/ 6559061 w 6559061"/>
                <a:gd name="connsiteY18" fmla="*/ 1705708 h 2740392"/>
                <a:gd name="connsiteX0" fmla="*/ 0 w 6559061"/>
                <a:gd name="connsiteY0" fmla="*/ 0 h 2740392"/>
                <a:gd name="connsiteX1" fmla="*/ 422880 w 6559061"/>
                <a:gd name="connsiteY1" fmla="*/ 637308 h 2740392"/>
                <a:gd name="connsiteX2" fmla="*/ 1062326 w 6559061"/>
                <a:gd name="connsiteY2" fmla="*/ 948149 h 2740392"/>
                <a:gd name="connsiteX3" fmla="*/ 1348155 w 6559061"/>
                <a:gd name="connsiteY3" fmla="*/ 1157383 h 2740392"/>
                <a:gd name="connsiteX4" fmla="*/ 2041203 w 6559061"/>
                <a:gd name="connsiteY4" fmla="*/ 1740696 h 2740392"/>
                <a:gd name="connsiteX5" fmla="*/ 2363588 w 6559061"/>
                <a:gd name="connsiteY5" fmla="*/ 2104113 h 2740392"/>
                <a:gd name="connsiteX6" fmla="*/ 2540155 w 6559061"/>
                <a:gd name="connsiteY6" fmla="*/ 2185804 h 2740392"/>
                <a:gd name="connsiteX7" fmla="*/ 2650026 w 6559061"/>
                <a:gd name="connsiteY7" fmla="*/ 2491154 h 2740392"/>
                <a:gd name="connsiteX8" fmla="*/ 2662640 w 6559061"/>
                <a:gd name="connsiteY8" fmla="*/ 2577031 h 2740392"/>
                <a:gd name="connsiteX9" fmla="*/ 2731477 w 6559061"/>
                <a:gd name="connsiteY9" fmla="*/ 2637692 h 2740392"/>
                <a:gd name="connsiteX10" fmla="*/ 2900343 w 6559061"/>
                <a:gd name="connsiteY10" fmla="*/ 2722594 h 2740392"/>
                <a:gd name="connsiteX11" fmla="*/ 3030416 w 6559061"/>
                <a:gd name="connsiteY11" fmla="*/ 2737339 h 2740392"/>
                <a:gd name="connsiteX12" fmla="*/ 3124200 w 6559061"/>
                <a:gd name="connsiteY12" fmla="*/ 2719754 h 2740392"/>
                <a:gd name="connsiteX13" fmla="*/ 3570797 w 6559061"/>
                <a:gd name="connsiteY13" fmla="*/ 2545328 h 2740392"/>
                <a:gd name="connsiteX14" fmla="*/ 3806107 w 6559061"/>
                <a:gd name="connsiteY14" fmla="*/ 2486712 h 2740392"/>
                <a:gd name="connsiteX15" fmla="*/ 3970499 w 6559061"/>
                <a:gd name="connsiteY15" fmla="*/ 2548169 h 2740392"/>
                <a:gd name="connsiteX16" fmla="*/ 4794738 w 6559061"/>
                <a:gd name="connsiteY16" fmla="*/ 2508739 h 2740392"/>
                <a:gd name="connsiteX17" fmla="*/ 5105401 w 6559061"/>
                <a:gd name="connsiteY17" fmla="*/ 1975338 h 2740392"/>
                <a:gd name="connsiteX18" fmla="*/ 6559061 w 6559061"/>
                <a:gd name="connsiteY18" fmla="*/ 1705708 h 2740392"/>
                <a:gd name="connsiteX0" fmla="*/ 0 w 6559061"/>
                <a:gd name="connsiteY0" fmla="*/ 0 h 2740392"/>
                <a:gd name="connsiteX1" fmla="*/ 422880 w 6559061"/>
                <a:gd name="connsiteY1" fmla="*/ 637308 h 2740392"/>
                <a:gd name="connsiteX2" fmla="*/ 1062326 w 6559061"/>
                <a:gd name="connsiteY2" fmla="*/ 948149 h 2740392"/>
                <a:gd name="connsiteX3" fmla="*/ 1348155 w 6559061"/>
                <a:gd name="connsiteY3" fmla="*/ 1157383 h 2740392"/>
                <a:gd name="connsiteX4" fmla="*/ 2041203 w 6559061"/>
                <a:gd name="connsiteY4" fmla="*/ 1740696 h 2740392"/>
                <a:gd name="connsiteX5" fmla="*/ 2363588 w 6559061"/>
                <a:gd name="connsiteY5" fmla="*/ 2104113 h 2740392"/>
                <a:gd name="connsiteX6" fmla="*/ 2540155 w 6559061"/>
                <a:gd name="connsiteY6" fmla="*/ 2185804 h 2740392"/>
                <a:gd name="connsiteX7" fmla="*/ 2650026 w 6559061"/>
                <a:gd name="connsiteY7" fmla="*/ 2491154 h 2740392"/>
                <a:gd name="connsiteX8" fmla="*/ 2662640 w 6559061"/>
                <a:gd name="connsiteY8" fmla="*/ 2577031 h 2740392"/>
                <a:gd name="connsiteX9" fmla="*/ 2749765 w 6559061"/>
                <a:gd name="connsiteY9" fmla="*/ 2622429 h 2740392"/>
                <a:gd name="connsiteX10" fmla="*/ 2900343 w 6559061"/>
                <a:gd name="connsiteY10" fmla="*/ 2722594 h 2740392"/>
                <a:gd name="connsiteX11" fmla="*/ 3030416 w 6559061"/>
                <a:gd name="connsiteY11" fmla="*/ 2737339 h 2740392"/>
                <a:gd name="connsiteX12" fmla="*/ 3124200 w 6559061"/>
                <a:gd name="connsiteY12" fmla="*/ 2719754 h 2740392"/>
                <a:gd name="connsiteX13" fmla="*/ 3570797 w 6559061"/>
                <a:gd name="connsiteY13" fmla="*/ 2545328 h 2740392"/>
                <a:gd name="connsiteX14" fmla="*/ 3806107 w 6559061"/>
                <a:gd name="connsiteY14" fmla="*/ 2486712 h 2740392"/>
                <a:gd name="connsiteX15" fmla="*/ 3970499 w 6559061"/>
                <a:gd name="connsiteY15" fmla="*/ 2548169 h 2740392"/>
                <a:gd name="connsiteX16" fmla="*/ 4794738 w 6559061"/>
                <a:gd name="connsiteY16" fmla="*/ 2508739 h 2740392"/>
                <a:gd name="connsiteX17" fmla="*/ 5105401 w 6559061"/>
                <a:gd name="connsiteY17" fmla="*/ 1975338 h 2740392"/>
                <a:gd name="connsiteX18" fmla="*/ 6559061 w 6559061"/>
                <a:gd name="connsiteY18" fmla="*/ 1705708 h 2740392"/>
                <a:gd name="connsiteX0" fmla="*/ 0 w 6136181"/>
                <a:gd name="connsiteY0" fmla="*/ 0 h 2103084"/>
                <a:gd name="connsiteX1" fmla="*/ 639446 w 6136181"/>
                <a:gd name="connsiteY1" fmla="*/ 310841 h 2103084"/>
                <a:gd name="connsiteX2" fmla="*/ 925275 w 6136181"/>
                <a:gd name="connsiteY2" fmla="*/ 520075 h 2103084"/>
                <a:gd name="connsiteX3" fmla="*/ 1618323 w 6136181"/>
                <a:gd name="connsiteY3" fmla="*/ 1103388 h 2103084"/>
                <a:gd name="connsiteX4" fmla="*/ 1940708 w 6136181"/>
                <a:gd name="connsiteY4" fmla="*/ 1466805 h 2103084"/>
                <a:gd name="connsiteX5" fmla="*/ 2117275 w 6136181"/>
                <a:gd name="connsiteY5" fmla="*/ 1548496 h 2103084"/>
                <a:gd name="connsiteX6" fmla="*/ 2227146 w 6136181"/>
                <a:gd name="connsiteY6" fmla="*/ 1853846 h 2103084"/>
                <a:gd name="connsiteX7" fmla="*/ 2239760 w 6136181"/>
                <a:gd name="connsiteY7" fmla="*/ 1939723 h 2103084"/>
                <a:gd name="connsiteX8" fmla="*/ 2326885 w 6136181"/>
                <a:gd name="connsiteY8" fmla="*/ 1985121 h 2103084"/>
                <a:gd name="connsiteX9" fmla="*/ 2477463 w 6136181"/>
                <a:gd name="connsiteY9" fmla="*/ 2085286 h 2103084"/>
                <a:gd name="connsiteX10" fmla="*/ 2607536 w 6136181"/>
                <a:gd name="connsiteY10" fmla="*/ 2100031 h 2103084"/>
                <a:gd name="connsiteX11" fmla="*/ 2701320 w 6136181"/>
                <a:gd name="connsiteY11" fmla="*/ 2082446 h 2103084"/>
                <a:gd name="connsiteX12" fmla="*/ 3147917 w 6136181"/>
                <a:gd name="connsiteY12" fmla="*/ 1908020 h 2103084"/>
                <a:gd name="connsiteX13" fmla="*/ 3383227 w 6136181"/>
                <a:gd name="connsiteY13" fmla="*/ 1849404 h 2103084"/>
                <a:gd name="connsiteX14" fmla="*/ 3547619 w 6136181"/>
                <a:gd name="connsiteY14" fmla="*/ 1910861 h 2103084"/>
                <a:gd name="connsiteX15" fmla="*/ 4371858 w 6136181"/>
                <a:gd name="connsiteY15" fmla="*/ 1871431 h 2103084"/>
                <a:gd name="connsiteX16" fmla="*/ 4682521 w 6136181"/>
                <a:gd name="connsiteY16" fmla="*/ 1338030 h 2103084"/>
                <a:gd name="connsiteX17" fmla="*/ 6136181 w 6136181"/>
                <a:gd name="connsiteY17" fmla="*/ 1068400 h 2103084"/>
                <a:gd name="connsiteX0" fmla="*/ 0 w 5496735"/>
                <a:gd name="connsiteY0" fmla="*/ 0 h 1792243"/>
                <a:gd name="connsiteX1" fmla="*/ 285829 w 5496735"/>
                <a:gd name="connsiteY1" fmla="*/ 209234 h 1792243"/>
                <a:gd name="connsiteX2" fmla="*/ 978877 w 5496735"/>
                <a:gd name="connsiteY2" fmla="*/ 792547 h 1792243"/>
                <a:gd name="connsiteX3" fmla="*/ 1301262 w 5496735"/>
                <a:gd name="connsiteY3" fmla="*/ 1155964 h 1792243"/>
                <a:gd name="connsiteX4" fmla="*/ 1477829 w 5496735"/>
                <a:gd name="connsiteY4" fmla="*/ 1237655 h 1792243"/>
                <a:gd name="connsiteX5" fmla="*/ 1587700 w 5496735"/>
                <a:gd name="connsiteY5" fmla="*/ 1543005 h 1792243"/>
                <a:gd name="connsiteX6" fmla="*/ 1600314 w 5496735"/>
                <a:gd name="connsiteY6" fmla="*/ 1628882 h 1792243"/>
                <a:gd name="connsiteX7" fmla="*/ 1687439 w 5496735"/>
                <a:gd name="connsiteY7" fmla="*/ 1674280 h 1792243"/>
                <a:gd name="connsiteX8" fmla="*/ 1838017 w 5496735"/>
                <a:gd name="connsiteY8" fmla="*/ 1774445 h 1792243"/>
                <a:gd name="connsiteX9" fmla="*/ 1968090 w 5496735"/>
                <a:gd name="connsiteY9" fmla="*/ 1789190 h 1792243"/>
                <a:gd name="connsiteX10" fmla="*/ 2061874 w 5496735"/>
                <a:gd name="connsiteY10" fmla="*/ 1771605 h 1792243"/>
                <a:gd name="connsiteX11" fmla="*/ 2508471 w 5496735"/>
                <a:gd name="connsiteY11" fmla="*/ 1597179 h 1792243"/>
                <a:gd name="connsiteX12" fmla="*/ 2743781 w 5496735"/>
                <a:gd name="connsiteY12" fmla="*/ 1538563 h 1792243"/>
                <a:gd name="connsiteX13" fmla="*/ 2908173 w 5496735"/>
                <a:gd name="connsiteY13" fmla="*/ 1600020 h 1792243"/>
                <a:gd name="connsiteX14" fmla="*/ 3732412 w 5496735"/>
                <a:gd name="connsiteY14" fmla="*/ 1560590 h 1792243"/>
                <a:gd name="connsiteX15" fmla="*/ 4043075 w 5496735"/>
                <a:gd name="connsiteY15" fmla="*/ 1027189 h 1792243"/>
                <a:gd name="connsiteX16" fmla="*/ 5496735 w 5496735"/>
                <a:gd name="connsiteY16" fmla="*/ 757559 h 1792243"/>
                <a:gd name="connsiteX0" fmla="*/ 0 w 5210906"/>
                <a:gd name="connsiteY0" fmla="*/ 1 h 1583010"/>
                <a:gd name="connsiteX1" fmla="*/ 693048 w 5210906"/>
                <a:gd name="connsiteY1" fmla="*/ 583314 h 1583010"/>
                <a:gd name="connsiteX2" fmla="*/ 1015433 w 5210906"/>
                <a:gd name="connsiteY2" fmla="*/ 946731 h 1583010"/>
                <a:gd name="connsiteX3" fmla="*/ 1192000 w 5210906"/>
                <a:gd name="connsiteY3" fmla="*/ 1028422 h 1583010"/>
                <a:gd name="connsiteX4" fmla="*/ 1301871 w 5210906"/>
                <a:gd name="connsiteY4" fmla="*/ 1333772 h 1583010"/>
                <a:gd name="connsiteX5" fmla="*/ 1314485 w 5210906"/>
                <a:gd name="connsiteY5" fmla="*/ 1419649 h 1583010"/>
                <a:gd name="connsiteX6" fmla="*/ 1401610 w 5210906"/>
                <a:gd name="connsiteY6" fmla="*/ 1465047 h 1583010"/>
                <a:gd name="connsiteX7" fmla="*/ 1552188 w 5210906"/>
                <a:gd name="connsiteY7" fmla="*/ 1565212 h 1583010"/>
                <a:gd name="connsiteX8" fmla="*/ 1682261 w 5210906"/>
                <a:gd name="connsiteY8" fmla="*/ 1579957 h 1583010"/>
                <a:gd name="connsiteX9" fmla="*/ 1776045 w 5210906"/>
                <a:gd name="connsiteY9" fmla="*/ 1562372 h 1583010"/>
                <a:gd name="connsiteX10" fmla="*/ 2222642 w 5210906"/>
                <a:gd name="connsiteY10" fmla="*/ 1387946 h 1583010"/>
                <a:gd name="connsiteX11" fmla="*/ 2457952 w 5210906"/>
                <a:gd name="connsiteY11" fmla="*/ 1329330 h 1583010"/>
                <a:gd name="connsiteX12" fmla="*/ 2622344 w 5210906"/>
                <a:gd name="connsiteY12" fmla="*/ 1390787 h 1583010"/>
                <a:gd name="connsiteX13" fmla="*/ 3446583 w 5210906"/>
                <a:gd name="connsiteY13" fmla="*/ 1351357 h 1583010"/>
                <a:gd name="connsiteX14" fmla="*/ 3757246 w 5210906"/>
                <a:gd name="connsiteY14" fmla="*/ 817956 h 1583010"/>
                <a:gd name="connsiteX15" fmla="*/ 5210906 w 5210906"/>
                <a:gd name="connsiteY15" fmla="*/ 548326 h 1583010"/>
                <a:gd name="connsiteX0" fmla="*/ 0 w 4517858"/>
                <a:gd name="connsiteY0" fmla="*/ 34988 h 1034684"/>
                <a:gd name="connsiteX1" fmla="*/ 322385 w 4517858"/>
                <a:gd name="connsiteY1" fmla="*/ 398405 h 1034684"/>
                <a:gd name="connsiteX2" fmla="*/ 498952 w 4517858"/>
                <a:gd name="connsiteY2" fmla="*/ 480096 h 1034684"/>
                <a:gd name="connsiteX3" fmla="*/ 608823 w 4517858"/>
                <a:gd name="connsiteY3" fmla="*/ 785446 h 1034684"/>
                <a:gd name="connsiteX4" fmla="*/ 621437 w 4517858"/>
                <a:gd name="connsiteY4" fmla="*/ 871323 h 1034684"/>
                <a:gd name="connsiteX5" fmla="*/ 708562 w 4517858"/>
                <a:gd name="connsiteY5" fmla="*/ 916721 h 1034684"/>
                <a:gd name="connsiteX6" fmla="*/ 859140 w 4517858"/>
                <a:gd name="connsiteY6" fmla="*/ 1016886 h 1034684"/>
                <a:gd name="connsiteX7" fmla="*/ 989213 w 4517858"/>
                <a:gd name="connsiteY7" fmla="*/ 1031631 h 1034684"/>
                <a:gd name="connsiteX8" fmla="*/ 1082997 w 4517858"/>
                <a:gd name="connsiteY8" fmla="*/ 1014046 h 1034684"/>
                <a:gd name="connsiteX9" fmla="*/ 1529594 w 4517858"/>
                <a:gd name="connsiteY9" fmla="*/ 839620 h 1034684"/>
                <a:gd name="connsiteX10" fmla="*/ 1764904 w 4517858"/>
                <a:gd name="connsiteY10" fmla="*/ 781004 h 1034684"/>
                <a:gd name="connsiteX11" fmla="*/ 1929296 w 4517858"/>
                <a:gd name="connsiteY11" fmla="*/ 842461 h 1034684"/>
                <a:gd name="connsiteX12" fmla="*/ 2753535 w 4517858"/>
                <a:gd name="connsiteY12" fmla="*/ 803031 h 1034684"/>
                <a:gd name="connsiteX13" fmla="*/ 3064198 w 4517858"/>
                <a:gd name="connsiteY13" fmla="*/ 269630 h 1034684"/>
                <a:gd name="connsiteX14" fmla="*/ 4517858 w 4517858"/>
                <a:gd name="connsiteY14" fmla="*/ 0 h 1034684"/>
                <a:gd name="connsiteX0" fmla="*/ 0 w 4195473"/>
                <a:gd name="connsiteY0" fmla="*/ 398405 h 1034684"/>
                <a:gd name="connsiteX1" fmla="*/ 176567 w 4195473"/>
                <a:gd name="connsiteY1" fmla="*/ 480096 h 1034684"/>
                <a:gd name="connsiteX2" fmla="*/ 286438 w 4195473"/>
                <a:gd name="connsiteY2" fmla="*/ 785446 h 1034684"/>
                <a:gd name="connsiteX3" fmla="*/ 299052 w 4195473"/>
                <a:gd name="connsiteY3" fmla="*/ 871323 h 1034684"/>
                <a:gd name="connsiteX4" fmla="*/ 386177 w 4195473"/>
                <a:gd name="connsiteY4" fmla="*/ 916721 h 1034684"/>
                <a:gd name="connsiteX5" fmla="*/ 536755 w 4195473"/>
                <a:gd name="connsiteY5" fmla="*/ 1016886 h 1034684"/>
                <a:gd name="connsiteX6" fmla="*/ 666828 w 4195473"/>
                <a:gd name="connsiteY6" fmla="*/ 1031631 h 1034684"/>
                <a:gd name="connsiteX7" fmla="*/ 760612 w 4195473"/>
                <a:gd name="connsiteY7" fmla="*/ 1014046 h 1034684"/>
                <a:gd name="connsiteX8" fmla="*/ 1207209 w 4195473"/>
                <a:gd name="connsiteY8" fmla="*/ 839620 h 1034684"/>
                <a:gd name="connsiteX9" fmla="*/ 1442519 w 4195473"/>
                <a:gd name="connsiteY9" fmla="*/ 781004 h 1034684"/>
                <a:gd name="connsiteX10" fmla="*/ 1606911 w 4195473"/>
                <a:gd name="connsiteY10" fmla="*/ 842461 h 1034684"/>
                <a:gd name="connsiteX11" fmla="*/ 2431150 w 4195473"/>
                <a:gd name="connsiteY11" fmla="*/ 803031 h 1034684"/>
                <a:gd name="connsiteX12" fmla="*/ 2741813 w 4195473"/>
                <a:gd name="connsiteY12" fmla="*/ 269630 h 1034684"/>
                <a:gd name="connsiteX13" fmla="*/ 4195473 w 4195473"/>
                <a:gd name="connsiteY13" fmla="*/ 0 h 1034684"/>
                <a:gd name="connsiteX0" fmla="*/ 0 w 4018906"/>
                <a:gd name="connsiteY0" fmla="*/ 480096 h 1034684"/>
                <a:gd name="connsiteX1" fmla="*/ 109871 w 4018906"/>
                <a:gd name="connsiteY1" fmla="*/ 785446 h 1034684"/>
                <a:gd name="connsiteX2" fmla="*/ 122485 w 4018906"/>
                <a:gd name="connsiteY2" fmla="*/ 871323 h 1034684"/>
                <a:gd name="connsiteX3" fmla="*/ 209610 w 4018906"/>
                <a:gd name="connsiteY3" fmla="*/ 916721 h 1034684"/>
                <a:gd name="connsiteX4" fmla="*/ 360188 w 4018906"/>
                <a:gd name="connsiteY4" fmla="*/ 1016886 h 1034684"/>
                <a:gd name="connsiteX5" fmla="*/ 490261 w 4018906"/>
                <a:gd name="connsiteY5" fmla="*/ 1031631 h 1034684"/>
                <a:gd name="connsiteX6" fmla="*/ 584045 w 4018906"/>
                <a:gd name="connsiteY6" fmla="*/ 1014046 h 1034684"/>
                <a:gd name="connsiteX7" fmla="*/ 1030642 w 4018906"/>
                <a:gd name="connsiteY7" fmla="*/ 839620 h 1034684"/>
                <a:gd name="connsiteX8" fmla="*/ 1265952 w 4018906"/>
                <a:gd name="connsiteY8" fmla="*/ 781004 h 1034684"/>
                <a:gd name="connsiteX9" fmla="*/ 1430344 w 4018906"/>
                <a:gd name="connsiteY9" fmla="*/ 842461 h 1034684"/>
                <a:gd name="connsiteX10" fmla="*/ 2254583 w 4018906"/>
                <a:gd name="connsiteY10" fmla="*/ 803031 h 1034684"/>
                <a:gd name="connsiteX11" fmla="*/ 2565246 w 4018906"/>
                <a:gd name="connsiteY11" fmla="*/ 269630 h 1034684"/>
                <a:gd name="connsiteX12" fmla="*/ 4018906 w 4018906"/>
                <a:gd name="connsiteY12" fmla="*/ 0 h 1034684"/>
                <a:gd name="connsiteX0" fmla="*/ 0 w 4026401"/>
                <a:gd name="connsiteY0" fmla="*/ 511371 h 1034684"/>
                <a:gd name="connsiteX1" fmla="*/ 117366 w 4026401"/>
                <a:gd name="connsiteY1" fmla="*/ 785446 h 1034684"/>
                <a:gd name="connsiteX2" fmla="*/ 129980 w 4026401"/>
                <a:gd name="connsiteY2" fmla="*/ 871323 h 1034684"/>
                <a:gd name="connsiteX3" fmla="*/ 217105 w 4026401"/>
                <a:gd name="connsiteY3" fmla="*/ 916721 h 1034684"/>
                <a:gd name="connsiteX4" fmla="*/ 367683 w 4026401"/>
                <a:gd name="connsiteY4" fmla="*/ 1016886 h 1034684"/>
                <a:gd name="connsiteX5" fmla="*/ 497756 w 4026401"/>
                <a:gd name="connsiteY5" fmla="*/ 1031631 h 1034684"/>
                <a:gd name="connsiteX6" fmla="*/ 591540 w 4026401"/>
                <a:gd name="connsiteY6" fmla="*/ 1014046 h 1034684"/>
                <a:gd name="connsiteX7" fmla="*/ 1038137 w 4026401"/>
                <a:gd name="connsiteY7" fmla="*/ 839620 h 1034684"/>
                <a:gd name="connsiteX8" fmla="*/ 1273447 w 4026401"/>
                <a:gd name="connsiteY8" fmla="*/ 781004 h 1034684"/>
                <a:gd name="connsiteX9" fmla="*/ 1437839 w 4026401"/>
                <a:gd name="connsiteY9" fmla="*/ 842461 h 1034684"/>
                <a:gd name="connsiteX10" fmla="*/ 2262078 w 4026401"/>
                <a:gd name="connsiteY10" fmla="*/ 803031 h 1034684"/>
                <a:gd name="connsiteX11" fmla="*/ 2572741 w 4026401"/>
                <a:gd name="connsiteY11" fmla="*/ 269630 h 1034684"/>
                <a:gd name="connsiteX12" fmla="*/ 4026401 w 4026401"/>
                <a:gd name="connsiteY12" fmla="*/ 0 h 1034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26401" h="1034684">
                  <a:moveTo>
                    <a:pt x="0" y="511371"/>
                  </a:moveTo>
                  <a:cubicBezTo>
                    <a:pt x="47740" y="575878"/>
                    <a:pt x="95703" y="725454"/>
                    <a:pt x="117366" y="785446"/>
                  </a:cubicBezTo>
                  <a:cubicBezTo>
                    <a:pt x="139029" y="845438"/>
                    <a:pt x="113357" y="849444"/>
                    <a:pt x="129980" y="871323"/>
                  </a:cubicBezTo>
                  <a:cubicBezTo>
                    <a:pt x="146603" y="893202"/>
                    <a:pt x="177488" y="892461"/>
                    <a:pt x="217105" y="916721"/>
                  </a:cubicBezTo>
                  <a:cubicBezTo>
                    <a:pt x="256722" y="940981"/>
                    <a:pt x="320908" y="997734"/>
                    <a:pt x="367683" y="1016886"/>
                  </a:cubicBezTo>
                  <a:cubicBezTo>
                    <a:pt x="414458" y="1036038"/>
                    <a:pt x="460447" y="1032104"/>
                    <a:pt x="497756" y="1031631"/>
                  </a:cubicBezTo>
                  <a:cubicBezTo>
                    <a:pt x="535065" y="1031158"/>
                    <a:pt x="501477" y="1046048"/>
                    <a:pt x="591540" y="1014046"/>
                  </a:cubicBezTo>
                  <a:cubicBezTo>
                    <a:pt x="681603" y="982044"/>
                    <a:pt x="924486" y="878460"/>
                    <a:pt x="1038137" y="839620"/>
                  </a:cubicBezTo>
                  <a:cubicBezTo>
                    <a:pt x="1151788" y="800780"/>
                    <a:pt x="1206830" y="780531"/>
                    <a:pt x="1273447" y="781004"/>
                  </a:cubicBezTo>
                  <a:cubicBezTo>
                    <a:pt x="1340064" y="781478"/>
                    <a:pt x="1273067" y="838790"/>
                    <a:pt x="1437839" y="842461"/>
                  </a:cubicBezTo>
                  <a:cubicBezTo>
                    <a:pt x="1602611" y="846132"/>
                    <a:pt x="2072928" y="898503"/>
                    <a:pt x="2262078" y="803031"/>
                  </a:cubicBezTo>
                  <a:cubicBezTo>
                    <a:pt x="2451228" y="707559"/>
                    <a:pt x="2266964" y="398584"/>
                    <a:pt x="2572741" y="269630"/>
                  </a:cubicBezTo>
                  <a:cubicBezTo>
                    <a:pt x="2878518" y="140676"/>
                    <a:pt x="3833947" y="82061"/>
                    <a:pt x="4026401" y="0"/>
                  </a:cubicBezTo>
                </a:path>
              </a:pathLst>
            </a:custGeom>
            <a:noFill/>
            <a:ln w="50800" cmpd="dbl">
              <a:solidFill>
                <a:srgbClr val="EE3524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7B37EBEE-7BC5-9441-8D37-E14DF52420AF}"/>
                </a:ext>
              </a:extLst>
            </p:cNvPr>
            <p:cNvSpPr/>
            <p:nvPr/>
          </p:nvSpPr>
          <p:spPr>
            <a:xfrm>
              <a:off x="3300248" y="3467318"/>
              <a:ext cx="1061622" cy="2997238"/>
            </a:xfrm>
            <a:custGeom>
              <a:avLst/>
              <a:gdLst>
                <a:gd name="connsiteX0" fmla="*/ 1095662 w 1095662"/>
                <a:gd name="connsiteY0" fmla="*/ 2672316 h 2672316"/>
                <a:gd name="connsiteX1" fmla="*/ 868834 w 1095662"/>
                <a:gd name="connsiteY1" fmla="*/ 2254102 h 2672316"/>
                <a:gd name="connsiteX2" fmla="*/ 450620 w 1095662"/>
                <a:gd name="connsiteY2" fmla="*/ 2161954 h 2672316"/>
                <a:gd name="connsiteX3" fmla="*/ 25318 w 1095662"/>
                <a:gd name="connsiteY3" fmla="*/ 1304261 h 2672316"/>
                <a:gd name="connsiteX4" fmla="*/ 60760 w 1095662"/>
                <a:gd name="connsiteY4" fmla="*/ 864782 h 2672316"/>
                <a:gd name="connsiteX5" fmla="*/ 159997 w 1095662"/>
                <a:gd name="connsiteY5" fmla="*/ 687572 h 2672316"/>
                <a:gd name="connsiteX6" fmla="*/ 273411 w 1095662"/>
                <a:gd name="connsiteY6" fmla="*/ 489098 h 2672316"/>
                <a:gd name="connsiteX7" fmla="*/ 280499 w 1095662"/>
                <a:gd name="connsiteY7" fmla="*/ 255182 h 2672316"/>
                <a:gd name="connsiteX8" fmla="*/ 167085 w 1095662"/>
                <a:gd name="connsiteY8" fmla="*/ 56707 h 2672316"/>
                <a:gd name="connsiteX9" fmla="*/ 96202 w 1095662"/>
                <a:gd name="connsiteY9" fmla="*/ 0 h 2672316"/>
                <a:gd name="connsiteX0" fmla="*/ 1095662 w 1095662"/>
                <a:gd name="connsiteY0" fmla="*/ 2672316 h 2672316"/>
                <a:gd name="connsiteX1" fmla="*/ 868834 w 1095662"/>
                <a:gd name="connsiteY1" fmla="*/ 2254102 h 2672316"/>
                <a:gd name="connsiteX2" fmla="*/ 450620 w 1095662"/>
                <a:gd name="connsiteY2" fmla="*/ 2161954 h 2672316"/>
                <a:gd name="connsiteX3" fmla="*/ 25318 w 1095662"/>
                <a:gd name="connsiteY3" fmla="*/ 1304261 h 2672316"/>
                <a:gd name="connsiteX4" fmla="*/ 60760 w 1095662"/>
                <a:gd name="connsiteY4" fmla="*/ 864782 h 2672316"/>
                <a:gd name="connsiteX5" fmla="*/ 159997 w 1095662"/>
                <a:gd name="connsiteY5" fmla="*/ 687572 h 2672316"/>
                <a:gd name="connsiteX6" fmla="*/ 273411 w 1095662"/>
                <a:gd name="connsiteY6" fmla="*/ 489098 h 2672316"/>
                <a:gd name="connsiteX7" fmla="*/ 280499 w 1095662"/>
                <a:gd name="connsiteY7" fmla="*/ 255182 h 2672316"/>
                <a:gd name="connsiteX8" fmla="*/ 167085 w 1095662"/>
                <a:gd name="connsiteY8" fmla="*/ 56707 h 2672316"/>
                <a:gd name="connsiteX9" fmla="*/ 81454 w 1095662"/>
                <a:gd name="connsiteY9" fmla="*/ 0 h 2672316"/>
                <a:gd name="connsiteX0" fmla="*/ 1095662 w 1095662"/>
                <a:gd name="connsiteY0" fmla="*/ 2657567 h 2657567"/>
                <a:gd name="connsiteX1" fmla="*/ 868834 w 1095662"/>
                <a:gd name="connsiteY1" fmla="*/ 2239353 h 2657567"/>
                <a:gd name="connsiteX2" fmla="*/ 450620 w 1095662"/>
                <a:gd name="connsiteY2" fmla="*/ 2147205 h 2657567"/>
                <a:gd name="connsiteX3" fmla="*/ 25318 w 1095662"/>
                <a:gd name="connsiteY3" fmla="*/ 1289512 h 2657567"/>
                <a:gd name="connsiteX4" fmla="*/ 60760 w 1095662"/>
                <a:gd name="connsiteY4" fmla="*/ 850033 h 2657567"/>
                <a:gd name="connsiteX5" fmla="*/ 159997 w 1095662"/>
                <a:gd name="connsiteY5" fmla="*/ 672823 h 2657567"/>
                <a:gd name="connsiteX6" fmla="*/ 273411 w 1095662"/>
                <a:gd name="connsiteY6" fmla="*/ 474349 h 2657567"/>
                <a:gd name="connsiteX7" fmla="*/ 280499 w 1095662"/>
                <a:gd name="connsiteY7" fmla="*/ 240433 h 2657567"/>
                <a:gd name="connsiteX8" fmla="*/ 167085 w 1095662"/>
                <a:gd name="connsiteY8" fmla="*/ 41958 h 2657567"/>
                <a:gd name="connsiteX9" fmla="*/ 106034 w 1095662"/>
                <a:gd name="connsiteY9" fmla="*/ 0 h 2657567"/>
                <a:gd name="connsiteX0" fmla="*/ 1095662 w 1095662"/>
                <a:gd name="connsiteY0" fmla="*/ 2657567 h 2657567"/>
                <a:gd name="connsiteX1" fmla="*/ 868834 w 1095662"/>
                <a:gd name="connsiteY1" fmla="*/ 2239353 h 2657567"/>
                <a:gd name="connsiteX2" fmla="*/ 450620 w 1095662"/>
                <a:gd name="connsiteY2" fmla="*/ 2147205 h 2657567"/>
                <a:gd name="connsiteX3" fmla="*/ 25318 w 1095662"/>
                <a:gd name="connsiteY3" fmla="*/ 1289512 h 2657567"/>
                <a:gd name="connsiteX4" fmla="*/ 60760 w 1095662"/>
                <a:gd name="connsiteY4" fmla="*/ 850033 h 2657567"/>
                <a:gd name="connsiteX5" fmla="*/ 159997 w 1095662"/>
                <a:gd name="connsiteY5" fmla="*/ 672823 h 2657567"/>
                <a:gd name="connsiteX6" fmla="*/ 273411 w 1095662"/>
                <a:gd name="connsiteY6" fmla="*/ 474349 h 2657567"/>
                <a:gd name="connsiteX7" fmla="*/ 280499 w 1095662"/>
                <a:gd name="connsiteY7" fmla="*/ 240433 h 2657567"/>
                <a:gd name="connsiteX8" fmla="*/ 167085 w 1095662"/>
                <a:gd name="connsiteY8" fmla="*/ 41958 h 2657567"/>
                <a:gd name="connsiteX9" fmla="*/ 125699 w 1095662"/>
                <a:gd name="connsiteY9" fmla="*/ 0 h 2657567"/>
                <a:gd name="connsiteX0" fmla="*/ 1087949 w 1087949"/>
                <a:gd name="connsiteY0" fmla="*/ 2657567 h 2657567"/>
                <a:gd name="connsiteX1" fmla="*/ 861121 w 1087949"/>
                <a:gd name="connsiteY1" fmla="*/ 2239353 h 2657567"/>
                <a:gd name="connsiteX2" fmla="*/ 442907 w 1087949"/>
                <a:gd name="connsiteY2" fmla="*/ 2147205 h 2657567"/>
                <a:gd name="connsiteX3" fmla="*/ 17605 w 1087949"/>
                <a:gd name="connsiteY3" fmla="*/ 1289512 h 2657567"/>
                <a:gd name="connsiteX4" fmla="*/ 87947 w 1087949"/>
                <a:gd name="connsiteY4" fmla="*/ 891914 h 2657567"/>
                <a:gd name="connsiteX5" fmla="*/ 152284 w 1087949"/>
                <a:gd name="connsiteY5" fmla="*/ 672823 h 2657567"/>
                <a:gd name="connsiteX6" fmla="*/ 265698 w 1087949"/>
                <a:gd name="connsiteY6" fmla="*/ 474349 h 2657567"/>
                <a:gd name="connsiteX7" fmla="*/ 272786 w 1087949"/>
                <a:gd name="connsiteY7" fmla="*/ 240433 h 2657567"/>
                <a:gd name="connsiteX8" fmla="*/ 159372 w 1087949"/>
                <a:gd name="connsiteY8" fmla="*/ 41958 h 2657567"/>
                <a:gd name="connsiteX9" fmla="*/ 117986 w 1087949"/>
                <a:gd name="connsiteY9" fmla="*/ 0 h 2657567"/>
                <a:gd name="connsiteX0" fmla="*/ 1088850 w 1088850"/>
                <a:gd name="connsiteY0" fmla="*/ 2657567 h 2657567"/>
                <a:gd name="connsiteX1" fmla="*/ 862022 w 1088850"/>
                <a:gd name="connsiteY1" fmla="*/ 2239353 h 2657567"/>
                <a:gd name="connsiteX2" fmla="*/ 443808 w 1088850"/>
                <a:gd name="connsiteY2" fmla="*/ 2147205 h 2657567"/>
                <a:gd name="connsiteX3" fmla="*/ 18506 w 1088850"/>
                <a:gd name="connsiteY3" fmla="*/ 1289512 h 2657567"/>
                <a:gd name="connsiteX4" fmla="*/ 88848 w 1088850"/>
                <a:gd name="connsiteY4" fmla="*/ 891914 h 2657567"/>
                <a:gd name="connsiteX5" fmla="*/ 202046 w 1088850"/>
                <a:gd name="connsiteY5" fmla="*/ 707724 h 2657567"/>
                <a:gd name="connsiteX6" fmla="*/ 266599 w 1088850"/>
                <a:gd name="connsiteY6" fmla="*/ 474349 h 2657567"/>
                <a:gd name="connsiteX7" fmla="*/ 273687 w 1088850"/>
                <a:gd name="connsiteY7" fmla="*/ 240433 h 2657567"/>
                <a:gd name="connsiteX8" fmla="*/ 160273 w 1088850"/>
                <a:gd name="connsiteY8" fmla="*/ 41958 h 2657567"/>
                <a:gd name="connsiteX9" fmla="*/ 118887 w 1088850"/>
                <a:gd name="connsiteY9" fmla="*/ 0 h 2657567"/>
                <a:gd name="connsiteX0" fmla="*/ 1088850 w 1088850"/>
                <a:gd name="connsiteY0" fmla="*/ 2657567 h 2657567"/>
                <a:gd name="connsiteX1" fmla="*/ 862022 w 1088850"/>
                <a:gd name="connsiteY1" fmla="*/ 2239353 h 2657567"/>
                <a:gd name="connsiteX2" fmla="*/ 443808 w 1088850"/>
                <a:gd name="connsiteY2" fmla="*/ 2147205 h 2657567"/>
                <a:gd name="connsiteX3" fmla="*/ 18506 w 1088850"/>
                <a:gd name="connsiteY3" fmla="*/ 1289512 h 2657567"/>
                <a:gd name="connsiteX4" fmla="*/ 88848 w 1088850"/>
                <a:gd name="connsiteY4" fmla="*/ 891914 h 2657567"/>
                <a:gd name="connsiteX5" fmla="*/ 202046 w 1088850"/>
                <a:gd name="connsiteY5" fmla="*/ 707724 h 2657567"/>
                <a:gd name="connsiteX6" fmla="*/ 343380 w 1088850"/>
                <a:gd name="connsiteY6" fmla="*/ 474349 h 2657567"/>
                <a:gd name="connsiteX7" fmla="*/ 273687 w 1088850"/>
                <a:gd name="connsiteY7" fmla="*/ 240433 h 2657567"/>
                <a:gd name="connsiteX8" fmla="*/ 160273 w 1088850"/>
                <a:gd name="connsiteY8" fmla="*/ 41958 h 2657567"/>
                <a:gd name="connsiteX9" fmla="*/ 118887 w 1088850"/>
                <a:gd name="connsiteY9" fmla="*/ 0 h 2657567"/>
                <a:gd name="connsiteX0" fmla="*/ 1088850 w 1088850"/>
                <a:gd name="connsiteY0" fmla="*/ 2657567 h 2657567"/>
                <a:gd name="connsiteX1" fmla="*/ 862022 w 1088850"/>
                <a:gd name="connsiteY1" fmla="*/ 2239353 h 2657567"/>
                <a:gd name="connsiteX2" fmla="*/ 443808 w 1088850"/>
                <a:gd name="connsiteY2" fmla="*/ 2147205 h 2657567"/>
                <a:gd name="connsiteX3" fmla="*/ 18506 w 1088850"/>
                <a:gd name="connsiteY3" fmla="*/ 1289512 h 2657567"/>
                <a:gd name="connsiteX4" fmla="*/ 88848 w 1088850"/>
                <a:gd name="connsiteY4" fmla="*/ 891914 h 2657567"/>
                <a:gd name="connsiteX5" fmla="*/ 202046 w 1088850"/>
                <a:gd name="connsiteY5" fmla="*/ 707724 h 2657567"/>
                <a:gd name="connsiteX6" fmla="*/ 343380 w 1088850"/>
                <a:gd name="connsiteY6" fmla="*/ 474349 h 2657567"/>
                <a:gd name="connsiteX7" fmla="*/ 329528 w 1088850"/>
                <a:gd name="connsiteY7" fmla="*/ 219493 h 2657567"/>
                <a:gd name="connsiteX8" fmla="*/ 160273 w 1088850"/>
                <a:gd name="connsiteY8" fmla="*/ 41958 h 2657567"/>
                <a:gd name="connsiteX9" fmla="*/ 118887 w 1088850"/>
                <a:gd name="connsiteY9" fmla="*/ 0 h 2657567"/>
                <a:gd name="connsiteX0" fmla="*/ 1088850 w 1088850"/>
                <a:gd name="connsiteY0" fmla="*/ 2662233 h 2662233"/>
                <a:gd name="connsiteX1" fmla="*/ 862022 w 1088850"/>
                <a:gd name="connsiteY1" fmla="*/ 2244019 h 2662233"/>
                <a:gd name="connsiteX2" fmla="*/ 443808 w 1088850"/>
                <a:gd name="connsiteY2" fmla="*/ 2151871 h 2662233"/>
                <a:gd name="connsiteX3" fmla="*/ 18506 w 1088850"/>
                <a:gd name="connsiteY3" fmla="*/ 1294178 h 2662233"/>
                <a:gd name="connsiteX4" fmla="*/ 88848 w 1088850"/>
                <a:gd name="connsiteY4" fmla="*/ 896580 h 2662233"/>
                <a:gd name="connsiteX5" fmla="*/ 202046 w 1088850"/>
                <a:gd name="connsiteY5" fmla="*/ 712390 h 2662233"/>
                <a:gd name="connsiteX6" fmla="*/ 343380 w 1088850"/>
                <a:gd name="connsiteY6" fmla="*/ 479015 h 2662233"/>
                <a:gd name="connsiteX7" fmla="*/ 329528 w 1088850"/>
                <a:gd name="connsiteY7" fmla="*/ 224159 h 2662233"/>
                <a:gd name="connsiteX8" fmla="*/ 271955 w 1088850"/>
                <a:gd name="connsiteY8" fmla="*/ 18703 h 2662233"/>
                <a:gd name="connsiteX9" fmla="*/ 118887 w 1088850"/>
                <a:gd name="connsiteY9" fmla="*/ 4666 h 2662233"/>
                <a:gd name="connsiteX0" fmla="*/ 1088850 w 1088850"/>
                <a:gd name="connsiteY0" fmla="*/ 2762269 h 2762269"/>
                <a:gd name="connsiteX1" fmla="*/ 862022 w 1088850"/>
                <a:gd name="connsiteY1" fmla="*/ 2344055 h 2762269"/>
                <a:gd name="connsiteX2" fmla="*/ 443808 w 1088850"/>
                <a:gd name="connsiteY2" fmla="*/ 2251907 h 2762269"/>
                <a:gd name="connsiteX3" fmla="*/ 18506 w 1088850"/>
                <a:gd name="connsiteY3" fmla="*/ 1394214 h 2762269"/>
                <a:gd name="connsiteX4" fmla="*/ 88848 w 1088850"/>
                <a:gd name="connsiteY4" fmla="*/ 996616 h 2762269"/>
                <a:gd name="connsiteX5" fmla="*/ 202046 w 1088850"/>
                <a:gd name="connsiteY5" fmla="*/ 812426 h 2762269"/>
                <a:gd name="connsiteX6" fmla="*/ 343380 w 1088850"/>
                <a:gd name="connsiteY6" fmla="*/ 579051 h 2762269"/>
                <a:gd name="connsiteX7" fmla="*/ 329528 w 1088850"/>
                <a:gd name="connsiteY7" fmla="*/ 324195 h 2762269"/>
                <a:gd name="connsiteX8" fmla="*/ 271955 w 1088850"/>
                <a:gd name="connsiteY8" fmla="*/ 118739 h 2762269"/>
                <a:gd name="connsiteX9" fmla="*/ 139828 w 1088850"/>
                <a:gd name="connsiteY9" fmla="*/ 0 h 2762269"/>
                <a:gd name="connsiteX0" fmla="*/ 1088850 w 1088850"/>
                <a:gd name="connsiteY0" fmla="*/ 2762269 h 2762269"/>
                <a:gd name="connsiteX1" fmla="*/ 862022 w 1088850"/>
                <a:gd name="connsiteY1" fmla="*/ 2344055 h 2762269"/>
                <a:gd name="connsiteX2" fmla="*/ 443808 w 1088850"/>
                <a:gd name="connsiteY2" fmla="*/ 2251907 h 2762269"/>
                <a:gd name="connsiteX3" fmla="*/ 18506 w 1088850"/>
                <a:gd name="connsiteY3" fmla="*/ 1394214 h 2762269"/>
                <a:gd name="connsiteX4" fmla="*/ 88848 w 1088850"/>
                <a:gd name="connsiteY4" fmla="*/ 996616 h 2762269"/>
                <a:gd name="connsiteX5" fmla="*/ 202046 w 1088850"/>
                <a:gd name="connsiteY5" fmla="*/ 812426 h 2762269"/>
                <a:gd name="connsiteX6" fmla="*/ 343380 w 1088850"/>
                <a:gd name="connsiteY6" fmla="*/ 579051 h 2762269"/>
                <a:gd name="connsiteX7" fmla="*/ 329528 w 1088850"/>
                <a:gd name="connsiteY7" fmla="*/ 324195 h 2762269"/>
                <a:gd name="connsiteX8" fmla="*/ 264975 w 1088850"/>
                <a:gd name="connsiteY8" fmla="*/ 146659 h 2762269"/>
                <a:gd name="connsiteX9" fmla="*/ 139828 w 1088850"/>
                <a:gd name="connsiteY9" fmla="*/ 0 h 2762269"/>
                <a:gd name="connsiteX0" fmla="*/ 1088850 w 1088850"/>
                <a:gd name="connsiteY0" fmla="*/ 2762269 h 2762269"/>
                <a:gd name="connsiteX1" fmla="*/ 862022 w 1088850"/>
                <a:gd name="connsiteY1" fmla="*/ 2344055 h 2762269"/>
                <a:gd name="connsiteX2" fmla="*/ 443808 w 1088850"/>
                <a:gd name="connsiteY2" fmla="*/ 2251907 h 2762269"/>
                <a:gd name="connsiteX3" fmla="*/ 18506 w 1088850"/>
                <a:gd name="connsiteY3" fmla="*/ 1394214 h 2762269"/>
                <a:gd name="connsiteX4" fmla="*/ 88848 w 1088850"/>
                <a:gd name="connsiteY4" fmla="*/ 996616 h 2762269"/>
                <a:gd name="connsiteX5" fmla="*/ 202046 w 1088850"/>
                <a:gd name="connsiteY5" fmla="*/ 812426 h 2762269"/>
                <a:gd name="connsiteX6" fmla="*/ 343380 w 1088850"/>
                <a:gd name="connsiteY6" fmla="*/ 579051 h 2762269"/>
                <a:gd name="connsiteX7" fmla="*/ 357449 w 1088850"/>
                <a:gd name="connsiteY7" fmla="*/ 331175 h 2762269"/>
                <a:gd name="connsiteX8" fmla="*/ 264975 w 1088850"/>
                <a:gd name="connsiteY8" fmla="*/ 146659 h 2762269"/>
                <a:gd name="connsiteX9" fmla="*/ 139828 w 1088850"/>
                <a:gd name="connsiteY9" fmla="*/ 0 h 2762269"/>
                <a:gd name="connsiteX0" fmla="*/ 1088850 w 1088850"/>
                <a:gd name="connsiteY0" fmla="*/ 2762269 h 2762269"/>
                <a:gd name="connsiteX1" fmla="*/ 862022 w 1088850"/>
                <a:gd name="connsiteY1" fmla="*/ 2344055 h 2762269"/>
                <a:gd name="connsiteX2" fmla="*/ 443808 w 1088850"/>
                <a:gd name="connsiteY2" fmla="*/ 2251907 h 2762269"/>
                <a:gd name="connsiteX3" fmla="*/ 18506 w 1088850"/>
                <a:gd name="connsiteY3" fmla="*/ 1394214 h 2762269"/>
                <a:gd name="connsiteX4" fmla="*/ 88848 w 1088850"/>
                <a:gd name="connsiteY4" fmla="*/ 996616 h 2762269"/>
                <a:gd name="connsiteX5" fmla="*/ 202046 w 1088850"/>
                <a:gd name="connsiteY5" fmla="*/ 812426 h 2762269"/>
                <a:gd name="connsiteX6" fmla="*/ 378281 w 1088850"/>
                <a:gd name="connsiteY6" fmla="*/ 593011 h 2762269"/>
                <a:gd name="connsiteX7" fmla="*/ 357449 w 1088850"/>
                <a:gd name="connsiteY7" fmla="*/ 331175 h 2762269"/>
                <a:gd name="connsiteX8" fmla="*/ 264975 w 1088850"/>
                <a:gd name="connsiteY8" fmla="*/ 146659 h 2762269"/>
                <a:gd name="connsiteX9" fmla="*/ 139828 w 1088850"/>
                <a:gd name="connsiteY9" fmla="*/ 0 h 2762269"/>
                <a:gd name="connsiteX0" fmla="*/ 1088850 w 1088850"/>
                <a:gd name="connsiteY0" fmla="*/ 2762269 h 2762269"/>
                <a:gd name="connsiteX1" fmla="*/ 862022 w 1088850"/>
                <a:gd name="connsiteY1" fmla="*/ 2344055 h 2762269"/>
                <a:gd name="connsiteX2" fmla="*/ 443808 w 1088850"/>
                <a:gd name="connsiteY2" fmla="*/ 2251907 h 2762269"/>
                <a:gd name="connsiteX3" fmla="*/ 18506 w 1088850"/>
                <a:gd name="connsiteY3" fmla="*/ 1394214 h 2762269"/>
                <a:gd name="connsiteX4" fmla="*/ 88848 w 1088850"/>
                <a:gd name="connsiteY4" fmla="*/ 996616 h 2762269"/>
                <a:gd name="connsiteX5" fmla="*/ 202046 w 1088850"/>
                <a:gd name="connsiteY5" fmla="*/ 812426 h 2762269"/>
                <a:gd name="connsiteX6" fmla="*/ 329420 w 1088850"/>
                <a:gd name="connsiteY6" fmla="*/ 606971 h 2762269"/>
                <a:gd name="connsiteX7" fmla="*/ 357449 w 1088850"/>
                <a:gd name="connsiteY7" fmla="*/ 331175 h 2762269"/>
                <a:gd name="connsiteX8" fmla="*/ 264975 w 1088850"/>
                <a:gd name="connsiteY8" fmla="*/ 146659 h 2762269"/>
                <a:gd name="connsiteX9" fmla="*/ 139828 w 1088850"/>
                <a:gd name="connsiteY9" fmla="*/ 0 h 2762269"/>
                <a:gd name="connsiteX0" fmla="*/ 1085215 w 1085215"/>
                <a:gd name="connsiteY0" fmla="*/ 2762269 h 2762269"/>
                <a:gd name="connsiteX1" fmla="*/ 858387 w 1085215"/>
                <a:gd name="connsiteY1" fmla="*/ 2344055 h 2762269"/>
                <a:gd name="connsiteX2" fmla="*/ 440173 w 1085215"/>
                <a:gd name="connsiteY2" fmla="*/ 2251907 h 2762269"/>
                <a:gd name="connsiteX3" fmla="*/ 14871 w 1085215"/>
                <a:gd name="connsiteY3" fmla="*/ 1394214 h 2762269"/>
                <a:gd name="connsiteX4" fmla="*/ 106153 w 1085215"/>
                <a:gd name="connsiteY4" fmla="*/ 996616 h 2762269"/>
                <a:gd name="connsiteX5" fmla="*/ 198411 w 1085215"/>
                <a:gd name="connsiteY5" fmla="*/ 812426 h 2762269"/>
                <a:gd name="connsiteX6" fmla="*/ 325785 w 1085215"/>
                <a:gd name="connsiteY6" fmla="*/ 606971 h 2762269"/>
                <a:gd name="connsiteX7" fmla="*/ 353814 w 1085215"/>
                <a:gd name="connsiteY7" fmla="*/ 331175 h 2762269"/>
                <a:gd name="connsiteX8" fmla="*/ 261340 w 1085215"/>
                <a:gd name="connsiteY8" fmla="*/ 146659 h 2762269"/>
                <a:gd name="connsiteX9" fmla="*/ 136193 w 1085215"/>
                <a:gd name="connsiteY9" fmla="*/ 0 h 2762269"/>
                <a:gd name="connsiteX0" fmla="*/ 1085521 w 1085521"/>
                <a:gd name="connsiteY0" fmla="*/ 2762269 h 2762269"/>
                <a:gd name="connsiteX1" fmla="*/ 858693 w 1085521"/>
                <a:gd name="connsiteY1" fmla="*/ 2344055 h 2762269"/>
                <a:gd name="connsiteX2" fmla="*/ 440479 w 1085521"/>
                <a:gd name="connsiteY2" fmla="*/ 2251907 h 2762269"/>
                <a:gd name="connsiteX3" fmla="*/ 15177 w 1085521"/>
                <a:gd name="connsiteY3" fmla="*/ 1394214 h 2762269"/>
                <a:gd name="connsiteX4" fmla="*/ 106459 w 1085521"/>
                <a:gd name="connsiteY4" fmla="*/ 996616 h 2762269"/>
                <a:gd name="connsiteX5" fmla="*/ 219658 w 1085521"/>
                <a:gd name="connsiteY5" fmla="*/ 819407 h 2762269"/>
                <a:gd name="connsiteX6" fmla="*/ 326091 w 1085521"/>
                <a:gd name="connsiteY6" fmla="*/ 606971 h 2762269"/>
                <a:gd name="connsiteX7" fmla="*/ 354120 w 1085521"/>
                <a:gd name="connsiteY7" fmla="*/ 331175 h 2762269"/>
                <a:gd name="connsiteX8" fmla="*/ 261646 w 1085521"/>
                <a:gd name="connsiteY8" fmla="*/ 146659 h 2762269"/>
                <a:gd name="connsiteX9" fmla="*/ 136499 w 1085521"/>
                <a:gd name="connsiteY9" fmla="*/ 0 h 2762269"/>
                <a:gd name="connsiteX0" fmla="*/ 1085521 w 1085521"/>
                <a:gd name="connsiteY0" fmla="*/ 2762269 h 2762269"/>
                <a:gd name="connsiteX1" fmla="*/ 858693 w 1085521"/>
                <a:gd name="connsiteY1" fmla="*/ 2344055 h 2762269"/>
                <a:gd name="connsiteX2" fmla="*/ 440479 w 1085521"/>
                <a:gd name="connsiteY2" fmla="*/ 2251907 h 2762269"/>
                <a:gd name="connsiteX3" fmla="*/ 15177 w 1085521"/>
                <a:gd name="connsiteY3" fmla="*/ 1394214 h 2762269"/>
                <a:gd name="connsiteX4" fmla="*/ 106459 w 1085521"/>
                <a:gd name="connsiteY4" fmla="*/ 996616 h 2762269"/>
                <a:gd name="connsiteX5" fmla="*/ 219658 w 1085521"/>
                <a:gd name="connsiteY5" fmla="*/ 819407 h 2762269"/>
                <a:gd name="connsiteX6" fmla="*/ 347032 w 1085521"/>
                <a:gd name="connsiteY6" fmla="*/ 606971 h 2762269"/>
                <a:gd name="connsiteX7" fmla="*/ 354120 w 1085521"/>
                <a:gd name="connsiteY7" fmla="*/ 331175 h 2762269"/>
                <a:gd name="connsiteX8" fmla="*/ 261646 w 1085521"/>
                <a:gd name="connsiteY8" fmla="*/ 146659 h 2762269"/>
                <a:gd name="connsiteX9" fmla="*/ 136499 w 1085521"/>
                <a:gd name="connsiteY9" fmla="*/ 0 h 2762269"/>
                <a:gd name="connsiteX0" fmla="*/ 1085521 w 1085521"/>
                <a:gd name="connsiteY0" fmla="*/ 2762269 h 2762269"/>
                <a:gd name="connsiteX1" fmla="*/ 858693 w 1085521"/>
                <a:gd name="connsiteY1" fmla="*/ 2344055 h 2762269"/>
                <a:gd name="connsiteX2" fmla="*/ 440479 w 1085521"/>
                <a:gd name="connsiteY2" fmla="*/ 2251907 h 2762269"/>
                <a:gd name="connsiteX3" fmla="*/ 15177 w 1085521"/>
                <a:gd name="connsiteY3" fmla="*/ 1394214 h 2762269"/>
                <a:gd name="connsiteX4" fmla="*/ 106459 w 1085521"/>
                <a:gd name="connsiteY4" fmla="*/ 996616 h 2762269"/>
                <a:gd name="connsiteX5" fmla="*/ 219658 w 1085521"/>
                <a:gd name="connsiteY5" fmla="*/ 819407 h 2762269"/>
                <a:gd name="connsiteX6" fmla="*/ 347032 w 1085521"/>
                <a:gd name="connsiteY6" fmla="*/ 606971 h 2762269"/>
                <a:gd name="connsiteX7" fmla="*/ 347140 w 1085521"/>
                <a:gd name="connsiteY7" fmla="*/ 345135 h 2762269"/>
                <a:gd name="connsiteX8" fmla="*/ 261646 w 1085521"/>
                <a:gd name="connsiteY8" fmla="*/ 146659 h 2762269"/>
                <a:gd name="connsiteX9" fmla="*/ 136499 w 1085521"/>
                <a:gd name="connsiteY9" fmla="*/ 0 h 2762269"/>
                <a:gd name="connsiteX0" fmla="*/ 1084632 w 1084632"/>
                <a:gd name="connsiteY0" fmla="*/ 2762269 h 2762269"/>
                <a:gd name="connsiteX1" fmla="*/ 857804 w 1084632"/>
                <a:gd name="connsiteY1" fmla="*/ 2344055 h 2762269"/>
                <a:gd name="connsiteX2" fmla="*/ 439590 w 1084632"/>
                <a:gd name="connsiteY2" fmla="*/ 2251907 h 2762269"/>
                <a:gd name="connsiteX3" fmla="*/ 14288 w 1084632"/>
                <a:gd name="connsiteY3" fmla="*/ 1394214 h 2762269"/>
                <a:gd name="connsiteX4" fmla="*/ 105570 w 1084632"/>
                <a:gd name="connsiteY4" fmla="*/ 996616 h 2762269"/>
                <a:gd name="connsiteX5" fmla="*/ 155948 w 1084632"/>
                <a:gd name="connsiteY5" fmla="*/ 889209 h 2762269"/>
                <a:gd name="connsiteX6" fmla="*/ 346143 w 1084632"/>
                <a:gd name="connsiteY6" fmla="*/ 606971 h 2762269"/>
                <a:gd name="connsiteX7" fmla="*/ 346251 w 1084632"/>
                <a:gd name="connsiteY7" fmla="*/ 345135 h 2762269"/>
                <a:gd name="connsiteX8" fmla="*/ 260757 w 1084632"/>
                <a:gd name="connsiteY8" fmla="*/ 146659 h 2762269"/>
                <a:gd name="connsiteX9" fmla="*/ 135610 w 1084632"/>
                <a:gd name="connsiteY9" fmla="*/ 0 h 2762269"/>
                <a:gd name="connsiteX0" fmla="*/ 1081855 w 1081855"/>
                <a:gd name="connsiteY0" fmla="*/ 2762269 h 2762269"/>
                <a:gd name="connsiteX1" fmla="*/ 855027 w 1081855"/>
                <a:gd name="connsiteY1" fmla="*/ 2344055 h 2762269"/>
                <a:gd name="connsiteX2" fmla="*/ 436813 w 1081855"/>
                <a:gd name="connsiteY2" fmla="*/ 2251907 h 2762269"/>
                <a:gd name="connsiteX3" fmla="*/ 11511 w 1081855"/>
                <a:gd name="connsiteY3" fmla="*/ 1394214 h 2762269"/>
                <a:gd name="connsiteX4" fmla="*/ 123733 w 1081855"/>
                <a:gd name="connsiteY4" fmla="*/ 1024537 h 2762269"/>
                <a:gd name="connsiteX5" fmla="*/ 153171 w 1081855"/>
                <a:gd name="connsiteY5" fmla="*/ 889209 h 2762269"/>
                <a:gd name="connsiteX6" fmla="*/ 343366 w 1081855"/>
                <a:gd name="connsiteY6" fmla="*/ 606971 h 2762269"/>
                <a:gd name="connsiteX7" fmla="*/ 343474 w 1081855"/>
                <a:gd name="connsiteY7" fmla="*/ 345135 h 2762269"/>
                <a:gd name="connsiteX8" fmla="*/ 257980 w 1081855"/>
                <a:gd name="connsiteY8" fmla="*/ 146659 h 2762269"/>
                <a:gd name="connsiteX9" fmla="*/ 132833 w 1081855"/>
                <a:gd name="connsiteY9" fmla="*/ 0 h 2762269"/>
                <a:gd name="connsiteX0" fmla="*/ 1111512 w 1111512"/>
                <a:gd name="connsiteY0" fmla="*/ 2762269 h 2762269"/>
                <a:gd name="connsiteX1" fmla="*/ 884684 w 1111512"/>
                <a:gd name="connsiteY1" fmla="*/ 2344055 h 2762269"/>
                <a:gd name="connsiteX2" fmla="*/ 466470 w 1111512"/>
                <a:gd name="connsiteY2" fmla="*/ 2251907 h 2762269"/>
                <a:gd name="connsiteX3" fmla="*/ 41168 w 1111512"/>
                <a:gd name="connsiteY3" fmla="*/ 1394214 h 2762269"/>
                <a:gd name="connsiteX4" fmla="*/ 29263 w 1111512"/>
                <a:gd name="connsiteY4" fmla="*/ 1156997 h 2762269"/>
                <a:gd name="connsiteX5" fmla="*/ 153390 w 1111512"/>
                <a:gd name="connsiteY5" fmla="*/ 1024537 h 2762269"/>
                <a:gd name="connsiteX6" fmla="*/ 182828 w 1111512"/>
                <a:gd name="connsiteY6" fmla="*/ 889209 h 2762269"/>
                <a:gd name="connsiteX7" fmla="*/ 373023 w 1111512"/>
                <a:gd name="connsiteY7" fmla="*/ 606971 h 2762269"/>
                <a:gd name="connsiteX8" fmla="*/ 373131 w 1111512"/>
                <a:gd name="connsiteY8" fmla="*/ 345135 h 2762269"/>
                <a:gd name="connsiteX9" fmla="*/ 287637 w 1111512"/>
                <a:gd name="connsiteY9" fmla="*/ 146659 h 2762269"/>
                <a:gd name="connsiteX10" fmla="*/ 162490 w 1111512"/>
                <a:gd name="connsiteY10" fmla="*/ 0 h 2762269"/>
                <a:gd name="connsiteX0" fmla="*/ 1111512 w 1111512"/>
                <a:gd name="connsiteY0" fmla="*/ 2762269 h 2762269"/>
                <a:gd name="connsiteX1" fmla="*/ 884684 w 1111512"/>
                <a:gd name="connsiteY1" fmla="*/ 2344055 h 2762269"/>
                <a:gd name="connsiteX2" fmla="*/ 466470 w 1111512"/>
                <a:gd name="connsiteY2" fmla="*/ 2251907 h 2762269"/>
                <a:gd name="connsiteX3" fmla="*/ 41168 w 1111512"/>
                <a:gd name="connsiteY3" fmla="*/ 1394214 h 2762269"/>
                <a:gd name="connsiteX4" fmla="*/ 29263 w 1111512"/>
                <a:gd name="connsiteY4" fmla="*/ 1156997 h 2762269"/>
                <a:gd name="connsiteX5" fmla="*/ 125470 w 1111512"/>
                <a:gd name="connsiteY5" fmla="*/ 1045478 h 2762269"/>
                <a:gd name="connsiteX6" fmla="*/ 182828 w 1111512"/>
                <a:gd name="connsiteY6" fmla="*/ 889209 h 2762269"/>
                <a:gd name="connsiteX7" fmla="*/ 373023 w 1111512"/>
                <a:gd name="connsiteY7" fmla="*/ 606971 h 2762269"/>
                <a:gd name="connsiteX8" fmla="*/ 373131 w 1111512"/>
                <a:gd name="connsiteY8" fmla="*/ 345135 h 2762269"/>
                <a:gd name="connsiteX9" fmla="*/ 287637 w 1111512"/>
                <a:gd name="connsiteY9" fmla="*/ 146659 h 2762269"/>
                <a:gd name="connsiteX10" fmla="*/ 162490 w 1111512"/>
                <a:gd name="connsiteY10" fmla="*/ 0 h 2762269"/>
                <a:gd name="connsiteX0" fmla="*/ 1111512 w 1111512"/>
                <a:gd name="connsiteY0" fmla="*/ 2762269 h 2762269"/>
                <a:gd name="connsiteX1" fmla="*/ 884684 w 1111512"/>
                <a:gd name="connsiteY1" fmla="*/ 2344055 h 2762269"/>
                <a:gd name="connsiteX2" fmla="*/ 466470 w 1111512"/>
                <a:gd name="connsiteY2" fmla="*/ 2251907 h 2762269"/>
                <a:gd name="connsiteX3" fmla="*/ 41168 w 1111512"/>
                <a:gd name="connsiteY3" fmla="*/ 1394214 h 2762269"/>
                <a:gd name="connsiteX4" fmla="*/ 29263 w 1111512"/>
                <a:gd name="connsiteY4" fmla="*/ 1156997 h 2762269"/>
                <a:gd name="connsiteX5" fmla="*/ 125470 w 1111512"/>
                <a:gd name="connsiteY5" fmla="*/ 1045478 h 2762269"/>
                <a:gd name="connsiteX6" fmla="*/ 161888 w 1111512"/>
                <a:gd name="connsiteY6" fmla="*/ 924110 h 2762269"/>
                <a:gd name="connsiteX7" fmla="*/ 373023 w 1111512"/>
                <a:gd name="connsiteY7" fmla="*/ 606971 h 2762269"/>
                <a:gd name="connsiteX8" fmla="*/ 373131 w 1111512"/>
                <a:gd name="connsiteY8" fmla="*/ 345135 h 2762269"/>
                <a:gd name="connsiteX9" fmla="*/ 287637 w 1111512"/>
                <a:gd name="connsiteY9" fmla="*/ 146659 h 2762269"/>
                <a:gd name="connsiteX10" fmla="*/ 162490 w 1111512"/>
                <a:gd name="connsiteY10" fmla="*/ 0 h 2762269"/>
                <a:gd name="connsiteX0" fmla="*/ 1111512 w 1111512"/>
                <a:gd name="connsiteY0" fmla="*/ 2762269 h 2762269"/>
                <a:gd name="connsiteX1" fmla="*/ 884684 w 1111512"/>
                <a:gd name="connsiteY1" fmla="*/ 2344055 h 2762269"/>
                <a:gd name="connsiteX2" fmla="*/ 466470 w 1111512"/>
                <a:gd name="connsiteY2" fmla="*/ 2251907 h 2762269"/>
                <a:gd name="connsiteX3" fmla="*/ 41168 w 1111512"/>
                <a:gd name="connsiteY3" fmla="*/ 1394214 h 2762269"/>
                <a:gd name="connsiteX4" fmla="*/ 29263 w 1111512"/>
                <a:gd name="connsiteY4" fmla="*/ 1156997 h 2762269"/>
                <a:gd name="connsiteX5" fmla="*/ 90570 w 1111512"/>
                <a:gd name="connsiteY5" fmla="*/ 1059438 h 2762269"/>
                <a:gd name="connsiteX6" fmla="*/ 161888 w 1111512"/>
                <a:gd name="connsiteY6" fmla="*/ 924110 h 2762269"/>
                <a:gd name="connsiteX7" fmla="*/ 373023 w 1111512"/>
                <a:gd name="connsiteY7" fmla="*/ 606971 h 2762269"/>
                <a:gd name="connsiteX8" fmla="*/ 373131 w 1111512"/>
                <a:gd name="connsiteY8" fmla="*/ 345135 h 2762269"/>
                <a:gd name="connsiteX9" fmla="*/ 287637 w 1111512"/>
                <a:gd name="connsiteY9" fmla="*/ 146659 h 2762269"/>
                <a:gd name="connsiteX10" fmla="*/ 162490 w 1111512"/>
                <a:gd name="connsiteY10" fmla="*/ 0 h 2762269"/>
                <a:gd name="connsiteX0" fmla="*/ 1111512 w 1111512"/>
                <a:gd name="connsiteY0" fmla="*/ 2762269 h 2762269"/>
                <a:gd name="connsiteX1" fmla="*/ 884684 w 1111512"/>
                <a:gd name="connsiteY1" fmla="*/ 2344055 h 2762269"/>
                <a:gd name="connsiteX2" fmla="*/ 466470 w 1111512"/>
                <a:gd name="connsiteY2" fmla="*/ 2251907 h 2762269"/>
                <a:gd name="connsiteX3" fmla="*/ 41168 w 1111512"/>
                <a:gd name="connsiteY3" fmla="*/ 1394214 h 2762269"/>
                <a:gd name="connsiteX4" fmla="*/ 29263 w 1111512"/>
                <a:gd name="connsiteY4" fmla="*/ 1156997 h 2762269"/>
                <a:gd name="connsiteX5" fmla="*/ 90570 w 1111512"/>
                <a:gd name="connsiteY5" fmla="*/ 1059438 h 2762269"/>
                <a:gd name="connsiteX6" fmla="*/ 161888 w 1111512"/>
                <a:gd name="connsiteY6" fmla="*/ 924110 h 2762269"/>
                <a:gd name="connsiteX7" fmla="*/ 366043 w 1111512"/>
                <a:gd name="connsiteY7" fmla="*/ 641872 h 2762269"/>
                <a:gd name="connsiteX8" fmla="*/ 373131 w 1111512"/>
                <a:gd name="connsiteY8" fmla="*/ 345135 h 2762269"/>
                <a:gd name="connsiteX9" fmla="*/ 287637 w 1111512"/>
                <a:gd name="connsiteY9" fmla="*/ 146659 h 2762269"/>
                <a:gd name="connsiteX10" fmla="*/ 162490 w 1111512"/>
                <a:gd name="connsiteY10" fmla="*/ 0 h 2762269"/>
                <a:gd name="connsiteX0" fmla="*/ 1111512 w 1111512"/>
                <a:gd name="connsiteY0" fmla="*/ 2762269 h 2762269"/>
                <a:gd name="connsiteX1" fmla="*/ 884684 w 1111512"/>
                <a:gd name="connsiteY1" fmla="*/ 2344055 h 2762269"/>
                <a:gd name="connsiteX2" fmla="*/ 466470 w 1111512"/>
                <a:gd name="connsiteY2" fmla="*/ 2251907 h 2762269"/>
                <a:gd name="connsiteX3" fmla="*/ 41168 w 1111512"/>
                <a:gd name="connsiteY3" fmla="*/ 1394214 h 2762269"/>
                <a:gd name="connsiteX4" fmla="*/ 29263 w 1111512"/>
                <a:gd name="connsiteY4" fmla="*/ 1156997 h 2762269"/>
                <a:gd name="connsiteX5" fmla="*/ 90570 w 1111512"/>
                <a:gd name="connsiteY5" fmla="*/ 1059438 h 2762269"/>
                <a:gd name="connsiteX6" fmla="*/ 161888 w 1111512"/>
                <a:gd name="connsiteY6" fmla="*/ 924110 h 2762269"/>
                <a:gd name="connsiteX7" fmla="*/ 338122 w 1111512"/>
                <a:gd name="connsiteY7" fmla="*/ 641872 h 2762269"/>
                <a:gd name="connsiteX8" fmla="*/ 373131 w 1111512"/>
                <a:gd name="connsiteY8" fmla="*/ 345135 h 2762269"/>
                <a:gd name="connsiteX9" fmla="*/ 287637 w 1111512"/>
                <a:gd name="connsiteY9" fmla="*/ 146659 h 2762269"/>
                <a:gd name="connsiteX10" fmla="*/ 162490 w 1111512"/>
                <a:gd name="connsiteY10" fmla="*/ 0 h 2762269"/>
                <a:gd name="connsiteX0" fmla="*/ 1111512 w 1111512"/>
                <a:gd name="connsiteY0" fmla="*/ 2762269 h 2762269"/>
                <a:gd name="connsiteX1" fmla="*/ 884684 w 1111512"/>
                <a:gd name="connsiteY1" fmla="*/ 2344055 h 2762269"/>
                <a:gd name="connsiteX2" fmla="*/ 466470 w 1111512"/>
                <a:gd name="connsiteY2" fmla="*/ 2251907 h 2762269"/>
                <a:gd name="connsiteX3" fmla="*/ 41168 w 1111512"/>
                <a:gd name="connsiteY3" fmla="*/ 1394214 h 2762269"/>
                <a:gd name="connsiteX4" fmla="*/ 29263 w 1111512"/>
                <a:gd name="connsiteY4" fmla="*/ 1156997 h 2762269"/>
                <a:gd name="connsiteX5" fmla="*/ 90570 w 1111512"/>
                <a:gd name="connsiteY5" fmla="*/ 1059438 h 2762269"/>
                <a:gd name="connsiteX6" fmla="*/ 161888 w 1111512"/>
                <a:gd name="connsiteY6" fmla="*/ 924110 h 2762269"/>
                <a:gd name="connsiteX7" fmla="*/ 352082 w 1111512"/>
                <a:gd name="connsiteY7" fmla="*/ 648852 h 2762269"/>
                <a:gd name="connsiteX8" fmla="*/ 373131 w 1111512"/>
                <a:gd name="connsiteY8" fmla="*/ 345135 h 2762269"/>
                <a:gd name="connsiteX9" fmla="*/ 287637 w 1111512"/>
                <a:gd name="connsiteY9" fmla="*/ 146659 h 2762269"/>
                <a:gd name="connsiteX10" fmla="*/ 162490 w 1111512"/>
                <a:gd name="connsiteY10" fmla="*/ 0 h 2762269"/>
                <a:gd name="connsiteX0" fmla="*/ 1111512 w 1111512"/>
                <a:gd name="connsiteY0" fmla="*/ 2734348 h 2734348"/>
                <a:gd name="connsiteX1" fmla="*/ 884684 w 1111512"/>
                <a:gd name="connsiteY1" fmla="*/ 2316134 h 2734348"/>
                <a:gd name="connsiteX2" fmla="*/ 466470 w 1111512"/>
                <a:gd name="connsiteY2" fmla="*/ 2223986 h 2734348"/>
                <a:gd name="connsiteX3" fmla="*/ 41168 w 1111512"/>
                <a:gd name="connsiteY3" fmla="*/ 1366293 h 2734348"/>
                <a:gd name="connsiteX4" fmla="*/ 29263 w 1111512"/>
                <a:gd name="connsiteY4" fmla="*/ 1129076 h 2734348"/>
                <a:gd name="connsiteX5" fmla="*/ 90570 w 1111512"/>
                <a:gd name="connsiteY5" fmla="*/ 1031517 h 2734348"/>
                <a:gd name="connsiteX6" fmla="*/ 161888 w 1111512"/>
                <a:gd name="connsiteY6" fmla="*/ 896189 h 2734348"/>
                <a:gd name="connsiteX7" fmla="*/ 352082 w 1111512"/>
                <a:gd name="connsiteY7" fmla="*/ 620931 h 2734348"/>
                <a:gd name="connsiteX8" fmla="*/ 373131 w 1111512"/>
                <a:gd name="connsiteY8" fmla="*/ 317214 h 2734348"/>
                <a:gd name="connsiteX9" fmla="*/ 287637 w 1111512"/>
                <a:gd name="connsiteY9" fmla="*/ 118738 h 2734348"/>
                <a:gd name="connsiteX10" fmla="*/ 183430 w 1111512"/>
                <a:gd name="connsiteY10" fmla="*/ 0 h 2734348"/>
                <a:gd name="connsiteX0" fmla="*/ 1111512 w 1111512"/>
                <a:gd name="connsiteY0" fmla="*/ 2720388 h 2720388"/>
                <a:gd name="connsiteX1" fmla="*/ 884684 w 1111512"/>
                <a:gd name="connsiteY1" fmla="*/ 2302174 h 2720388"/>
                <a:gd name="connsiteX2" fmla="*/ 466470 w 1111512"/>
                <a:gd name="connsiteY2" fmla="*/ 2210026 h 2720388"/>
                <a:gd name="connsiteX3" fmla="*/ 41168 w 1111512"/>
                <a:gd name="connsiteY3" fmla="*/ 1352333 h 2720388"/>
                <a:gd name="connsiteX4" fmla="*/ 29263 w 1111512"/>
                <a:gd name="connsiteY4" fmla="*/ 1115116 h 2720388"/>
                <a:gd name="connsiteX5" fmla="*/ 90570 w 1111512"/>
                <a:gd name="connsiteY5" fmla="*/ 1017557 h 2720388"/>
                <a:gd name="connsiteX6" fmla="*/ 161888 w 1111512"/>
                <a:gd name="connsiteY6" fmla="*/ 882229 h 2720388"/>
                <a:gd name="connsiteX7" fmla="*/ 352082 w 1111512"/>
                <a:gd name="connsiteY7" fmla="*/ 606971 h 2720388"/>
                <a:gd name="connsiteX8" fmla="*/ 373131 w 1111512"/>
                <a:gd name="connsiteY8" fmla="*/ 303254 h 2720388"/>
                <a:gd name="connsiteX9" fmla="*/ 287637 w 1111512"/>
                <a:gd name="connsiteY9" fmla="*/ 104778 h 2720388"/>
                <a:gd name="connsiteX10" fmla="*/ 190410 w 1111512"/>
                <a:gd name="connsiteY10" fmla="*/ 0 h 2720388"/>
                <a:gd name="connsiteX0" fmla="*/ 1111512 w 1111512"/>
                <a:gd name="connsiteY0" fmla="*/ 2755289 h 2755289"/>
                <a:gd name="connsiteX1" fmla="*/ 884684 w 1111512"/>
                <a:gd name="connsiteY1" fmla="*/ 2337075 h 2755289"/>
                <a:gd name="connsiteX2" fmla="*/ 466470 w 1111512"/>
                <a:gd name="connsiteY2" fmla="*/ 2244927 h 2755289"/>
                <a:gd name="connsiteX3" fmla="*/ 41168 w 1111512"/>
                <a:gd name="connsiteY3" fmla="*/ 1387234 h 2755289"/>
                <a:gd name="connsiteX4" fmla="*/ 29263 w 1111512"/>
                <a:gd name="connsiteY4" fmla="*/ 1150017 h 2755289"/>
                <a:gd name="connsiteX5" fmla="*/ 90570 w 1111512"/>
                <a:gd name="connsiteY5" fmla="*/ 1052458 h 2755289"/>
                <a:gd name="connsiteX6" fmla="*/ 161888 w 1111512"/>
                <a:gd name="connsiteY6" fmla="*/ 917130 h 2755289"/>
                <a:gd name="connsiteX7" fmla="*/ 352082 w 1111512"/>
                <a:gd name="connsiteY7" fmla="*/ 641872 h 2755289"/>
                <a:gd name="connsiteX8" fmla="*/ 373131 w 1111512"/>
                <a:gd name="connsiteY8" fmla="*/ 338155 h 2755289"/>
                <a:gd name="connsiteX9" fmla="*/ 287637 w 1111512"/>
                <a:gd name="connsiteY9" fmla="*/ 139679 h 2755289"/>
                <a:gd name="connsiteX10" fmla="*/ 141549 w 1111512"/>
                <a:gd name="connsiteY10" fmla="*/ 0 h 2755289"/>
                <a:gd name="connsiteX0" fmla="*/ 1111512 w 1111512"/>
                <a:gd name="connsiteY0" fmla="*/ 2755289 h 2755289"/>
                <a:gd name="connsiteX1" fmla="*/ 884684 w 1111512"/>
                <a:gd name="connsiteY1" fmla="*/ 2337075 h 2755289"/>
                <a:gd name="connsiteX2" fmla="*/ 466470 w 1111512"/>
                <a:gd name="connsiteY2" fmla="*/ 2244927 h 2755289"/>
                <a:gd name="connsiteX3" fmla="*/ 41168 w 1111512"/>
                <a:gd name="connsiteY3" fmla="*/ 1387234 h 2755289"/>
                <a:gd name="connsiteX4" fmla="*/ 29263 w 1111512"/>
                <a:gd name="connsiteY4" fmla="*/ 1150017 h 2755289"/>
                <a:gd name="connsiteX5" fmla="*/ 90570 w 1111512"/>
                <a:gd name="connsiteY5" fmla="*/ 1052458 h 2755289"/>
                <a:gd name="connsiteX6" fmla="*/ 161888 w 1111512"/>
                <a:gd name="connsiteY6" fmla="*/ 917130 h 2755289"/>
                <a:gd name="connsiteX7" fmla="*/ 352082 w 1111512"/>
                <a:gd name="connsiteY7" fmla="*/ 641872 h 2755289"/>
                <a:gd name="connsiteX8" fmla="*/ 373131 w 1111512"/>
                <a:gd name="connsiteY8" fmla="*/ 338155 h 2755289"/>
                <a:gd name="connsiteX9" fmla="*/ 322538 w 1111512"/>
                <a:gd name="connsiteY9" fmla="*/ 111759 h 2755289"/>
                <a:gd name="connsiteX10" fmla="*/ 141549 w 1111512"/>
                <a:gd name="connsiteY10" fmla="*/ 0 h 2755289"/>
                <a:gd name="connsiteX0" fmla="*/ 1111512 w 1111512"/>
                <a:gd name="connsiteY0" fmla="*/ 2783209 h 2783209"/>
                <a:gd name="connsiteX1" fmla="*/ 884684 w 1111512"/>
                <a:gd name="connsiteY1" fmla="*/ 2364995 h 2783209"/>
                <a:gd name="connsiteX2" fmla="*/ 466470 w 1111512"/>
                <a:gd name="connsiteY2" fmla="*/ 2272847 h 2783209"/>
                <a:gd name="connsiteX3" fmla="*/ 41168 w 1111512"/>
                <a:gd name="connsiteY3" fmla="*/ 1415154 h 2783209"/>
                <a:gd name="connsiteX4" fmla="*/ 29263 w 1111512"/>
                <a:gd name="connsiteY4" fmla="*/ 1177937 h 2783209"/>
                <a:gd name="connsiteX5" fmla="*/ 90570 w 1111512"/>
                <a:gd name="connsiteY5" fmla="*/ 1080378 h 2783209"/>
                <a:gd name="connsiteX6" fmla="*/ 161888 w 1111512"/>
                <a:gd name="connsiteY6" fmla="*/ 945050 h 2783209"/>
                <a:gd name="connsiteX7" fmla="*/ 352082 w 1111512"/>
                <a:gd name="connsiteY7" fmla="*/ 669792 h 2783209"/>
                <a:gd name="connsiteX8" fmla="*/ 373131 w 1111512"/>
                <a:gd name="connsiteY8" fmla="*/ 366075 h 2783209"/>
                <a:gd name="connsiteX9" fmla="*/ 322538 w 1111512"/>
                <a:gd name="connsiteY9" fmla="*/ 139679 h 2783209"/>
                <a:gd name="connsiteX10" fmla="*/ 120609 w 1111512"/>
                <a:gd name="connsiteY10" fmla="*/ 0 h 2783209"/>
                <a:gd name="connsiteX0" fmla="*/ 1111512 w 1111512"/>
                <a:gd name="connsiteY0" fmla="*/ 2783209 h 2783209"/>
                <a:gd name="connsiteX1" fmla="*/ 884684 w 1111512"/>
                <a:gd name="connsiteY1" fmla="*/ 2364995 h 2783209"/>
                <a:gd name="connsiteX2" fmla="*/ 466470 w 1111512"/>
                <a:gd name="connsiteY2" fmla="*/ 2272847 h 2783209"/>
                <a:gd name="connsiteX3" fmla="*/ 41168 w 1111512"/>
                <a:gd name="connsiteY3" fmla="*/ 1415154 h 2783209"/>
                <a:gd name="connsiteX4" fmla="*/ 29263 w 1111512"/>
                <a:gd name="connsiteY4" fmla="*/ 1177937 h 2783209"/>
                <a:gd name="connsiteX5" fmla="*/ 90570 w 1111512"/>
                <a:gd name="connsiteY5" fmla="*/ 1080378 h 2783209"/>
                <a:gd name="connsiteX6" fmla="*/ 161888 w 1111512"/>
                <a:gd name="connsiteY6" fmla="*/ 945050 h 2783209"/>
                <a:gd name="connsiteX7" fmla="*/ 352082 w 1111512"/>
                <a:gd name="connsiteY7" fmla="*/ 669792 h 2783209"/>
                <a:gd name="connsiteX8" fmla="*/ 373131 w 1111512"/>
                <a:gd name="connsiteY8" fmla="*/ 366075 h 2783209"/>
                <a:gd name="connsiteX9" fmla="*/ 322429 w 1111512"/>
                <a:gd name="connsiteY9" fmla="*/ 256557 h 2783209"/>
                <a:gd name="connsiteX10" fmla="*/ 322538 w 1111512"/>
                <a:gd name="connsiteY10" fmla="*/ 139679 h 2783209"/>
                <a:gd name="connsiteX11" fmla="*/ 120609 w 1111512"/>
                <a:gd name="connsiteY11" fmla="*/ 0 h 2783209"/>
                <a:gd name="connsiteX0" fmla="*/ 1111512 w 1111512"/>
                <a:gd name="connsiteY0" fmla="*/ 2783209 h 2783209"/>
                <a:gd name="connsiteX1" fmla="*/ 884684 w 1111512"/>
                <a:gd name="connsiteY1" fmla="*/ 2364995 h 2783209"/>
                <a:gd name="connsiteX2" fmla="*/ 466470 w 1111512"/>
                <a:gd name="connsiteY2" fmla="*/ 2272847 h 2783209"/>
                <a:gd name="connsiteX3" fmla="*/ 41168 w 1111512"/>
                <a:gd name="connsiteY3" fmla="*/ 1415154 h 2783209"/>
                <a:gd name="connsiteX4" fmla="*/ 29263 w 1111512"/>
                <a:gd name="connsiteY4" fmla="*/ 1177937 h 2783209"/>
                <a:gd name="connsiteX5" fmla="*/ 90570 w 1111512"/>
                <a:gd name="connsiteY5" fmla="*/ 1080378 h 2783209"/>
                <a:gd name="connsiteX6" fmla="*/ 161888 w 1111512"/>
                <a:gd name="connsiteY6" fmla="*/ 945050 h 2783209"/>
                <a:gd name="connsiteX7" fmla="*/ 352082 w 1111512"/>
                <a:gd name="connsiteY7" fmla="*/ 669792 h 2783209"/>
                <a:gd name="connsiteX8" fmla="*/ 373131 w 1111512"/>
                <a:gd name="connsiteY8" fmla="*/ 366075 h 2783209"/>
                <a:gd name="connsiteX9" fmla="*/ 322429 w 1111512"/>
                <a:gd name="connsiteY9" fmla="*/ 256557 h 2783209"/>
                <a:gd name="connsiteX10" fmla="*/ 287637 w 1111512"/>
                <a:gd name="connsiteY10" fmla="*/ 146659 h 2783209"/>
                <a:gd name="connsiteX11" fmla="*/ 120609 w 1111512"/>
                <a:gd name="connsiteY11" fmla="*/ 0 h 2783209"/>
                <a:gd name="connsiteX0" fmla="*/ 1111512 w 1111512"/>
                <a:gd name="connsiteY0" fmla="*/ 2783209 h 2783209"/>
                <a:gd name="connsiteX1" fmla="*/ 884684 w 1111512"/>
                <a:gd name="connsiteY1" fmla="*/ 2364995 h 2783209"/>
                <a:gd name="connsiteX2" fmla="*/ 466470 w 1111512"/>
                <a:gd name="connsiteY2" fmla="*/ 2272847 h 2783209"/>
                <a:gd name="connsiteX3" fmla="*/ 41168 w 1111512"/>
                <a:gd name="connsiteY3" fmla="*/ 1415154 h 2783209"/>
                <a:gd name="connsiteX4" fmla="*/ 29263 w 1111512"/>
                <a:gd name="connsiteY4" fmla="*/ 1177937 h 2783209"/>
                <a:gd name="connsiteX5" fmla="*/ 90570 w 1111512"/>
                <a:gd name="connsiteY5" fmla="*/ 1080378 h 2783209"/>
                <a:gd name="connsiteX6" fmla="*/ 161888 w 1111512"/>
                <a:gd name="connsiteY6" fmla="*/ 945050 h 2783209"/>
                <a:gd name="connsiteX7" fmla="*/ 352082 w 1111512"/>
                <a:gd name="connsiteY7" fmla="*/ 669792 h 2783209"/>
                <a:gd name="connsiteX8" fmla="*/ 373131 w 1111512"/>
                <a:gd name="connsiteY8" fmla="*/ 366075 h 2783209"/>
                <a:gd name="connsiteX9" fmla="*/ 331856 w 1111512"/>
                <a:gd name="connsiteY9" fmla="*/ 261270 h 2783209"/>
                <a:gd name="connsiteX10" fmla="*/ 287637 w 1111512"/>
                <a:gd name="connsiteY10" fmla="*/ 146659 h 2783209"/>
                <a:gd name="connsiteX11" fmla="*/ 120609 w 1111512"/>
                <a:gd name="connsiteY11" fmla="*/ 0 h 2783209"/>
                <a:gd name="connsiteX0" fmla="*/ 1111512 w 1111512"/>
                <a:gd name="connsiteY0" fmla="*/ 2783209 h 2783209"/>
                <a:gd name="connsiteX1" fmla="*/ 884684 w 1111512"/>
                <a:gd name="connsiteY1" fmla="*/ 2364995 h 2783209"/>
                <a:gd name="connsiteX2" fmla="*/ 466470 w 1111512"/>
                <a:gd name="connsiteY2" fmla="*/ 2272847 h 2783209"/>
                <a:gd name="connsiteX3" fmla="*/ 41168 w 1111512"/>
                <a:gd name="connsiteY3" fmla="*/ 1415154 h 2783209"/>
                <a:gd name="connsiteX4" fmla="*/ 29263 w 1111512"/>
                <a:gd name="connsiteY4" fmla="*/ 1177937 h 2783209"/>
                <a:gd name="connsiteX5" fmla="*/ 90570 w 1111512"/>
                <a:gd name="connsiteY5" fmla="*/ 1080378 h 2783209"/>
                <a:gd name="connsiteX6" fmla="*/ 161888 w 1111512"/>
                <a:gd name="connsiteY6" fmla="*/ 945050 h 2783209"/>
                <a:gd name="connsiteX7" fmla="*/ 352082 w 1111512"/>
                <a:gd name="connsiteY7" fmla="*/ 669792 h 2783209"/>
                <a:gd name="connsiteX8" fmla="*/ 373131 w 1111512"/>
                <a:gd name="connsiteY8" fmla="*/ 366075 h 2783209"/>
                <a:gd name="connsiteX9" fmla="*/ 331856 w 1111512"/>
                <a:gd name="connsiteY9" fmla="*/ 261270 h 2783209"/>
                <a:gd name="connsiteX10" fmla="*/ 273497 w 1111512"/>
                <a:gd name="connsiteY10" fmla="*/ 151372 h 2783209"/>
                <a:gd name="connsiteX11" fmla="*/ 120609 w 1111512"/>
                <a:gd name="connsiteY11" fmla="*/ 0 h 2783209"/>
                <a:gd name="connsiteX0" fmla="*/ 1111512 w 1111512"/>
                <a:gd name="connsiteY0" fmla="*/ 2764355 h 2764355"/>
                <a:gd name="connsiteX1" fmla="*/ 884684 w 1111512"/>
                <a:gd name="connsiteY1" fmla="*/ 2346141 h 2764355"/>
                <a:gd name="connsiteX2" fmla="*/ 466470 w 1111512"/>
                <a:gd name="connsiteY2" fmla="*/ 2253993 h 2764355"/>
                <a:gd name="connsiteX3" fmla="*/ 41168 w 1111512"/>
                <a:gd name="connsiteY3" fmla="*/ 1396300 h 2764355"/>
                <a:gd name="connsiteX4" fmla="*/ 29263 w 1111512"/>
                <a:gd name="connsiteY4" fmla="*/ 1159083 h 2764355"/>
                <a:gd name="connsiteX5" fmla="*/ 90570 w 1111512"/>
                <a:gd name="connsiteY5" fmla="*/ 1061524 h 2764355"/>
                <a:gd name="connsiteX6" fmla="*/ 161888 w 1111512"/>
                <a:gd name="connsiteY6" fmla="*/ 926196 h 2764355"/>
                <a:gd name="connsiteX7" fmla="*/ 352082 w 1111512"/>
                <a:gd name="connsiteY7" fmla="*/ 650938 h 2764355"/>
                <a:gd name="connsiteX8" fmla="*/ 373131 w 1111512"/>
                <a:gd name="connsiteY8" fmla="*/ 347221 h 2764355"/>
                <a:gd name="connsiteX9" fmla="*/ 331856 w 1111512"/>
                <a:gd name="connsiteY9" fmla="*/ 242416 h 2764355"/>
                <a:gd name="connsiteX10" fmla="*/ 273497 w 1111512"/>
                <a:gd name="connsiteY10" fmla="*/ 132518 h 2764355"/>
                <a:gd name="connsiteX11" fmla="*/ 120609 w 1111512"/>
                <a:gd name="connsiteY11" fmla="*/ 0 h 2764355"/>
                <a:gd name="connsiteX0" fmla="*/ 1111512 w 1111512"/>
                <a:gd name="connsiteY0" fmla="*/ 2764355 h 2764355"/>
                <a:gd name="connsiteX1" fmla="*/ 884684 w 1111512"/>
                <a:gd name="connsiteY1" fmla="*/ 2346141 h 2764355"/>
                <a:gd name="connsiteX2" fmla="*/ 466470 w 1111512"/>
                <a:gd name="connsiteY2" fmla="*/ 2253993 h 2764355"/>
                <a:gd name="connsiteX3" fmla="*/ 41168 w 1111512"/>
                <a:gd name="connsiteY3" fmla="*/ 1396300 h 2764355"/>
                <a:gd name="connsiteX4" fmla="*/ 29263 w 1111512"/>
                <a:gd name="connsiteY4" fmla="*/ 1159083 h 2764355"/>
                <a:gd name="connsiteX5" fmla="*/ 90570 w 1111512"/>
                <a:gd name="connsiteY5" fmla="*/ 1061524 h 2764355"/>
                <a:gd name="connsiteX6" fmla="*/ 161888 w 1111512"/>
                <a:gd name="connsiteY6" fmla="*/ 926196 h 2764355"/>
                <a:gd name="connsiteX7" fmla="*/ 352082 w 1111512"/>
                <a:gd name="connsiteY7" fmla="*/ 650938 h 2764355"/>
                <a:gd name="connsiteX8" fmla="*/ 373131 w 1111512"/>
                <a:gd name="connsiteY8" fmla="*/ 347221 h 2764355"/>
                <a:gd name="connsiteX9" fmla="*/ 331856 w 1111512"/>
                <a:gd name="connsiteY9" fmla="*/ 242416 h 2764355"/>
                <a:gd name="connsiteX10" fmla="*/ 273497 w 1111512"/>
                <a:gd name="connsiteY10" fmla="*/ 132518 h 2764355"/>
                <a:gd name="connsiteX11" fmla="*/ 120609 w 1111512"/>
                <a:gd name="connsiteY11" fmla="*/ 0 h 2764355"/>
                <a:gd name="connsiteX0" fmla="*/ 1111512 w 1111512"/>
                <a:gd name="connsiteY0" fmla="*/ 2773782 h 2773782"/>
                <a:gd name="connsiteX1" fmla="*/ 884684 w 1111512"/>
                <a:gd name="connsiteY1" fmla="*/ 2355568 h 2773782"/>
                <a:gd name="connsiteX2" fmla="*/ 466470 w 1111512"/>
                <a:gd name="connsiteY2" fmla="*/ 2263420 h 2773782"/>
                <a:gd name="connsiteX3" fmla="*/ 41168 w 1111512"/>
                <a:gd name="connsiteY3" fmla="*/ 1405727 h 2773782"/>
                <a:gd name="connsiteX4" fmla="*/ 29263 w 1111512"/>
                <a:gd name="connsiteY4" fmla="*/ 1168510 h 2773782"/>
                <a:gd name="connsiteX5" fmla="*/ 90570 w 1111512"/>
                <a:gd name="connsiteY5" fmla="*/ 1070951 h 2773782"/>
                <a:gd name="connsiteX6" fmla="*/ 161888 w 1111512"/>
                <a:gd name="connsiteY6" fmla="*/ 935623 h 2773782"/>
                <a:gd name="connsiteX7" fmla="*/ 352082 w 1111512"/>
                <a:gd name="connsiteY7" fmla="*/ 660365 h 2773782"/>
                <a:gd name="connsiteX8" fmla="*/ 373131 w 1111512"/>
                <a:gd name="connsiteY8" fmla="*/ 356648 h 2773782"/>
                <a:gd name="connsiteX9" fmla="*/ 331856 w 1111512"/>
                <a:gd name="connsiteY9" fmla="*/ 251843 h 2773782"/>
                <a:gd name="connsiteX10" fmla="*/ 273497 w 1111512"/>
                <a:gd name="connsiteY10" fmla="*/ 141945 h 2773782"/>
                <a:gd name="connsiteX11" fmla="*/ 134749 w 1111512"/>
                <a:gd name="connsiteY11" fmla="*/ 0 h 2773782"/>
                <a:gd name="connsiteX0" fmla="*/ 1111512 w 1111512"/>
                <a:gd name="connsiteY0" fmla="*/ 2773782 h 2773782"/>
                <a:gd name="connsiteX1" fmla="*/ 884684 w 1111512"/>
                <a:gd name="connsiteY1" fmla="*/ 2355568 h 2773782"/>
                <a:gd name="connsiteX2" fmla="*/ 466470 w 1111512"/>
                <a:gd name="connsiteY2" fmla="*/ 2263420 h 2773782"/>
                <a:gd name="connsiteX3" fmla="*/ 41168 w 1111512"/>
                <a:gd name="connsiteY3" fmla="*/ 1405727 h 2773782"/>
                <a:gd name="connsiteX4" fmla="*/ 29263 w 1111512"/>
                <a:gd name="connsiteY4" fmla="*/ 1168510 h 2773782"/>
                <a:gd name="connsiteX5" fmla="*/ 90570 w 1111512"/>
                <a:gd name="connsiteY5" fmla="*/ 1070951 h 2773782"/>
                <a:gd name="connsiteX6" fmla="*/ 161888 w 1111512"/>
                <a:gd name="connsiteY6" fmla="*/ 935623 h 2773782"/>
                <a:gd name="connsiteX7" fmla="*/ 352082 w 1111512"/>
                <a:gd name="connsiteY7" fmla="*/ 660365 h 2773782"/>
                <a:gd name="connsiteX8" fmla="*/ 373131 w 1111512"/>
                <a:gd name="connsiteY8" fmla="*/ 356648 h 2773782"/>
                <a:gd name="connsiteX9" fmla="*/ 331856 w 1111512"/>
                <a:gd name="connsiteY9" fmla="*/ 251843 h 2773782"/>
                <a:gd name="connsiteX10" fmla="*/ 273497 w 1111512"/>
                <a:gd name="connsiteY10" fmla="*/ 141945 h 2773782"/>
                <a:gd name="connsiteX11" fmla="*/ 134749 w 1111512"/>
                <a:gd name="connsiteY11" fmla="*/ 0 h 2773782"/>
                <a:gd name="connsiteX0" fmla="*/ 1111512 w 1111512"/>
                <a:gd name="connsiteY0" fmla="*/ 2778495 h 2778495"/>
                <a:gd name="connsiteX1" fmla="*/ 884684 w 1111512"/>
                <a:gd name="connsiteY1" fmla="*/ 2360281 h 2778495"/>
                <a:gd name="connsiteX2" fmla="*/ 466470 w 1111512"/>
                <a:gd name="connsiteY2" fmla="*/ 2268133 h 2778495"/>
                <a:gd name="connsiteX3" fmla="*/ 41168 w 1111512"/>
                <a:gd name="connsiteY3" fmla="*/ 1410440 h 2778495"/>
                <a:gd name="connsiteX4" fmla="*/ 29263 w 1111512"/>
                <a:gd name="connsiteY4" fmla="*/ 1173223 h 2778495"/>
                <a:gd name="connsiteX5" fmla="*/ 90570 w 1111512"/>
                <a:gd name="connsiteY5" fmla="*/ 1075664 h 2778495"/>
                <a:gd name="connsiteX6" fmla="*/ 161888 w 1111512"/>
                <a:gd name="connsiteY6" fmla="*/ 940336 h 2778495"/>
                <a:gd name="connsiteX7" fmla="*/ 352082 w 1111512"/>
                <a:gd name="connsiteY7" fmla="*/ 665078 h 2778495"/>
                <a:gd name="connsiteX8" fmla="*/ 373131 w 1111512"/>
                <a:gd name="connsiteY8" fmla="*/ 361361 h 2778495"/>
                <a:gd name="connsiteX9" fmla="*/ 331856 w 1111512"/>
                <a:gd name="connsiteY9" fmla="*/ 256556 h 2778495"/>
                <a:gd name="connsiteX10" fmla="*/ 273497 w 1111512"/>
                <a:gd name="connsiteY10" fmla="*/ 146658 h 2778495"/>
                <a:gd name="connsiteX11" fmla="*/ 120609 w 1111512"/>
                <a:gd name="connsiteY11" fmla="*/ 0 h 2778495"/>
                <a:gd name="connsiteX0" fmla="*/ 1111512 w 1111512"/>
                <a:gd name="connsiteY0" fmla="*/ 2778495 h 2778495"/>
                <a:gd name="connsiteX1" fmla="*/ 884684 w 1111512"/>
                <a:gd name="connsiteY1" fmla="*/ 2360281 h 2778495"/>
                <a:gd name="connsiteX2" fmla="*/ 466470 w 1111512"/>
                <a:gd name="connsiteY2" fmla="*/ 2268133 h 2778495"/>
                <a:gd name="connsiteX3" fmla="*/ 41168 w 1111512"/>
                <a:gd name="connsiteY3" fmla="*/ 1410440 h 2778495"/>
                <a:gd name="connsiteX4" fmla="*/ 29263 w 1111512"/>
                <a:gd name="connsiteY4" fmla="*/ 1173223 h 2778495"/>
                <a:gd name="connsiteX5" fmla="*/ 90570 w 1111512"/>
                <a:gd name="connsiteY5" fmla="*/ 1075664 h 2778495"/>
                <a:gd name="connsiteX6" fmla="*/ 161888 w 1111512"/>
                <a:gd name="connsiteY6" fmla="*/ 940336 h 2778495"/>
                <a:gd name="connsiteX7" fmla="*/ 352082 w 1111512"/>
                <a:gd name="connsiteY7" fmla="*/ 665078 h 2778495"/>
                <a:gd name="connsiteX8" fmla="*/ 373131 w 1111512"/>
                <a:gd name="connsiteY8" fmla="*/ 361361 h 2778495"/>
                <a:gd name="connsiteX9" fmla="*/ 331856 w 1111512"/>
                <a:gd name="connsiteY9" fmla="*/ 256556 h 2778495"/>
                <a:gd name="connsiteX10" fmla="*/ 273497 w 1111512"/>
                <a:gd name="connsiteY10" fmla="*/ 146658 h 2778495"/>
                <a:gd name="connsiteX11" fmla="*/ 120609 w 1111512"/>
                <a:gd name="connsiteY11" fmla="*/ 0 h 2778495"/>
                <a:gd name="connsiteX0" fmla="*/ 1111512 w 1111512"/>
                <a:gd name="connsiteY0" fmla="*/ 2778495 h 2778495"/>
                <a:gd name="connsiteX1" fmla="*/ 884684 w 1111512"/>
                <a:gd name="connsiteY1" fmla="*/ 2360281 h 2778495"/>
                <a:gd name="connsiteX2" fmla="*/ 466470 w 1111512"/>
                <a:gd name="connsiteY2" fmla="*/ 2268133 h 2778495"/>
                <a:gd name="connsiteX3" fmla="*/ 41168 w 1111512"/>
                <a:gd name="connsiteY3" fmla="*/ 1410440 h 2778495"/>
                <a:gd name="connsiteX4" fmla="*/ 29263 w 1111512"/>
                <a:gd name="connsiteY4" fmla="*/ 1173223 h 2778495"/>
                <a:gd name="connsiteX5" fmla="*/ 90570 w 1111512"/>
                <a:gd name="connsiteY5" fmla="*/ 1075664 h 2778495"/>
                <a:gd name="connsiteX6" fmla="*/ 161888 w 1111512"/>
                <a:gd name="connsiteY6" fmla="*/ 940336 h 2778495"/>
                <a:gd name="connsiteX7" fmla="*/ 352082 w 1111512"/>
                <a:gd name="connsiteY7" fmla="*/ 665078 h 2778495"/>
                <a:gd name="connsiteX8" fmla="*/ 373131 w 1111512"/>
                <a:gd name="connsiteY8" fmla="*/ 361361 h 2778495"/>
                <a:gd name="connsiteX9" fmla="*/ 331856 w 1111512"/>
                <a:gd name="connsiteY9" fmla="*/ 256556 h 2778495"/>
                <a:gd name="connsiteX10" fmla="*/ 273497 w 1111512"/>
                <a:gd name="connsiteY10" fmla="*/ 146658 h 2778495"/>
                <a:gd name="connsiteX11" fmla="*/ 111182 w 1111512"/>
                <a:gd name="connsiteY11" fmla="*/ 0 h 2778495"/>
                <a:gd name="connsiteX0" fmla="*/ 1111512 w 1111512"/>
                <a:gd name="connsiteY0" fmla="*/ 2804098 h 2804098"/>
                <a:gd name="connsiteX1" fmla="*/ 884684 w 1111512"/>
                <a:gd name="connsiteY1" fmla="*/ 2385884 h 2804098"/>
                <a:gd name="connsiteX2" fmla="*/ 466470 w 1111512"/>
                <a:gd name="connsiteY2" fmla="*/ 2293736 h 2804098"/>
                <a:gd name="connsiteX3" fmla="*/ 41168 w 1111512"/>
                <a:gd name="connsiteY3" fmla="*/ 1436043 h 2804098"/>
                <a:gd name="connsiteX4" fmla="*/ 29263 w 1111512"/>
                <a:gd name="connsiteY4" fmla="*/ 1198826 h 2804098"/>
                <a:gd name="connsiteX5" fmla="*/ 90570 w 1111512"/>
                <a:gd name="connsiteY5" fmla="*/ 1101267 h 2804098"/>
                <a:gd name="connsiteX6" fmla="*/ 161888 w 1111512"/>
                <a:gd name="connsiteY6" fmla="*/ 965939 h 2804098"/>
                <a:gd name="connsiteX7" fmla="*/ 352082 w 1111512"/>
                <a:gd name="connsiteY7" fmla="*/ 690681 h 2804098"/>
                <a:gd name="connsiteX8" fmla="*/ 373131 w 1111512"/>
                <a:gd name="connsiteY8" fmla="*/ 386964 h 2804098"/>
                <a:gd name="connsiteX9" fmla="*/ 331856 w 1111512"/>
                <a:gd name="connsiteY9" fmla="*/ 282159 h 2804098"/>
                <a:gd name="connsiteX10" fmla="*/ 273497 w 1111512"/>
                <a:gd name="connsiteY10" fmla="*/ 172261 h 2804098"/>
                <a:gd name="connsiteX11" fmla="*/ 118497 w 1111512"/>
                <a:gd name="connsiteY11" fmla="*/ 0 h 2804098"/>
                <a:gd name="connsiteX0" fmla="*/ 1128446 w 1128446"/>
                <a:gd name="connsiteY0" fmla="*/ 2837964 h 2837964"/>
                <a:gd name="connsiteX1" fmla="*/ 884684 w 1128446"/>
                <a:gd name="connsiteY1" fmla="*/ 2385884 h 2837964"/>
                <a:gd name="connsiteX2" fmla="*/ 466470 w 1128446"/>
                <a:gd name="connsiteY2" fmla="*/ 2293736 h 2837964"/>
                <a:gd name="connsiteX3" fmla="*/ 41168 w 1128446"/>
                <a:gd name="connsiteY3" fmla="*/ 1436043 h 2837964"/>
                <a:gd name="connsiteX4" fmla="*/ 29263 w 1128446"/>
                <a:gd name="connsiteY4" fmla="*/ 1198826 h 2837964"/>
                <a:gd name="connsiteX5" fmla="*/ 90570 w 1128446"/>
                <a:gd name="connsiteY5" fmla="*/ 1101267 h 2837964"/>
                <a:gd name="connsiteX6" fmla="*/ 161888 w 1128446"/>
                <a:gd name="connsiteY6" fmla="*/ 965939 h 2837964"/>
                <a:gd name="connsiteX7" fmla="*/ 352082 w 1128446"/>
                <a:gd name="connsiteY7" fmla="*/ 690681 h 2837964"/>
                <a:gd name="connsiteX8" fmla="*/ 373131 w 1128446"/>
                <a:gd name="connsiteY8" fmla="*/ 386964 h 2837964"/>
                <a:gd name="connsiteX9" fmla="*/ 331856 w 1128446"/>
                <a:gd name="connsiteY9" fmla="*/ 282159 h 2837964"/>
                <a:gd name="connsiteX10" fmla="*/ 273497 w 1128446"/>
                <a:gd name="connsiteY10" fmla="*/ 172261 h 2837964"/>
                <a:gd name="connsiteX11" fmla="*/ 118497 w 1128446"/>
                <a:gd name="connsiteY11" fmla="*/ 0 h 2837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8446" h="2837964">
                  <a:moveTo>
                    <a:pt x="1128446" y="2837964"/>
                  </a:moveTo>
                  <a:cubicBezTo>
                    <a:pt x="1068785" y="2671387"/>
                    <a:pt x="995013" y="2476589"/>
                    <a:pt x="884684" y="2385884"/>
                  </a:cubicBezTo>
                  <a:cubicBezTo>
                    <a:pt x="774355" y="2295179"/>
                    <a:pt x="607056" y="2452043"/>
                    <a:pt x="466470" y="2293736"/>
                  </a:cubicBezTo>
                  <a:cubicBezTo>
                    <a:pt x="325884" y="2135429"/>
                    <a:pt x="114036" y="1618528"/>
                    <a:pt x="41168" y="1436043"/>
                  </a:cubicBezTo>
                  <a:cubicBezTo>
                    <a:pt x="-31700" y="1253558"/>
                    <a:pt x="10559" y="1260439"/>
                    <a:pt x="29263" y="1198826"/>
                  </a:cubicBezTo>
                  <a:cubicBezTo>
                    <a:pt x="47967" y="1137213"/>
                    <a:pt x="68466" y="1140081"/>
                    <a:pt x="90570" y="1101267"/>
                  </a:cubicBezTo>
                  <a:cubicBezTo>
                    <a:pt x="112674" y="1062453"/>
                    <a:pt x="118303" y="1034370"/>
                    <a:pt x="161888" y="965939"/>
                  </a:cubicBezTo>
                  <a:cubicBezTo>
                    <a:pt x="205473" y="897508"/>
                    <a:pt x="316875" y="787177"/>
                    <a:pt x="352082" y="690681"/>
                  </a:cubicBezTo>
                  <a:cubicBezTo>
                    <a:pt x="387289" y="594185"/>
                    <a:pt x="376502" y="455051"/>
                    <a:pt x="373131" y="386964"/>
                  </a:cubicBezTo>
                  <a:cubicBezTo>
                    <a:pt x="369760" y="318877"/>
                    <a:pt x="340288" y="319892"/>
                    <a:pt x="331856" y="282159"/>
                  </a:cubicBezTo>
                  <a:cubicBezTo>
                    <a:pt x="323424" y="244426"/>
                    <a:pt x="309057" y="219287"/>
                    <a:pt x="273497" y="172261"/>
                  </a:cubicBezTo>
                  <a:cubicBezTo>
                    <a:pt x="237937" y="125235"/>
                    <a:pt x="223421" y="49509"/>
                    <a:pt x="118497" y="0"/>
                  </a:cubicBezTo>
                </a:path>
              </a:pathLst>
            </a:custGeom>
            <a:noFill/>
            <a:ln w="50800" cmpd="dbl">
              <a:solidFill>
                <a:srgbClr val="EE3524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EF758CCD-D576-D041-90B4-8BA4C537F1A7}"/>
                </a:ext>
              </a:extLst>
            </p:cNvPr>
            <p:cNvSpPr/>
            <p:nvPr/>
          </p:nvSpPr>
          <p:spPr>
            <a:xfrm>
              <a:off x="0" y="3053719"/>
              <a:ext cx="3257794" cy="1701778"/>
            </a:xfrm>
            <a:custGeom>
              <a:avLst/>
              <a:gdLst>
                <a:gd name="connsiteX0" fmla="*/ 0 w 3354992"/>
                <a:gd name="connsiteY0" fmla="*/ 1541816 h 1556605"/>
                <a:gd name="connsiteX1" fmla="*/ 124990 w 3354992"/>
                <a:gd name="connsiteY1" fmla="*/ 1554973 h 1556605"/>
                <a:gd name="connsiteX2" fmla="*/ 421018 w 3354992"/>
                <a:gd name="connsiteY2" fmla="*/ 1508924 h 1556605"/>
                <a:gd name="connsiteX3" fmla="*/ 802566 w 3354992"/>
                <a:gd name="connsiteY3" fmla="*/ 1331307 h 1556605"/>
                <a:gd name="connsiteX4" fmla="*/ 986762 w 3354992"/>
                <a:gd name="connsiteY4" fmla="*/ 1304993 h 1556605"/>
                <a:gd name="connsiteX5" fmla="*/ 1203850 w 3354992"/>
                <a:gd name="connsiteY5" fmla="*/ 1199739 h 1556605"/>
                <a:gd name="connsiteX6" fmla="*/ 1355154 w 3354992"/>
                <a:gd name="connsiteY6" fmla="*/ 1114219 h 1556605"/>
                <a:gd name="connsiteX7" fmla="*/ 1677496 w 3354992"/>
                <a:gd name="connsiteY7" fmla="*/ 1081327 h 1556605"/>
                <a:gd name="connsiteX8" fmla="*/ 1841956 w 3354992"/>
                <a:gd name="connsiteY8" fmla="*/ 995808 h 1556605"/>
                <a:gd name="connsiteX9" fmla="*/ 1953790 w 3354992"/>
                <a:gd name="connsiteY9" fmla="*/ 969494 h 1556605"/>
                <a:gd name="connsiteX10" fmla="*/ 2065623 w 3354992"/>
                <a:gd name="connsiteY10" fmla="*/ 791877 h 1556605"/>
                <a:gd name="connsiteX11" fmla="*/ 2210348 w 3354992"/>
                <a:gd name="connsiteY11" fmla="*/ 686622 h 1556605"/>
                <a:gd name="connsiteX12" fmla="*/ 2341916 w 3354992"/>
                <a:gd name="connsiteY12" fmla="*/ 601103 h 1556605"/>
                <a:gd name="connsiteX13" fmla="*/ 2401122 w 3354992"/>
                <a:gd name="connsiteY13" fmla="*/ 601103 h 1556605"/>
                <a:gd name="connsiteX14" fmla="*/ 2532690 w 3354992"/>
                <a:gd name="connsiteY14" fmla="*/ 594524 h 1556605"/>
                <a:gd name="connsiteX15" fmla="*/ 2749778 w 3354992"/>
                <a:gd name="connsiteY15" fmla="*/ 522162 h 1556605"/>
                <a:gd name="connsiteX16" fmla="*/ 2914238 w 3354992"/>
                <a:gd name="connsiteY16" fmla="*/ 390593 h 1556605"/>
                <a:gd name="connsiteX17" fmla="*/ 2960287 w 3354992"/>
                <a:gd name="connsiteY17" fmla="*/ 265603 h 1556605"/>
                <a:gd name="connsiteX18" fmla="*/ 2999758 w 3354992"/>
                <a:gd name="connsiteY18" fmla="*/ 226133 h 1556605"/>
                <a:gd name="connsiteX19" fmla="*/ 3137905 w 3354992"/>
                <a:gd name="connsiteY19" fmla="*/ 193241 h 1556605"/>
                <a:gd name="connsiteX20" fmla="*/ 3210267 w 3354992"/>
                <a:gd name="connsiteY20" fmla="*/ 87986 h 1556605"/>
                <a:gd name="connsiteX21" fmla="*/ 3223424 w 3354992"/>
                <a:gd name="connsiteY21" fmla="*/ 9045 h 1556605"/>
                <a:gd name="connsiteX22" fmla="*/ 3302365 w 3354992"/>
                <a:gd name="connsiteY22" fmla="*/ 2467 h 1556605"/>
                <a:gd name="connsiteX23" fmla="*/ 3354992 w 3354992"/>
                <a:gd name="connsiteY23" fmla="*/ 15624 h 1556605"/>
                <a:gd name="connsiteX0" fmla="*/ 0 w 3403213"/>
                <a:gd name="connsiteY0" fmla="*/ 1552510 h 1560006"/>
                <a:gd name="connsiteX1" fmla="*/ 173211 w 3403213"/>
                <a:gd name="connsiteY1" fmla="*/ 1554973 h 1560006"/>
                <a:gd name="connsiteX2" fmla="*/ 469239 w 3403213"/>
                <a:gd name="connsiteY2" fmla="*/ 1508924 h 1560006"/>
                <a:gd name="connsiteX3" fmla="*/ 850787 w 3403213"/>
                <a:gd name="connsiteY3" fmla="*/ 1331307 h 1560006"/>
                <a:gd name="connsiteX4" fmla="*/ 1034983 w 3403213"/>
                <a:gd name="connsiteY4" fmla="*/ 1304993 h 1560006"/>
                <a:gd name="connsiteX5" fmla="*/ 1252071 w 3403213"/>
                <a:gd name="connsiteY5" fmla="*/ 1199739 h 1560006"/>
                <a:gd name="connsiteX6" fmla="*/ 1403375 w 3403213"/>
                <a:gd name="connsiteY6" fmla="*/ 1114219 h 1560006"/>
                <a:gd name="connsiteX7" fmla="*/ 1725717 w 3403213"/>
                <a:gd name="connsiteY7" fmla="*/ 1081327 h 1560006"/>
                <a:gd name="connsiteX8" fmla="*/ 1890177 w 3403213"/>
                <a:gd name="connsiteY8" fmla="*/ 995808 h 1560006"/>
                <a:gd name="connsiteX9" fmla="*/ 2002011 w 3403213"/>
                <a:gd name="connsiteY9" fmla="*/ 969494 h 1560006"/>
                <a:gd name="connsiteX10" fmla="*/ 2113844 w 3403213"/>
                <a:gd name="connsiteY10" fmla="*/ 791877 h 1560006"/>
                <a:gd name="connsiteX11" fmla="*/ 2258569 w 3403213"/>
                <a:gd name="connsiteY11" fmla="*/ 686622 h 1560006"/>
                <a:gd name="connsiteX12" fmla="*/ 2390137 w 3403213"/>
                <a:gd name="connsiteY12" fmla="*/ 601103 h 1560006"/>
                <a:gd name="connsiteX13" fmla="*/ 2449343 w 3403213"/>
                <a:gd name="connsiteY13" fmla="*/ 601103 h 1560006"/>
                <a:gd name="connsiteX14" fmla="*/ 2580911 w 3403213"/>
                <a:gd name="connsiteY14" fmla="*/ 594524 h 1560006"/>
                <a:gd name="connsiteX15" fmla="*/ 2797999 w 3403213"/>
                <a:gd name="connsiteY15" fmla="*/ 522162 h 1560006"/>
                <a:gd name="connsiteX16" fmla="*/ 2962459 w 3403213"/>
                <a:gd name="connsiteY16" fmla="*/ 390593 h 1560006"/>
                <a:gd name="connsiteX17" fmla="*/ 3008508 w 3403213"/>
                <a:gd name="connsiteY17" fmla="*/ 265603 h 1560006"/>
                <a:gd name="connsiteX18" fmla="*/ 3047979 w 3403213"/>
                <a:gd name="connsiteY18" fmla="*/ 226133 h 1560006"/>
                <a:gd name="connsiteX19" fmla="*/ 3186126 w 3403213"/>
                <a:gd name="connsiteY19" fmla="*/ 193241 h 1560006"/>
                <a:gd name="connsiteX20" fmla="*/ 3258488 w 3403213"/>
                <a:gd name="connsiteY20" fmla="*/ 87986 h 1560006"/>
                <a:gd name="connsiteX21" fmla="*/ 3271645 w 3403213"/>
                <a:gd name="connsiteY21" fmla="*/ 9045 h 1560006"/>
                <a:gd name="connsiteX22" fmla="*/ 3350586 w 3403213"/>
                <a:gd name="connsiteY22" fmla="*/ 2467 h 1560006"/>
                <a:gd name="connsiteX23" fmla="*/ 3403213 w 3403213"/>
                <a:gd name="connsiteY23" fmla="*/ 15624 h 1560006"/>
                <a:gd name="connsiteX0" fmla="*/ 0 w 3462150"/>
                <a:gd name="connsiteY0" fmla="*/ 1555777 h 1563273"/>
                <a:gd name="connsiteX1" fmla="*/ 173211 w 3462150"/>
                <a:gd name="connsiteY1" fmla="*/ 1558240 h 1563273"/>
                <a:gd name="connsiteX2" fmla="*/ 469239 w 3462150"/>
                <a:gd name="connsiteY2" fmla="*/ 1512191 h 1563273"/>
                <a:gd name="connsiteX3" fmla="*/ 850787 w 3462150"/>
                <a:gd name="connsiteY3" fmla="*/ 1334574 h 1563273"/>
                <a:gd name="connsiteX4" fmla="*/ 1034983 w 3462150"/>
                <a:gd name="connsiteY4" fmla="*/ 1308260 h 1563273"/>
                <a:gd name="connsiteX5" fmla="*/ 1252071 w 3462150"/>
                <a:gd name="connsiteY5" fmla="*/ 1203006 h 1563273"/>
                <a:gd name="connsiteX6" fmla="*/ 1403375 w 3462150"/>
                <a:gd name="connsiteY6" fmla="*/ 1117486 h 1563273"/>
                <a:gd name="connsiteX7" fmla="*/ 1725717 w 3462150"/>
                <a:gd name="connsiteY7" fmla="*/ 1084594 h 1563273"/>
                <a:gd name="connsiteX8" fmla="*/ 1890177 w 3462150"/>
                <a:gd name="connsiteY8" fmla="*/ 999075 h 1563273"/>
                <a:gd name="connsiteX9" fmla="*/ 2002011 w 3462150"/>
                <a:gd name="connsiteY9" fmla="*/ 972761 h 1563273"/>
                <a:gd name="connsiteX10" fmla="*/ 2113844 w 3462150"/>
                <a:gd name="connsiteY10" fmla="*/ 795144 h 1563273"/>
                <a:gd name="connsiteX11" fmla="*/ 2258569 w 3462150"/>
                <a:gd name="connsiteY11" fmla="*/ 689889 h 1563273"/>
                <a:gd name="connsiteX12" fmla="*/ 2390137 w 3462150"/>
                <a:gd name="connsiteY12" fmla="*/ 604370 h 1563273"/>
                <a:gd name="connsiteX13" fmla="*/ 2449343 w 3462150"/>
                <a:gd name="connsiteY13" fmla="*/ 604370 h 1563273"/>
                <a:gd name="connsiteX14" fmla="*/ 2580911 w 3462150"/>
                <a:gd name="connsiteY14" fmla="*/ 597791 h 1563273"/>
                <a:gd name="connsiteX15" fmla="*/ 2797999 w 3462150"/>
                <a:gd name="connsiteY15" fmla="*/ 525429 h 1563273"/>
                <a:gd name="connsiteX16" fmla="*/ 2962459 w 3462150"/>
                <a:gd name="connsiteY16" fmla="*/ 393860 h 1563273"/>
                <a:gd name="connsiteX17" fmla="*/ 3008508 w 3462150"/>
                <a:gd name="connsiteY17" fmla="*/ 268870 h 1563273"/>
                <a:gd name="connsiteX18" fmla="*/ 3047979 w 3462150"/>
                <a:gd name="connsiteY18" fmla="*/ 229400 h 1563273"/>
                <a:gd name="connsiteX19" fmla="*/ 3186126 w 3462150"/>
                <a:gd name="connsiteY19" fmla="*/ 196508 h 1563273"/>
                <a:gd name="connsiteX20" fmla="*/ 3258488 w 3462150"/>
                <a:gd name="connsiteY20" fmla="*/ 91253 h 1563273"/>
                <a:gd name="connsiteX21" fmla="*/ 3271645 w 3462150"/>
                <a:gd name="connsiteY21" fmla="*/ 12312 h 1563273"/>
                <a:gd name="connsiteX22" fmla="*/ 3350586 w 3462150"/>
                <a:gd name="connsiteY22" fmla="*/ 5734 h 1563273"/>
                <a:gd name="connsiteX23" fmla="*/ 3462150 w 3462150"/>
                <a:gd name="connsiteY23" fmla="*/ 67018 h 1563273"/>
                <a:gd name="connsiteX0" fmla="*/ 0 w 3462150"/>
                <a:gd name="connsiteY0" fmla="*/ 1555777 h 1563273"/>
                <a:gd name="connsiteX1" fmla="*/ 173211 w 3462150"/>
                <a:gd name="connsiteY1" fmla="*/ 1558240 h 1563273"/>
                <a:gd name="connsiteX2" fmla="*/ 469239 w 3462150"/>
                <a:gd name="connsiteY2" fmla="*/ 1512191 h 1563273"/>
                <a:gd name="connsiteX3" fmla="*/ 850787 w 3462150"/>
                <a:gd name="connsiteY3" fmla="*/ 1334574 h 1563273"/>
                <a:gd name="connsiteX4" fmla="*/ 1034983 w 3462150"/>
                <a:gd name="connsiteY4" fmla="*/ 1308260 h 1563273"/>
                <a:gd name="connsiteX5" fmla="*/ 1252071 w 3462150"/>
                <a:gd name="connsiteY5" fmla="*/ 1203006 h 1563273"/>
                <a:gd name="connsiteX6" fmla="*/ 1403375 w 3462150"/>
                <a:gd name="connsiteY6" fmla="*/ 1117486 h 1563273"/>
                <a:gd name="connsiteX7" fmla="*/ 1725717 w 3462150"/>
                <a:gd name="connsiteY7" fmla="*/ 1084594 h 1563273"/>
                <a:gd name="connsiteX8" fmla="*/ 1890177 w 3462150"/>
                <a:gd name="connsiteY8" fmla="*/ 999075 h 1563273"/>
                <a:gd name="connsiteX9" fmla="*/ 2002011 w 3462150"/>
                <a:gd name="connsiteY9" fmla="*/ 972761 h 1563273"/>
                <a:gd name="connsiteX10" fmla="*/ 2113844 w 3462150"/>
                <a:gd name="connsiteY10" fmla="*/ 795144 h 1563273"/>
                <a:gd name="connsiteX11" fmla="*/ 2258569 w 3462150"/>
                <a:gd name="connsiteY11" fmla="*/ 689889 h 1563273"/>
                <a:gd name="connsiteX12" fmla="*/ 2390137 w 3462150"/>
                <a:gd name="connsiteY12" fmla="*/ 604370 h 1563273"/>
                <a:gd name="connsiteX13" fmla="*/ 2449343 w 3462150"/>
                <a:gd name="connsiteY13" fmla="*/ 604370 h 1563273"/>
                <a:gd name="connsiteX14" fmla="*/ 2580911 w 3462150"/>
                <a:gd name="connsiteY14" fmla="*/ 597791 h 1563273"/>
                <a:gd name="connsiteX15" fmla="*/ 2797999 w 3462150"/>
                <a:gd name="connsiteY15" fmla="*/ 525429 h 1563273"/>
                <a:gd name="connsiteX16" fmla="*/ 2962459 w 3462150"/>
                <a:gd name="connsiteY16" fmla="*/ 393860 h 1563273"/>
                <a:gd name="connsiteX17" fmla="*/ 3008508 w 3462150"/>
                <a:gd name="connsiteY17" fmla="*/ 268870 h 1563273"/>
                <a:gd name="connsiteX18" fmla="*/ 3047979 w 3462150"/>
                <a:gd name="connsiteY18" fmla="*/ 229400 h 1563273"/>
                <a:gd name="connsiteX19" fmla="*/ 3186126 w 3462150"/>
                <a:gd name="connsiteY19" fmla="*/ 196508 h 1563273"/>
                <a:gd name="connsiteX20" fmla="*/ 3258488 w 3462150"/>
                <a:gd name="connsiteY20" fmla="*/ 91253 h 1563273"/>
                <a:gd name="connsiteX21" fmla="*/ 3271645 w 3462150"/>
                <a:gd name="connsiteY21" fmla="*/ 12312 h 1563273"/>
                <a:gd name="connsiteX22" fmla="*/ 3350586 w 3462150"/>
                <a:gd name="connsiteY22" fmla="*/ 5734 h 1563273"/>
                <a:gd name="connsiteX23" fmla="*/ 3462150 w 3462150"/>
                <a:gd name="connsiteY23" fmla="*/ 67018 h 1563273"/>
                <a:gd name="connsiteX0" fmla="*/ 0 w 3462150"/>
                <a:gd name="connsiteY0" fmla="*/ 1558348 h 1565844"/>
                <a:gd name="connsiteX1" fmla="*/ 173211 w 3462150"/>
                <a:gd name="connsiteY1" fmla="*/ 1560811 h 1565844"/>
                <a:gd name="connsiteX2" fmla="*/ 469239 w 3462150"/>
                <a:gd name="connsiteY2" fmla="*/ 1514762 h 1565844"/>
                <a:gd name="connsiteX3" fmla="*/ 850787 w 3462150"/>
                <a:gd name="connsiteY3" fmla="*/ 1337145 h 1565844"/>
                <a:gd name="connsiteX4" fmla="*/ 1034983 w 3462150"/>
                <a:gd name="connsiteY4" fmla="*/ 1310831 h 1565844"/>
                <a:gd name="connsiteX5" fmla="*/ 1252071 w 3462150"/>
                <a:gd name="connsiteY5" fmla="*/ 1205577 h 1565844"/>
                <a:gd name="connsiteX6" fmla="*/ 1403375 w 3462150"/>
                <a:gd name="connsiteY6" fmla="*/ 1120057 h 1565844"/>
                <a:gd name="connsiteX7" fmla="*/ 1725717 w 3462150"/>
                <a:gd name="connsiteY7" fmla="*/ 1087165 h 1565844"/>
                <a:gd name="connsiteX8" fmla="*/ 1890177 w 3462150"/>
                <a:gd name="connsiteY8" fmla="*/ 1001646 h 1565844"/>
                <a:gd name="connsiteX9" fmla="*/ 2002011 w 3462150"/>
                <a:gd name="connsiteY9" fmla="*/ 975332 h 1565844"/>
                <a:gd name="connsiteX10" fmla="*/ 2113844 w 3462150"/>
                <a:gd name="connsiteY10" fmla="*/ 797715 h 1565844"/>
                <a:gd name="connsiteX11" fmla="*/ 2258569 w 3462150"/>
                <a:gd name="connsiteY11" fmla="*/ 692460 h 1565844"/>
                <a:gd name="connsiteX12" fmla="*/ 2390137 w 3462150"/>
                <a:gd name="connsiteY12" fmla="*/ 606941 h 1565844"/>
                <a:gd name="connsiteX13" fmla="*/ 2449343 w 3462150"/>
                <a:gd name="connsiteY13" fmla="*/ 606941 h 1565844"/>
                <a:gd name="connsiteX14" fmla="*/ 2580911 w 3462150"/>
                <a:gd name="connsiteY14" fmla="*/ 600362 h 1565844"/>
                <a:gd name="connsiteX15" fmla="*/ 2797999 w 3462150"/>
                <a:gd name="connsiteY15" fmla="*/ 528000 h 1565844"/>
                <a:gd name="connsiteX16" fmla="*/ 2962459 w 3462150"/>
                <a:gd name="connsiteY16" fmla="*/ 396431 h 1565844"/>
                <a:gd name="connsiteX17" fmla="*/ 3008508 w 3462150"/>
                <a:gd name="connsiteY17" fmla="*/ 271441 h 1565844"/>
                <a:gd name="connsiteX18" fmla="*/ 3047979 w 3462150"/>
                <a:gd name="connsiteY18" fmla="*/ 231971 h 1565844"/>
                <a:gd name="connsiteX19" fmla="*/ 3186126 w 3462150"/>
                <a:gd name="connsiteY19" fmla="*/ 199079 h 1565844"/>
                <a:gd name="connsiteX20" fmla="*/ 3258488 w 3462150"/>
                <a:gd name="connsiteY20" fmla="*/ 93824 h 1565844"/>
                <a:gd name="connsiteX21" fmla="*/ 3271645 w 3462150"/>
                <a:gd name="connsiteY21" fmla="*/ 14883 h 1565844"/>
                <a:gd name="connsiteX22" fmla="*/ 3350586 w 3462150"/>
                <a:gd name="connsiteY22" fmla="*/ 8305 h 1565844"/>
                <a:gd name="connsiteX23" fmla="*/ 3462150 w 3462150"/>
                <a:gd name="connsiteY23" fmla="*/ 69589 h 1565844"/>
                <a:gd name="connsiteX0" fmla="*/ 0 w 3451434"/>
                <a:gd name="connsiteY0" fmla="*/ 1557313 h 1564809"/>
                <a:gd name="connsiteX1" fmla="*/ 173211 w 3451434"/>
                <a:gd name="connsiteY1" fmla="*/ 1559776 h 1564809"/>
                <a:gd name="connsiteX2" fmla="*/ 469239 w 3451434"/>
                <a:gd name="connsiteY2" fmla="*/ 1513727 h 1564809"/>
                <a:gd name="connsiteX3" fmla="*/ 850787 w 3451434"/>
                <a:gd name="connsiteY3" fmla="*/ 1336110 h 1564809"/>
                <a:gd name="connsiteX4" fmla="*/ 1034983 w 3451434"/>
                <a:gd name="connsiteY4" fmla="*/ 1309796 h 1564809"/>
                <a:gd name="connsiteX5" fmla="*/ 1252071 w 3451434"/>
                <a:gd name="connsiteY5" fmla="*/ 1204542 h 1564809"/>
                <a:gd name="connsiteX6" fmla="*/ 1403375 w 3451434"/>
                <a:gd name="connsiteY6" fmla="*/ 1119022 h 1564809"/>
                <a:gd name="connsiteX7" fmla="*/ 1725717 w 3451434"/>
                <a:gd name="connsiteY7" fmla="*/ 1086130 h 1564809"/>
                <a:gd name="connsiteX8" fmla="*/ 1890177 w 3451434"/>
                <a:gd name="connsiteY8" fmla="*/ 1000611 h 1564809"/>
                <a:gd name="connsiteX9" fmla="*/ 2002011 w 3451434"/>
                <a:gd name="connsiteY9" fmla="*/ 974297 h 1564809"/>
                <a:gd name="connsiteX10" fmla="*/ 2113844 w 3451434"/>
                <a:gd name="connsiteY10" fmla="*/ 796680 h 1564809"/>
                <a:gd name="connsiteX11" fmla="*/ 2258569 w 3451434"/>
                <a:gd name="connsiteY11" fmla="*/ 691425 h 1564809"/>
                <a:gd name="connsiteX12" fmla="*/ 2390137 w 3451434"/>
                <a:gd name="connsiteY12" fmla="*/ 605906 h 1564809"/>
                <a:gd name="connsiteX13" fmla="*/ 2449343 w 3451434"/>
                <a:gd name="connsiteY13" fmla="*/ 605906 h 1564809"/>
                <a:gd name="connsiteX14" fmla="*/ 2580911 w 3451434"/>
                <a:gd name="connsiteY14" fmla="*/ 599327 h 1564809"/>
                <a:gd name="connsiteX15" fmla="*/ 2797999 w 3451434"/>
                <a:gd name="connsiteY15" fmla="*/ 526965 h 1564809"/>
                <a:gd name="connsiteX16" fmla="*/ 2962459 w 3451434"/>
                <a:gd name="connsiteY16" fmla="*/ 395396 h 1564809"/>
                <a:gd name="connsiteX17" fmla="*/ 3008508 w 3451434"/>
                <a:gd name="connsiteY17" fmla="*/ 270406 h 1564809"/>
                <a:gd name="connsiteX18" fmla="*/ 3047979 w 3451434"/>
                <a:gd name="connsiteY18" fmla="*/ 230936 h 1564809"/>
                <a:gd name="connsiteX19" fmla="*/ 3186126 w 3451434"/>
                <a:gd name="connsiteY19" fmla="*/ 198044 h 1564809"/>
                <a:gd name="connsiteX20" fmla="*/ 3258488 w 3451434"/>
                <a:gd name="connsiteY20" fmla="*/ 92789 h 1564809"/>
                <a:gd name="connsiteX21" fmla="*/ 3271645 w 3451434"/>
                <a:gd name="connsiteY21" fmla="*/ 13848 h 1564809"/>
                <a:gd name="connsiteX22" fmla="*/ 3350586 w 3451434"/>
                <a:gd name="connsiteY22" fmla="*/ 7270 h 1564809"/>
                <a:gd name="connsiteX23" fmla="*/ 3451434 w 3451434"/>
                <a:gd name="connsiteY23" fmla="*/ 89943 h 1564809"/>
                <a:gd name="connsiteX0" fmla="*/ 0 w 3451434"/>
                <a:gd name="connsiteY0" fmla="*/ 1557313 h 1564809"/>
                <a:gd name="connsiteX1" fmla="*/ 173211 w 3451434"/>
                <a:gd name="connsiteY1" fmla="*/ 1559776 h 1564809"/>
                <a:gd name="connsiteX2" fmla="*/ 469239 w 3451434"/>
                <a:gd name="connsiteY2" fmla="*/ 1513727 h 1564809"/>
                <a:gd name="connsiteX3" fmla="*/ 850787 w 3451434"/>
                <a:gd name="connsiteY3" fmla="*/ 1336110 h 1564809"/>
                <a:gd name="connsiteX4" fmla="*/ 1034983 w 3451434"/>
                <a:gd name="connsiteY4" fmla="*/ 1309796 h 1564809"/>
                <a:gd name="connsiteX5" fmla="*/ 1252071 w 3451434"/>
                <a:gd name="connsiteY5" fmla="*/ 1204542 h 1564809"/>
                <a:gd name="connsiteX6" fmla="*/ 1403375 w 3451434"/>
                <a:gd name="connsiteY6" fmla="*/ 1119022 h 1564809"/>
                <a:gd name="connsiteX7" fmla="*/ 1725717 w 3451434"/>
                <a:gd name="connsiteY7" fmla="*/ 1086130 h 1564809"/>
                <a:gd name="connsiteX8" fmla="*/ 1890177 w 3451434"/>
                <a:gd name="connsiteY8" fmla="*/ 1000611 h 1564809"/>
                <a:gd name="connsiteX9" fmla="*/ 2002011 w 3451434"/>
                <a:gd name="connsiteY9" fmla="*/ 974297 h 1564809"/>
                <a:gd name="connsiteX10" fmla="*/ 2113844 w 3451434"/>
                <a:gd name="connsiteY10" fmla="*/ 796680 h 1564809"/>
                <a:gd name="connsiteX11" fmla="*/ 2258569 w 3451434"/>
                <a:gd name="connsiteY11" fmla="*/ 691425 h 1564809"/>
                <a:gd name="connsiteX12" fmla="*/ 2390137 w 3451434"/>
                <a:gd name="connsiteY12" fmla="*/ 605906 h 1564809"/>
                <a:gd name="connsiteX13" fmla="*/ 2449343 w 3451434"/>
                <a:gd name="connsiteY13" fmla="*/ 605906 h 1564809"/>
                <a:gd name="connsiteX14" fmla="*/ 2580911 w 3451434"/>
                <a:gd name="connsiteY14" fmla="*/ 599327 h 1564809"/>
                <a:gd name="connsiteX15" fmla="*/ 2797999 w 3451434"/>
                <a:gd name="connsiteY15" fmla="*/ 526965 h 1564809"/>
                <a:gd name="connsiteX16" fmla="*/ 2962459 w 3451434"/>
                <a:gd name="connsiteY16" fmla="*/ 395396 h 1564809"/>
                <a:gd name="connsiteX17" fmla="*/ 3008508 w 3451434"/>
                <a:gd name="connsiteY17" fmla="*/ 270406 h 1564809"/>
                <a:gd name="connsiteX18" fmla="*/ 3047979 w 3451434"/>
                <a:gd name="connsiteY18" fmla="*/ 230936 h 1564809"/>
                <a:gd name="connsiteX19" fmla="*/ 3186126 w 3451434"/>
                <a:gd name="connsiteY19" fmla="*/ 198044 h 1564809"/>
                <a:gd name="connsiteX20" fmla="*/ 3258488 w 3451434"/>
                <a:gd name="connsiteY20" fmla="*/ 92789 h 1564809"/>
                <a:gd name="connsiteX21" fmla="*/ 3271645 w 3451434"/>
                <a:gd name="connsiteY21" fmla="*/ 13848 h 1564809"/>
                <a:gd name="connsiteX22" fmla="*/ 3350586 w 3451434"/>
                <a:gd name="connsiteY22" fmla="*/ 7270 h 1564809"/>
                <a:gd name="connsiteX23" fmla="*/ 3451434 w 3451434"/>
                <a:gd name="connsiteY23" fmla="*/ 89943 h 1564809"/>
                <a:gd name="connsiteX0" fmla="*/ 0 w 3517399"/>
                <a:gd name="connsiteY0" fmla="*/ 1557312 h 1564808"/>
                <a:gd name="connsiteX1" fmla="*/ 173211 w 3517399"/>
                <a:gd name="connsiteY1" fmla="*/ 1559775 h 1564808"/>
                <a:gd name="connsiteX2" fmla="*/ 469239 w 3517399"/>
                <a:gd name="connsiteY2" fmla="*/ 1513726 h 1564808"/>
                <a:gd name="connsiteX3" fmla="*/ 850787 w 3517399"/>
                <a:gd name="connsiteY3" fmla="*/ 1336109 h 1564808"/>
                <a:gd name="connsiteX4" fmla="*/ 1034983 w 3517399"/>
                <a:gd name="connsiteY4" fmla="*/ 1309795 h 1564808"/>
                <a:gd name="connsiteX5" fmla="*/ 1252071 w 3517399"/>
                <a:gd name="connsiteY5" fmla="*/ 1204541 h 1564808"/>
                <a:gd name="connsiteX6" fmla="*/ 1403375 w 3517399"/>
                <a:gd name="connsiteY6" fmla="*/ 1119021 h 1564808"/>
                <a:gd name="connsiteX7" fmla="*/ 1725717 w 3517399"/>
                <a:gd name="connsiteY7" fmla="*/ 1086129 h 1564808"/>
                <a:gd name="connsiteX8" fmla="*/ 1890177 w 3517399"/>
                <a:gd name="connsiteY8" fmla="*/ 1000610 h 1564808"/>
                <a:gd name="connsiteX9" fmla="*/ 2002011 w 3517399"/>
                <a:gd name="connsiteY9" fmla="*/ 974296 h 1564808"/>
                <a:gd name="connsiteX10" fmla="*/ 2113844 w 3517399"/>
                <a:gd name="connsiteY10" fmla="*/ 796679 h 1564808"/>
                <a:gd name="connsiteX11" fmla="*/ 2258569 w 3517399"/>
                <a:gd name="connsiteY11" fmla="*/ 691424 h 1564808"/>
                <a:gd name="connsiteX12" fmla="*/ 2390137 w 3517399"/>
                <a:gd name="connsiteY12" fmla="*/ 605905 h 1564808"/>
                <a:gd name="connsiteX13" fmla="*/ 2449343 w 3517399"/>
                <a:gd name="connsiteY13" fmla="*/ 605905 h 1564808"/>
                <a:gd name="connsiteX14" fmla="*/ 2580911 w 3517399"/>
                <a:gd name="connsiteY14" fmla="*/ 599326 h 1564808"/>
                <a:gd name="connsiteX15" fmla="*/ 2797999 w 3517399"/>
                <a:gd name="connsiteY15" fmla="*/ 526964 h 1564808"/>
                <a:gd name="connsiteX16" fmla="*/ 2962459 w 3517399"/>
                <a:gd name="connsiteY16" fmla="*/ 395395 h 1564808"/>
                <a:gd name="connsiteX17" fmla="*/ 3008508 w 3517399"/>
                <a:gd name="connsiteY17" fmla="*/ 270405 h 1564808"/>
                <a:gd name="connsiteX18" fmla="*/ 3047979 w 3517399"/>
                <a:gd name="connsiteY18" fmla="*/ 230935 h 1564808"/>
                <a:gd name="connsiteX19" fmla="*/ 3186126 w 3517399"/>
                <a:gd name="connsiteY19" fmla="*/ 198043 h 1564808"/>
                <a:gd name="connsiteX20" fmla="*/ 3258488 w 3517399"/>
                <a:gd name="connsiteY20" fmla="*/ 92788 h 1564808"/>
                <a:gd name="connsiteX21" fmla="*/ 3271645 w 3517399"/>
                <a:gd name="connsiteY21" fmla="*/ 13847 h 1564808"/>
                <a:gd name="connsiteX22" fmla="*/ 3350586 w 3517399"/>
                <a:gd name="connsiteY22" fmla="*/ 7269 h 1564808"/>
                <a:gd name="connsiteX23" fmla="*/ 3517399 w 3517399"/>
                <a:gd name="connsiteY23" fmla="*/ 89942 h 1564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517399" h="1564808">
                  <a:moveTo>
                    <a:pt x="0" y="1557312"/>
                  </a:moveTo>
                  <a:cubicBezTo>
                    <a:pt x="27410" y="1566631"/>
                    <a:pt x="95005" y="1567039"/>
                    <a:pt x="173211" y="1559775"/>
                  </a:cubicBezTo>
                  <a:cubicBezTo>
                    <a:pt x="251417" y="1552511"/>
                    <a:pt x="356310" y="1551004"/>
                    <a:pt x="469239" y="1513726"/>
                  </a:cubicBezTo>
                  <a:cubicBezTo>
                    <a:pt x="582168" y="1476448"/>
                    <a:pt x="756496" y="1370097"/>
                    <a:pt x="850787" y="1336109"/>
                  </a:cubicBezTo>
                  <a:cubicBezTo>
                    <a:pt x="945078" y="1302121"/>
                    <a:pt x="968102" y="1331723"/>
                    <a:pt x="1034983" y="1309795"/>
                  </a:cubicBezTo>
                  <a:cubicBezTo>
                    <a:pt x="1101864" y="1287867"/>
                    <a:pt x="1190672" y="1236337"/>
                    <a:pt x="1252071" y="1204541"/>
                  </a:cubicBezTo>
                  <a:cubicBezTo>
                    <a:pt x="1313470" y="1172745"/>
                    <a:pt x="1324434" y="1138756"/>
                    <a:pt x="1403375" y="1119021"/>
                  </a:cubicBezTo>
                  <a:cubicBezTo>
                    <a:pt x="1482316" y="1099286"/>
                    <a:pt x="1644584" y="1105864"/>
                    <a:pt x="1725717" y="1086129"/>
                  </a:cubicBezTo>
                  <a:cubicBezTo>
                    <a:pt x="1806850" y="1066394"/>
                    <a:pt x="1844128" y="1019249"/>
                    <a:pt x="1890177" y="1000610"/>
                  </a:cubicBezTo>
                  <a:cubicBezTo>
                    <a:pt x="1936226" y="981971"/>
                    <a:pt x="1964733" y="1008285"/>
                    <a:pt x="2002011" y="974296"/>
                  </a:cubicBezTo>
                  <a:cubicBezTo>
                    <a:pt x="2039289" y="940307"/>
                    <a:pt x="2071084" y="843824"/>
                    <a:pt x="2113844" y="796679"/>
                  </a:cubicBezTo>
                  <a:cubicBezTo>
                    <a:pt x="2156604" y="749534"/>
                    <a:pt x="2212520" y="723220"/>
                    <a:pt x="2258569" y="691424"/>
                  </a:cubicBezTo>
                  <a:cubicBezTo>
                    <a:pt x="2304618" y="659628"/>
                    <a:pt x="2358341" y="620158"/>
                    <a:pt x="2390137" y="605905"/>
                  </a:cubicBezTo>
                  <a:cubicBezTo>
                    <a:pt x="2421933" y="591652"/>
                    <a:pt x="2417547" y="607001"/>
                    <a:pt x="2449343" y="605905"/>
                  </a:cubicBezTo>
                  <a:cubicBezTo>
                    <a:pt x="2481139" y="604809"/>
                    <a:pt x="2522802" y="612483"/>
                    <a:pt x="2580911" y="599326"/>
                  </a:cubicBezTo>
                  <a:cubicBezTo>
                    <a:pt x="2639020" y="586169"/>
                    <a:pt x="2734408" y="560952"/>
                    <a:pt x="2797999" y="526964"/>
                  </a:cubicBezTo>
                  <a:cubicBezTo>
                    <a:pt x="2861590" y="492976"/>
                    <a:pt x="2927374" y="438155"/>
                    <a:pt x="2962459" y="395395"/>
                  </a:cubicBezTo>
                  <a:cubicBezTo>
                    <a:pt x="2997544" y="352635"/>
                    <a:pt x="2994255" y="297815"/>
                    <a:pt x="3008508" y="270405"/>
                  </a:cubicBezTo>
                  <a:cubicBezTo>
                    <a:pt x="3022761" y="242995"/>
                    <a:pt x="3018376" y="242995"/>
                    <a:pt x="3047979" y="230935"/>
                  </a:cubicBezTo>
                  <a:cubicBezTo>
                    <a:pt x="3077582" y="218875"/>
                    <a:pt x="3151041" y="221067"/>
                    <a:pt x="3186126" y="198043"/>
                  </a:cubicBezTo>
                  <a:cubicBezTo>
                    <a:pt x="3221211" y="175019"/>
                    <a:pt x="3244235" y="123487"/>
                    <a:pt x="3258488" y="92788"/>
                  </a:cubicBezTo>
                  <a:cubicBezTo>
                    <a:pt x="3272741" y="62089"/>
                    <a:pt x="3256295" y="28100"/>
                    <a:pt x="3271645" y="13847"/>
                  </a:cubicBezTo>
                  <a:cubicBezTo>
                    <a:pt x="3286995" y="-406"/>
                    <a:pt x="3309627" y="-5413"/>
                    <a:pt x="3350586" y="7269"/>
                  </a:cubicBezTo>
                  <a:cubicBezTo>
                    <a:pt x="3391545" y="19951"/>
                    <a:pt x="3496691" y="-33730"/>
                    <a:pt x="3517399" y="89942"/>
                  </a:cubicBezTo>
                </a:path>
              </a:pathLst>
            </a:custGeom>
            <a:noFill/>
            <a:ln w="50800" cmpd="dbl">
              <a:solidFill>
                <a:srgbClr val="EE3524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id="{8E021FEC-5588-424C-A880-EB8117218EF7}"/>
                </a:ext>
              </a:extLst>
            </p:cNvPr>
            <p:cNvSpPr/>
            <p:nvPr/>
          </p:nvSpPr>
          <p:spPr>
            <a:xfrm>
              <a:off x="3140944" y="3671264"/>
              <a:ext cx="153189" cy="1205809"/>
            </a:xfrm>
            <a:custGeom>
              <a:avLst/>
              <a:gdLst>
                <a:gd name="connsiteX0" fmla="*/ 106661 w 216907"/>
                <a:gd name="connsiteY0" fmla="*/ 0 h 1206230"/>
                <a:gd name="connsiteX1" fmla="*/ 119631 w 216907"/>
                <a:gd name="connsiteY1" fmla="*/ 110247 h 1206230"/>
                <a:gd name="connsiteX2" fmla="*/ 80720 w 216907"/>
                <a:gd name="connsiteY2" fmla="*/ 181583 h 1206230"/>
                <a:gd name="connsiteX3" fmla="*/ 9384 w 216907"/>
                <a:gd name="connsiteY3" fmla="*/ 246434 h 1206230"/>
                <a:gd name="connsiteX4" fmla="*/ 2899 w 216907"/>
                <a:gd name="connsiteY4" fmla="*/ 369651 h 1206230"/>
                <a:gd name="connsiteX5" fmla="*/ 28839 w 216907"/>
                <a:gd name="connsiteY5" fmla="*/ 706877 h 1206230"/>
                <a:gd name="connsiteX6" fmla="*/ 54780 w 216907"/>
                <a:gd name="connsiteY6" fmla="*/ 881975 h 1206230"/>
                <a:gd name="connsiteX7" fmla="*/ 216907 w 216907"/>
                <a:gd name="connsiteY7" fmla="*/ 1206230 h 1206230"/>
                <a:gd name="connsiteX0" fmla="*/ 106661 w 236225"/>
                <a:gd name="connsiteY0" fmla="*/ 0 h 1244867"/>
                <a:gd name="connsiteX1" fmla="*/ 119631 w 236225"/>
                <a:gd name="connsiteY1" fmla="*/ 110247 h 1244867"/>
                <a:gd name="connsiteX2" fmla="*/ 80720 w 236225"/>
                <a:gd name="connsiteY2" fmla="*/ 181583 h 1244867"/>
                <a:gd name="connsiteX3" fmla="*/ 9384 w 236225"/>
                <a:gd name="connsiteY3" fmla="*/ 246434 h 1244867"/>
                <a:gd name="connsiteX4" fmla="*/ 2899 w 236225"/>
                <a:gd name="connsiteY4" fmla="*/ 369651 h 1244867"/>
                <a:gd name="connsiteX5" fmla="*/ 28839 w 236225"/>
                <a:gd name="connsiteY5" fmla="*/ 706877 h 1244867"/>
                <a:gd name="connsiteX6" fmla="*/ 54780 w 236225"/>
                <a:gd name="connsiteY6" fmla="*/ 881975 h 1244867"/>
                <a:gd name="connsiteX7" fmla="*/ 236225 w 236225"/>
                <a:gd name="connsiteY7" fmla="*/ 1244867 h 1244867"/>
                <a:gd name="connsiteX0" fmla="*/ 106661 w 207469"/>
                <a:gd name="connsiteY0" fmla="*/ 0 h 1249842"/>
                <a:gd name="connsiteX1" fmla="*/ 119631 w 207469"/>
                <a:gd name="connsiteY1" fmla="*/ 110247 h 1249842"/>
                <a:gd name="connsiteX2" fmla="*/ 80720 w 207469"/>
                <a:gd name="connsiteY2" fmla="*/ 181583 h 1249842"/>
                <a:gd name="connsiteX3" fmla="*/ 9384 w 207469"/>
                <a:gd name="connsiteY3" fmla="*/ 246434 h 1249842"/>
                <a:gd name="connsiteX4" fmla="*/ 2899 w 207469"/>
                <a:gd name="connsiteY4" fmla="*/ 369651 h 1249842"/>
                <a:gd name="connsiteX5" fmla="*/ 28839 w 207469"/>
                <a:gd name="connsiteY5" fmla="*/ 706877 h 1249842"/>
                <a:gd name="connsiteX6" fmla="*/ 54780 w 207469"/>
                <a:gd name="connsiteY6" fmla="*/ 881975 h 1249842"/>
                <a:gd name="connsiteX7" fmla="*/ 207469 w 207469"/>
                <a:gd name="connsiteY7" fmla="*/ 1249842 h 1249842"/>
                <a:gd name="connsiteX0" fmla="*/ 106661 w 144206"/>
                <a:gd name="connsiteY0" fmla="*/ 0 h 1125463"/>
                <a:gd name="connsiteX1" fmla="*/ 119631 w 144206"/>
                <a:gd name="connsiteY1" fmla="*/ 110247 h 1125463"/>
                <a:gd name="connsiteX2" fmla="*/ 80720 w 144206"/>
                <a:gd name="connsiteY2" fmla="*/ 181583 h 1125463"/>
                <a:gd name="connsiteX3" fmla="*/ 9384 w 144206"/>
                <a:gd name="connsiteY3" fmla="*/ 246434 h 1125463"/>
                <a:gd name="connsiteX4" fmla="*/ 2899 w 144206"/>
                <a:gd name="connsiteY4" fmla="*/ 369651 h 1125463"/>
                <a:gd name="connsiteX5" fmla="*/ 28839 w 144206"/>
                <a:gd name="connsiteY5" fmla="*/ 706877 h 1125463"/>
                <a:gd name="connsiteX6" fmla="*/ 54780 w 144206"/>
                <a:gd name="connsiteY6" fmla="*/ 881975 h 1125463"/>
                <a:gd name="connsiteX7" fmla="*/ 144206 w 144206"/>
                <a:gd name="connsiteY7" fmla="*/ 1125463 h 1125463"/>
                <a:gd name="connsiteX0" fmla="*/ 106661 w 144206"/>
                <a:gd name="connsiteY0" fmla="*/ 0 h 1125463"/>
                <a:gd name="connsiteX1" fmla="*/ 119631 w 144206"/>
                <a:gd name="connsiteY1" fmla="*/ 110247 h 1125463"/>
                <a:gd name="connsiteX2" fmla="*/ 80720 w 144206"/>
                <a:gd name="connsiteY2" fmla="*/ 181583 h 1125463"/>
                <a:gd name="connsiteX3" fmla="*/ 9384 w 144206"/>
                <a:gd name="connsiteY3" fmla="*/ 246434 h 1125463"/>
                <a:gd name="connsiteX4" fmla="*/ 2899 w 144206"/>
                <a:gd name="connsiteY4" fmla="*/ 369651 h 1125463"/>
                <a:gd name="connsiteX5" fmla="*/ 28839 w 144206"/>
                <a:gd name="connsiteY5" fmla="*/ 706877 h 1125463"/>
                <a:gd name="connsiteX6" fmla="*/ 54780 w 144206"/>
                <a:gd name="connsiteY6" fmla="*/ 881975 h 1125463"/>
                <a:gd name="connsiteX7" fmla="*/ 144206 w 144206"/>
                <a:gd name="connsiteY7" fmla="*/ 1125463 h 1125463"/>
                <a:gd name="connsiteX0" fmla="*/ 106661 w 149958"/>
                <a:gd name="connsiteY0" fmla="*/ 0 h 1125463"/>
                <a:gd name="connsiteX1" fmla="*/ 119631 w 149958"/>
                <a:gd name="connsiteY1" fmla="*/ 110247 h 1125463"/>
                <a:gd name="connsiteX2" fmla="*/ 80720 w 149958"/>
                <a:gd name="connsiteY2" fmla="*/ 181583 h 1125463"/>
                <a:gd name="connsiteX3" fmla="*/ 9384 w 149958"/>
                <a:gd name="connsiteY3" fmla="*/ 246434 h 1125463"/>
                <a:gd name="connsiteX4" fmla="*/ 2899 w 149958"/>
                <a:gd name="connsiteY4" fmla="*/ 369651 h 1125463"/>
                <a:gd name="connsiteX5" fmla="*/ 28839 w 149958"/>
                <a:gd name="connsiteY5" fmla="*/ 706877 h 1125463"/>
                <a:gd name="connsiteX6" fmla="*/ 54780 w 149958"/>
                <a:gd name="connsiteY6" fmla="*/ 881975 h 1125463"/>
                <a:gd name="connsiteX7" fmla="*/ 149958 w 149958"/>
                <a:gd name="connsiteY7" fmla="*/ 1125463 h 1125463"/>
                <a:gd name="connsiteX0" fmla="*/ 106661 w 162832"/>
                <a:gd name="connsiteY0" fmla="*/ 0 h 1108758"/>
                <a:gd name="connsiteX1" fmla="*/ 119631 w 162832"/>
                <a:gd name="connsiteY1" fmla="*/ 110247 h 1108758"/>
                <a:gd name="connsiteX2" fmla="*/ 80720 w 162832"/>
                <a:gd name="connsiteY2" fmla="*/ 181583 h 1108758"/>
                <a:gd name="connsiteX3" fmla="*/ 9384 w 162832"/>
                <a:gd name="connsiteY3" fmla="*/ 246434 h 1108758"/>
                <a:gd name="connsiteX4" fmla="*/ 2899 w 162832"/>
                <a:gd name="connsiteY4" fmla="*/ 369651 h 1108758"/>
                <a:gd name="connsiteX5" fmla="*/ 28839 w 162832"/>
                <a:gd name="connsiteY5" fmla="*/ 706877 h 1108758"/>
                <a:gd name="connsiteX6" fmla="*/ 54780 w 162832"/>
                <a:gd name="connsiteY6" fmla="*/ 881975 h 1108758"/>
                <a:gd name="connsiteX7" fmla="*/ 162832 w 162832"/>
                <a:gd name="connsiteY7" fmla="*/ 1108758 h 1108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832" h="1108758">
                  <a:moveTo>
                    <a:pt x="106661" y="0"/>
                  </a:moveTo>
                  <a:cubicBezTo>
                    <a:pt x="115308" y="39991"/>
                    <a:pt x="123955" y="79983"/>
                    <a:pt x="119631" y="110247"/>
                  </a:cubicBezTo>
                  <a:cubicBezTo>
                    <a:pt x="115308" y="140511"/>
                    <a:pt x="99094" y="158885"/>
                    <a:pt x="80720" y="181583"/>
                  </a:cubicBezTo>
                  <a:cubicBezTo>
                    <a:pt x="62345" y="204281"/>
                    <a:pt x="22354" y="215089"/>
                    <a:pt x="9384" y="246434"/>
                  </a:cubicBezTo>
                  <a:cubicBezTo>
                    <a:pt x="-3586" y="277779"/>
                    <a:pt x="-343" y="292911"/>
                    <a:pt x="2899" y="369651"/>
                  </a:cubicBezTo>
                  <a:cubicBezTo>
                    <a:pt x="6141" y="446391"/>
                    <a:pt x="20192" y="621490"/>
                    <a:pt x="28839" y="706877"/>
                  </a:cubicBezTo>
                  <a:cubicBezTo>
                    <a:pt x="37486" y="792264"/>
                    <a:pt x="20216" y="792310"/>
                    <a:pt x="54780" y="881975"/>
                  </a:cubicBezTo>
                  <a:cubicBezTo>
                    <a:pt x="89344" y="971640"/>
                    <a:pt x="126197" y="988243"/>
                    <a:pt x="162832" y="1108758"/>
                  </a:cubicBezTo>
                </a:path>
              </a:pathLst>
            </a:custGeom>
            <a:noFill/>
            <a:ln w="50800" cmpd="dbl">
              <a:solidFill>
                <a:srgbClr val="EE3524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8756AFE-2262-6B4E-84F7-BA75B976ED14}"/>
                </a:ext>
              </a:extLst>
            </p:cNvPr>
            <p:cNvSpPr txBox="1"/>
            <p:nvPr/>
          </p:nvSpPr>
          <p:spPr>
            <a:xfrm>
              <a:off x="3681481" y="5651758"/>
              <a:ext cx="60305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>
                  <a:solidFill>
                    <a:srgbClr val="EE3524"/>
                  </a:solidFill>
                  <a:latin typeface="+mj-lt"/>
                </a:rPr>
                <a:t>ВСМ-3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E8D5AAD-5CA0-7C4F-A2B8-8A8FA671419D}"/>
                </a:ext>
              </a:extLst>
            </p:cNvPr>
            <p:cNvSpPr txBox="1"/>
            <p:nvPr/>
          </p:nvSpPr>
          <p:spPr>
            <a:xfrm>
              <a:off x="-64077" y="1801611"/>
              <a:ext cx="1885808" cy="2367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75000"/>
                </a:lnSpc>
              </a:pPr>
              <a:r>
                <a:rPr lang="ru-RU" sz="1200" dirty="0">
                  <a:solidFill>
                    <a:srgbClr val="EE3524"/>
                  </a:solidFill>
                  <a:latin typeface="+mj-lt"/>
                </a:rPr>
                <a:t>ВСМ-1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CEF421B-FC79-8245-BA51-3F4AEA9F4DB9}"/>
                </a:ext>
              </a:extLst>
            </p:cNvPr>
            <p:cNvSpPr txBox="1"/>
            <p:nvPr/>
          </p:nvSpPr>
          <p:spPr>
            <a:xfrm>
              <a:off x="-27104" y="4830075"/>
              <a:ext cx="603050" cy="2367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75000"/>
                </a:lnSpc>
              </a:pPr>
              <a:r>
                <a:rPr lang="ru-RU" sz="1200" dirty="0">
                  <a:solidFill>
                    <a:srgbClr val="EE3524"/>
                  </a:solidFill>
                  <a:latin typeface="+mj-lt"/>
                </a:rPr>
                <a:t>ВСМ-4</a:t>
              </a:r>
            </a:p>
          </p:txBody>
        </p:sp>
        <p:sp>
          <p:nvSpPr>
            <p:cNvPr id="28" name="Полилиния 27">
              <a:extLst>
                <a:ext uri="{FF2B5EF4-FFF2-40B4-BE49-F238E27FC236}">
                  <a16:creationId xmlns:a16="http://schemas.microsoft.com/office/drawing/2014/main" id="{FC90EE80-63AB-6E4B-AE9F-84641D449EC6}"/>
                </a:ext>
              </a:extLst>
            </p:cNvPr>
            <p:cNvSpPr/>
            <p:nvPr/>
          </p:nvSpPr>
          <p:spPr>
            <a:xfrm>
              <a:off x="726730" y="766989"/>
              <a:ext cx="2362166" cy="2266017"/>
            </a:xfrm>
            <a:custGeom>
              <a:avLst/>
              <a:gdLst>
                <a:gd name="connsiteX0" fmla="*/ 2525843 w 2525843"/>
                <a:gd name="connsiteY0" fmla="*/ 2053653 h 2053653"/>
                <a:gd name="connsiteX1" fmla="*/ 2098623 w 2525843"/>
                <a:gd name="connsiteY1" fmla="*/ 1611443 h 2053653"/>
                <a:gd name="connsiteX2" fmla="*/ 1716374 w 2525843"/>
                <a:gd name="connsiteY2" fmla="*/ 1334125 h 2053653"/>
                <a:gd name="connsiteX3" fmla="*/ 1334125 w 2525843"/>
                <a:gd name="connsiteY3" fmla="*/ 1019331 h 2053653"/>
                <a:gd name="connsiteX4" fmla="*/ 577122 w 2525843"/>
                <a:gd name="connsiteY4" fmla="*/ 652072 h 2053653"/>
                <a:gd name="connsiteX5" fmla="*/ 0 w 2525843"/>
                <a:gd name="connsiteY5" fmla="*/ 0 h 2053653"/>
                <a:gd name="connsiteX0" fmla="*/ 2525843 w 2525843"/>
                <a:gd name="connsiteY0" fmla="*/ 2053653 h 2053653"/>
                <a:gd name="connsiteX1" fmla="*/ 2098623 w 2525843"/>
                <a:gd name="connsiteY1" fmla="*/ 1611443 h 2053653"/>
                <a:gd name="connsiteX2" fmla="*/ 1716374 w 2525843"/>
                <a:gd name="connsiteY2" fmla="*/ 1334125 h 2053653"/>
                <a:gd name="connsiteX3" fmla="*/ 1334125 w 2525843"/>
                <a:gd name="connsiteY3" fmla="*/ 1019331 h 2053653"/>
                <a:gd name="connsiteX4" fmla="*/ 577122 w 2525843"/>
                <a:gd name="connsiteY4" fmla="*/ 652072 h 2053653"/>
                <a:gd name="connsiteX5" fmla="*/ 0 w 2525843"/>
                <a:gd name="connsiteY5" fmla="*/ 0 h 2053653"/>
                <a:gd name="connsiteX0" fmla="*/ 2510853 w 2510853"/>
                <a:gd name="connsiteY0" fmla="*/ 2083633 h 2083633"/>
                <a:gd name="connsiteX1" fmla="*/ 2098623 w 2510853"/>
                <a:gd name="connsiteY1" fmla="*/ 1611443 h 2083633"/>
                <a:gd name="connsiteX2" fmla="*/ 1716374 w 2510853"/>
                <a:gd name="connsiteY2" fmla="*/ 1334125 h 2083633"/>
                <a:gd name="connsiteX3" fmla="*/ 1334125 w 2510853"/>
                <a:gd name="connsiteY3" fmla="*/ 1019331 h 2083633"/>
                <a:gd name="connsiteX4" fmla="*/ 577122 w 2510853"/>
                <a:gd name="connsiteY4" fmla="*/ 652072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334125 w 2510853"/>
                <a:gd name="connsiteY3" fmla="*/ 1019331 h 2083633"/>
                <a:gd name="connsiteX4" fmla="*/ 577122 w 2510853"/>
                <a:gd name="connsiteY4" fmla="*/ 652072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334125 w 2510853"/>
                <a:gd name="connsiteY3" fmla="*/ 1019331 h 2083633"/>
                <a:gd name="connsiteX4" fmla="*/ 577122 w 2510853"/>
                <a:gd name="connsiteY4" fmla="*/ 652072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341620 w 2510853"/>
                <a:gd name="connsiteY3" fmla="*/ 1049312 h 2083633"/>
                <a:gd name="connsiteX4" fmla="*/ 577122 w 2510853"/>
                <a:gd name="connsiteY4" fmla="*/ 652072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96650 w 2510853"/>
                <a:gd name="connsiteY3" fmla="*/ 1004341 h 2083633"/>
                <a:gd name="connsiteX4" fmla="*/ 577122 w 2510853"/>
                <a:gd name="connsiteY4" fmla="*/ 652072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96650 w 2510853"/>
                <a:gd name="connsiteY3" fmla="*/ 1004341 h 2083633"/>
                <a:gd name="connsiteX4" fmla="*/ 577122 w 2510853"/>
                <a:gd name="connsiteY4" fmla="*/ 652072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68772 w 2510853"/>
                <a:gd name="connsiteY3" fmla="*/ 970887 h 2083633"/>
                <a:gd name="connsiteX4" fmla="*/ 577122 w 2510853"/>
                <a:gd name="connsiteY4" fmla="*/ 652072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18592 w 2510853"/>
                <a:gd name="connsiteY3" fmla="*/ 965311 h 2083633"/>
                <a:gd name="connsiteX4" fmla="*/ 577122 w 2510853"/>
                <a:gd name="connsiteY4" fmla="*/ 652072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18592 w 2510853"/>
                <a:gd name="connsiteY3" fmla="*/ 965311 h 2083633"/>
                <a:gd name="connsiteX4" fmla="*/ 543669 w 2510853"/>
                <a:gd name="connsiteY4" fmla="*/ 663223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18592 w 2510853"/>
                <a:gd name="connsiteY3" fmla="*/ 965311 h 2083633"/>
                <a:gd name="connsiteX4" fmla="*/ 543669 w 2510853"/>
                <a:gd name="connsiteY4" fmla="*/ 663223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18592 w 2510853"/>
                <a:gd name="connsiteY3" fmla="*/ 965311 h 2083633"/>
                <a:gd name="connsiteX4" fmla="*/ 532518 w 2510853"/>
                <a:gd name="connsiteY4" fmla="*/ 635345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18592 w 2510853"/>
                <a:gd name="connsiteY3" fmla="*/ 965311 h 2083633"/>
                <a:gd name="connsiteX4" fmla="*/ 538093 w 2510853"/>
                <a:gd name="connsiteY4" fmla="*/ 652071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18592 w 2510853"/>
                <a:gd name="connsiteY3" fmla="*/ 965311 h 2083633"/>
                <a:gd name="connsiteX4" fmla="*/ 532518 w 2510853"/>
                <a:gd name="connsiteY4" fmla="*/ 635344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18592 w 2510853"/>
                <a:gd name="connsiteY3" fmla="*/ 965311 h 2083633"/>
                <a:gd name="connsiteX4" fmla="*/ 538093 w 2510853"/>
                <a:gd name="connsiteY4" fmla="*/ 657647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18592 w 2510853"/>
                <a:gd name="connsiteY3" fmla="*/ 965311 h 2083633"/>
                <a:gd name="connsiteX4" fmla="*/ 538093 w 2510853"/>
                <a:gd name="connsiteY4" fmla="*/ 635344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18592 w 2510853"/>
                <a:gd name="connsiteY3" fmla="*/ 965311 h 2083633"/>
                <a:gd name="connsiteX4" fmla="*/ 538093 w 2510853"/>
                <a:gd name="connsiteY4" fmla="*/ 646495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16374 w 2510853"/>
                <a:gd name="connsiteY2" fmla="*/ 1334125 h 2083633"/>
                <a:gd name="connsiteX3" fmla="*/ 1218592 w 2510853"/>
                <a:gd name="connsiteY3" fmla="*/ 965311 h 2083633"/>
                <a:gd name="connsiteX4" fmla="*/ 538093 w 2510853"/>
                <a:gd name="connsiteY4" fmla="*/ 646495 h 2083633"/>
                <a:gd name="connsiteX5" fmla="*/ 0 w 2510853"/>
                <a:gd name="connsiteY5" fmla="*/ 0 h 2083633"/>
                <a:gd name="connsiteX0" fmla="*/ 2510853 w 2510853"/>
                <a:gd name="connsiteY0" fmla="*/ 2083633 h 2083633"/>
                <a:gd name="connsiteX1" fmla="*/ 2076138 w 2510853"/>
                <a:gd name="connsiteY1" fmla="*/ 1626433 h 2083633"/>
                <a:gd name="connsiteX2" fmla="*/ 1709650 w 2510853"/>
                <a:gd name="connsiteY2" fmla="*/ 1334125 h 2083633"/>
                <a:gd name="connsiteX3" fmla="*/ 1218592 w 2510853"/>
                <a:gd name="connsiteY3" fmla="*/ 965311 h 2083633"/>
                <a:gd name="connsiteX4" fmla="*/ 538093 w 2510853"/>
                <a:gd name="connsiteY4" fmla="*/ 646495 h 2083633"/>
                <a:gd name="connsiteX5" fmla="*/ 0 w 2510853"/>
                <a:gd name="connsiteY5" fmla="*/ 0 h 2083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0853" h="2083633">
                  <a:moveTo>
                    <a:pt x="2510853" y="2083633"/>
                  </a:moveTo>
                  <a:cubicBezTo>
                    <a:pt x="2364698" y="1922488"/>
                    <a:pt x="2209672" y="1751351"/>
                    <a:pt x="2076138" y="1626433"/>
                  </a:cubicBezTo>
                  <a:cubicBezTo>
                    <a:pt x="1942604" y="1501515"/>
                    <a:pt x="1852574" y="1444312"/>
                    <a:pt x="1709650" y="1334125"/>
                  </a:cubicBezTo>
                  <a:cubicBezTo>
                    <a:pt x="1566726" y="1223938"/>
                    <a:pt x="1413851" y="1079916"/>
                    <a:pt x="1218592" y="965311"/>
                  </a:cubicBezTo>
                  <a:cubicBezTo>
                    <a:pt x="1023333" y="850706"/>
                    <a:pt x="741191" y="762775"/>
                    <a:pt x="538093" y="646495"/>
                  </a:cubicBezTo>
                  <a:cubicBezTo>
                    <a:pt x="334995" y="530215"/>
                    <a:pt x="177384" y="241092"/>
                    <a:pt x="0" y="0"/>
                  </a:cubicBezTo>
                </a:path>
              </a:pathLst>
            </a:custGeom>
            <a:noFill/>
            <a:ln w="50800" cmpd="dbl">
              <a:solidFill>
                <a:srgbClr val="EE352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олилиния 53">
              <a:extLst>
                <a:ext uri="{FF2B5EF4-FFF2-40B4-BE49-F238E27FC236}">
                  <a16:creationId xmlns:a16="http://schemas.microsoft.com/office/drawing/2014/main" id="{3EA99834-17F1-984E-8A22-BD6294D2CC6C}"/>
                </a:ext>
              </a:extLst>
            </p:cNvPr>
            <p:cNvSpPr/>
            <p:nvPr/>
          </p:nvSpPr>
          <p:spPr>
            <a:xfrm>
              <a:off x="-47672" y="5326144"/>
              <a:ext cx="679268" cy="721714"/>
            </a:xfrm>
            <a:custGeom>
              <a:avLst/>
              <a:gdLst>
                <a:gd name="connsiteX0" fmla="*/ 631596 w 631596"/>
                <a:gd name="connsiteY0" fmla="*/ 0 h 650450"/>
                <a:gd name="connsiteX1" fmla="*/ 537328 w 631596"/>
                <a:gd name="connsiteY1" fmla="*/ 56561 h 650450"/>
                <a:gd name="connsiteX2" fmla="*/ 461913 w 631596"/>
                <a:gd name="connsiteY2" fmla="*/ 65988 h 650450"/>
                <a:gd name="connsiteX3" fmla="*/ 367645 w 631596"/>
                <a:gd name="connsiteY3" fmla="*/ 141402 h 650450"/>
                <a:gd name="connsiteX4" fmla="*/ 207390 w 631596"/>
                <a:gd name="connsiteY4" fmla="*/ 311085 h 650450"/>
                <a:gd name="connsiteX5" fmla="*/ 103695 w 631596"/>
                <a:gd name="connsiteY5" fmla="*/ 433633 h 650450"/>
                <a:gd name="connsiteX6" fmla="*/ 0 w 631596"/>
                <a:gd name="connsiteY6" fmla="*/ 650450 h 650450"/>
                <a:gd name="connsiteX7" fmla="*/ 0 w 631596"/>
                <a:gd name="connsiteY7" fmla="*/ 650450 h 650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1596" h="650450">
                  <a:moveTo>
                    <a:pt x="631596" y="0"/>
                  </a:moveTo>
                  <a:cubicBezTo>
                    <a:pt x="598602" y="22781"/>
                    <a:pt x="565608" y="45563"/>
                    <a:pt x="537328" y="56561"/>
                  </a:cubicBezTo>
                  <a:cubicBezTo>
                    <a:pt x="509048" y="67559"/>
                    <a:pt x="490193" y="51848"/>
                    <a:pt x="461913" y="65988"/>
                  </a:cubicBezTo>
                  <a:cubicBezTo>
                    <a:pt x="433633" y="80128"/>
                    <a:pt x="410065" y="100553"/>
                    <a:pt x="367645" y="141402"/>
                  </a:cubicBezTo>
                  <a:cubicBezTo>
                    <a:pt x="325225" y="182251"/>
                    <a:pt x="251382" y="262380"/>
                    <a:pt x="207390" y="311085"/>
                  </a:cubicBezTo>
                  <a:cubicBezTo>
                    <a:pt x="163398" y="359790"/>
                    <a:pt x="138260" y="377072"/>
                    <a:pt x="103695" y="433633"/>
                  </a:cubicBezTo>
                  <a:cubicBezTo>
                    <a:pt x="69130" y="490194"/>
                    <a:pt x="0" y="650450"/>
                    <a:pt x="0" y="650450"/>
                  </a:cubicBezTo>
                  <a:lnTo>
                    <a:pt x="0" y="650450"/>
                  </a:lnTo>
                </a:path>
              </a:pathLst>
            </a:custGeom>
            <a:noFill/>
            <a:ln w="38100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Полилиния 55">
              <a:extLst>
                <a:ext uri="{FF2B5EF4-FFF2-40B4-BE49-F238E27FC236}">
                  <a16:creationId xmlns:a16="http://schemas.microsoft.com/office/drawing/2014/main" id="{13D27794-2738-E140-8EA6-58CE6E226BCE}"/>
                </a:ext>
              </a:extLst>
            </p:cNvPr>
            <p:cNvSpPr/>
            <p:nvPr/>
          </p:nvSpPr>
          <p:spPr>
            <a:xfrm>
              <a:off x="875695" y="762170"/>
              <a:ext cx="345234" cy="529301"/>
            </a:xfrm>
            <a:custGeom>
              <a:avLst/>
              <a:gdLst>
                <a:gd name="connsiteX0" fmla="*/ 443060 w 443060"/>
                <a:gd name="connsiteY0" fmla="*/ 650449 h 650449"/>
                <a:gd name="connsiteX1" fmla="*/ 339365 w 443060"/>
                <a:gd name="connsiteY1" fmla="*/ 537328 h 650449"/>
                <a:gd name="connsiteX2" fmla="*/ 103695 w 443060"/>
                <a:gd name="connsiteY2" fmla="*/ 160256 h 650449"/>
                <a:gd name="connsiteX3" fmla="*/ 0 w 443060"/>
                <a:gd name="connsiteY3" fmla="*/ 0 h 650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3060" h="650449">
                  <a:moveTo>
                    <a:pt x="443060" y="650449"/>
                  </a:moveTo>
                  <a:cubicBezTo>
                    <a:pt x="419493" y="634738"/>
                    <a:pt x="395926" y="619027"/>
                    <a:pt x="339365" y="537328"/>
                  </a:cubicBezTo>
                  <a:cubicBezTo>
                    <a:pt x="282804" y="455629"/>
                    <a:pt x="160256" y="249811"/>
                    <a:pt x="103695" y="160256"/>
                  </a:cubicBezTo>
                  <a:cubicBezTo>
                    <a:pt x="47134" y="70701"/>
                    <a:pt x="23567" y="35350"/>
                    <a:pt x="0" y="0"/>
                  </a:cubicBezTo>
                </a:path>
              </a:pathLst>
            </a:custGeom>
            <a:noFill/>
            <a:ln w="38100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41B58A8D-B9D2-1648-AB6F-8AE0A23E5B5D}"/>
                </a:ext>
              </a:extLst>
            </p:cNvPr>
            <p:cNvSpPr txBox="1"/>
            <p:nvPr/>
          </p:nvSpPr>
          <p:spPr>
            <a:xfrm>
              <a:off x="-19225" y="5844691"/>
              <a:ext cx="83067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i="1" dirty="0">
                  <a:latin typeface="+mj-lt"/>
                </a:rPr>
                <a:t>Киевское напр.</a:t>
              </a:r>
            </a:p>
          </p:txBody>
        </p:sp>
        <p:sp>
          <p:nvSpPr>
            <p:cNvPr id="2" name="Полилиния 1">
              <a:extLst>
                <a:ext uri="{FF2B5EF4-FFF2-40B4-BE49-F238E27FC236}">
                  <a16:creationId xmlns:a16="http://schemas.microsoft.com/office/drawing/2014/main" id="{1D0DE071-F746-0446-B388-EC77884893F8}"/>
                </a:ext>
              </a:extLst>
            </p:cNvPr>
            <p:cNvSpPr/>
            <p:nvPr/>
          </p:nvSpPr>
          <p:spPr>
            <a:xfrm>
              <a:off x="-7512" y="4131229"/>
              <a:ext cx="1554366" cy="563698"/>
            </a:xfrm>
            <a:custGeom>
              <a:avLst/>
              <a:gdLst>
                <a:gd name="connsiteX0" fmla="*/ 1576929 w 1576929"/>
                <a:gd name="connsiteY0" fmla="*/ 0 h 574922"/>
                <a:gd name="connsiteX1" fmla="*/ 1418141 w 1576929"/>
                <a:gd name="connsiteY1" fmla="*/ 27377 h 574922"/>
                <a:gd name="connsiteX2" fmla="*/ 1231976 w 1576929"/>
                <a:gd name="connsiteY2" fmla="*/ 109509 h 574922"/>
                <a:gd name="connsiteX3" fmla="*/ 1051286 w 1576929"/>
                <a:gd name="connsiteY3" fmla="*/ 246395 h 574922"/>
                <a:gd name="connsiteX4" fmla="*/ 941777 w 1576929"/>
                <a:gd name="connsiteY4" fmla="*/ 301150 h 574922"/>
                <a:gd name="connsiteX5" fmla="*/ 782989 w 1576929"/>
                <a:gd name="connsiteY5" fmla="*/ 323052 h 574922"/>
                <a:gd name="connsiteX6" fmla="*/ 454462 w 1576929"/>
                <a:gd name="connsiteY6" fmla="*/ 503741 h 574922"/>
                <a:gd name="connsiteX7" fmla="*/ 284723 w 1576929"/>
                <a:gd name="connsiteY7" fmla="*/ 558496 h 574922"/>
                <a:gd name="connsiteX8" fmla="*/ 0 w 1576929"/>
                <a:gd name="connsiteY8" fmla="*/ 574922 h 574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6929" h="574922">
                  <a:moveTo>
                    <a:pt x="1576929" y="0"/>
                  </a:moveTo>
                  <a:cubicBezTo>
                    <a:pt x="1526281" y="4563"/>
                    <a:pt x="1475633" y="9126"/>
                    <a:pt x="1418141" y="27377"/>
                  </a:cubicBezTo>
                  <a:cubicBezTo>
                    <a:pt x="1360649" y="45629"/>
                    <a:pt x="1293118" y="73006"/>
                    <a:pt x="1231976" y="109509"/>
                  </a:cubicBezTo>
                  <a:cubicBezTo>
                    <a:pt x="1170834" y="146012"/>
                    <a:pt x="1099652" y="214455"/>
                    <a:pt x="1051286" y="246395"/>
                  </a:cubicBezTo>
                  <a:cubicBezTo>
                    <a:pt x="1002920" y="278335"/>
                    <a:pt x="986493" y="288374"/>
                    <a:pt x="941777" y="301150"/>
                  </a:cubicBezTo>
                  <a:cubicBezTo>
                    <a:pt x="897061" y="313926"/>
                    <a:pt x="864208" y="289287"/>
                    <a:pt x="782989" y="323052"/>
                  </a:cubicBezTo>
                  <a:cubicBezTo>
                    <a:pt x="701770" y="356817"/>
                    <a:pt x="537506" y="464500"/>
                    <a:pt x="454462" y="503741"/>
                  </a:cubicBezTo>
                  <a:cubicBezTo>
                    <a:pt x="371418" y="542982"/>
                    <a:pt x="360467" y="546632"/>
                    <a:pt x="284723" y="558496"/>
                  </a:cubicBezTo>
                  <a:cubicBezTo>
                    <a:pt x="208979" y="570360"/>
                    <a:pt x="104489" y="572641"/>
                    <a:pt x="0" y="574922"/>
                  </a:cubicBezTo>
                </a:path>
              </a:pathLst>
            </a:custGeom>
            <a:noFill/>
            <a:ln w="38100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3" name="Полилиния 2">
              <a:extLst>
                <a:ext uri="{FF2B5EF4-FFF2-40B4-BE49-F238E27FC236}">
                  <a16:creationId xmlns:a16="http://schemas.microsoft.com/office/drawing/2014/main" id="{27481CE7-7FC1-884A-A35F-1485B6BEEC89}"/>
                </a:ext>
              </a:extLst>
            </p:cNvPr>
            <p:cNvSpPr/>
            <p:nvPr/>
          </p:nvSpPr>
          <p:spPr>
            <a:xfrm>
              <a:off x="-18460" y="2073848"/>
              <a:ext cx="1248402" cy="544935"/>
            </a:xfrm>
            <a:custGeom>
              <a:avLst/>
              <a:gdLst>
                <a:gd name="connsiteX0" fmla="*/ 1248402 w 1248402"/>
                <a:gd name="connsiteY0" fmla="*/ 544935 h 544935"/>
                <a:gd name="connsiteX1" fmla="*/ 1149844 w 1248402"/>
                <a:gd name="connsiteY1" fmla="*/ 495656 h 544935"/>
                <a:gd name="connsiteX2" fmla="*/ 1111516 w 1248402"/>
                <a:gd name="connsiteY2" fmla="*/ 408049 h 544935"/>
                <a:gd name="connsiteX3" fmla="*/ 1012958 w 1248402"/>
                <a:gd name="connsiteY3" fmla="*/ 380672 h 544935"/>
                <a:gd name="connsiteX4" fmla="*/ 892498 w 1248402"/>
                <a:gd name="connsiteY4" fmla="*/ 260212 h 544935"/>
                <a:gd name="connsiteX5" fmla="*/ 739186 w 1248402"/>
                <a:gd name="connsiteY5" fmla="*/ 210933 h 544935"/>
                <a:gd name="connsiteX6" fmla="*/ 684431 w 1248402"/>
                <a:gd name="connsiteY6" fmla="*/ 189031 h 544935"/>
                <a:gd name="connsiteX7" fmla="*/ 651579 w 1248402"/>
                <a:gd name="connsiteY7" fmla="*/ 210933 h 544935"/>
                <a:gd name="connsiteX8" fmla="*/ 585873 w 1248402"/>
                <a:gd name="connsiteY8" fmla="*/ 183555 h 544935"/>
                <a:gd name="connsiteX9" fmla="*/ 394232 w 1248402"/>
                <a:gd name="connsiteY9" fmla="*/ 134276 h 544935"/>
                <a:gd name="connsiteX10" fmla="*/ 328527 w 1248402"/>
                <a:gd name="connsiteY10" fmla="*/ 79522 h 544935"/>
                <a:gd name="connsiteX11" fmla="*/ 251871 w 1248402"/>
                <a:gd name="connsiteY11" fmla="*/ 13816 h 544935"/>
                <a:gd name="connsiteX12" fmla="*/ 197116 w 1248402"/>
                <a:gd name="connsiteY12" fmla="*/ 2866 h 544935"/>
                <a:gd name="connsiteX13" fmla="*/ 120460 w 1248402"/>
                <a:gd name="connsiteY13" fmla="*/ 52145 h 544935"/>
                <a:gd name="connsiteX14" fmla="*/ 82132 w 1248402"/>
                <a:gd name="connsiteY14" fmla="*/ 123325 h 544935"/>
                <a:gd name="connsiteX15" fmla="*/ 43804 w 1248402"/>
                <a:gd name="connsiteY15" fmla="*/ 156178 h 544935"/>
                <a:gd name="connsiteX16" fmla="*/ 0 w 1248402"/>
                <a:gd name="connsiteY16" fmla="*/ 145227 h 544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48402" h="544935">
                  <a:moveTo>
                    <a:pt x="1248402" y="544935"/>
                  </a:moveTo>
                  <a:cubicBezTo>
                    <a:pt x="1210530" y="531702"/>
                    <a:pt x="1172658" y="518470"/>
                    <a:pt x="1149844" y="495656"/>
                  </a:cubicBezTo>
                  <a:cubicBezTo>
                    <a:pt x="1127030" y="472842"/>
                    <a:pt x="1134330" y="427213"/>
                    <a:pt x="1111516" y="408049"/>
                  </a:cubicBezTo>
                  <a:cubicBezTo>
                    <a:pt x="1088702" y="388885"/>
                    <a:pt x="1049461" y="405311"/>
                    <a:pt x="1012958" y="380672"/>
                  </a:cubicBezTo>
                  <a:cubicBezTo>
                    <a:pt x="976455" y="356033"/>
                    <a:pt x="938127" y="288502"/>
                    <a:pt x="892498" y="260212"/>
                  </a:cubicBezTo>
                  <a:cubicBezTo>
                    <a:pt x="846869" y="231922"/>
                    <a:pt x="773864" y="222796"/>
                    <a:pt x="739186" y="210933"/>
                  </a:cubicBezTo>
                  <a:cubicBezTo>
                    <a:pt x="704508" y="199070"/>
                    <a:pt x="699032" y="189031"/>
                    <a:pt x="684431" y="189031"/>
                  </a:cubicBezTo>
                  <a:cubicBezTo>
                    <a:pt x="669830" y="189031"/>
                    <a:pt x="668005" y="211846"/>
                    <a:pt x="651579" y="210933"/>
                  </a:cubicBezTo>
                  <a:cubicBezTo>
                    <a:pt x="635153" y="210020"/>
                    <a:pt x="628764" y="196331"/>
                    <a:pt x="585873" y="183555"/>
                  </a:cubicBezTo>
                  <a:cubicBezTo>
                    <a:pt x="542982" y="170779"/>
                    <a:pt x="437123" y="151615"/>
                    <a:pt x="394232" y="134276"/>
                  </a:cubicBezTo>
                  <a:cubicBezTo>
                    <a:pt x="351341" y="116937"/>
                    <a:pt x="352254" y="99599"/>
                    <a:pt x="328527" y="79522"/>
                  </a:cubicBezTo>
                  <a:cubicBezTo>
                    <a:pt x="304800" y="59445"/>
                    <a:pt x="273773" y="26592"/>
                    <a:pt x="251871" y="13816"/>
                  </a:cubicBezTo>
                  <a:cubicBezTo>
                    <a:pt x="229969" y="1040"/>
                    <a:pt x="219018" y="-3522"/>
                    <a:pt x="197116" y="2866"/>
                  </a:cubicBezTo>
                  <a:cubicBezTo>
                    <a:pt x="175214" y="9254"/>
                    <a:pt x="139624" y="32069"/>
                    <a:pt x="120460" y="52145"/>
                  </a:cubicBezTo>
                  <a:cubicBezTo>
                    <a:pt x="101296" y="72221"/>
                    <a:pt x="94908" y="105986"/>
                    <a:pt x="82132" y="123325"/>
                  </a:cubicBezTo>
                  <a:cubicBezTo>
                    <a:pt x="69356" y="140664"/>
                    <a:pt x="57493" y="152528"/>
                    <a:pt x="43804" y="156178"/>
                  </a:cubicBezTo>
                  <a:cubicBezTo>
                    <a:pt x="30115" y="159828"/>
                    <a:pt x="15057" y="152527"/>
                    <a:pt x="0" y="145227"/>
                  </a:cubicBezTo>
                </a:path>
              </a:pathLst>
            </a:custGeom>
            <a:noFill/>
            <a:ln w="38100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68C54609-80DF-4D4F-9095-C70890FBCB7F}"/>
                </a:ext>
              </a:extLst>
            </p:cNvPr>
            <p:cNvSpPr/>
            <p:nvPr/>
          </p:nvSpPr>
          <p:spPr>
            <a:xfrm>
              <a:off x="2510207" y="776959"/>
              <a:ext cx="32919" cy="295674"/>
            </a:xfrm>
            <a:custGeom>
              <a:avLst/>
              <a:gdLst>
                <a:gd name="connsiteX0" fmla="*/ 16493 w 32919"/>
                <a:gd name="connsiteY0" fmla="*/ 295674 h 295674"/>
                <a:gd name="connsiteX1" fmla="*/ 66 w 32919"/>
                <a:gd name="connsiteY1" fmla="*/ 240920 h 295674"/>
                <a:gd name="connsiteX2" fmla="*/ 21968 w 32919"/>
                <a:gd name="connsiteY2" fmla="*/ 98558 h 295674"/>
                <a:gd name="connsiteX3" fmla="*/ 32919 w 32919"/>
                <a:gd name="connsiteY3" fmla="*/ 0 h 295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919" h="295674">
                  <a:moveTo>
                    <a:pt x="16493" y="295674"/>
                  </a:moveTo>
                  <a:cubicBezTo>
                    <a:pt x="7823" y="284723"/>
                    <a:pt x="-847" y="273773"/>
                    <a:pt x="66" y="240920"/>
                  </a:cubicBezTo>
                  <a:cubicBezTo>
                    <a:pt x="978" y="208067"/>
                    <a:pt x="16492" y="138711"/>
                    <a:pt x="21968" y="98558"/>
                  </a:cubicBezTo>
                  <a:cubicBezTo>
                    <a:pt x="27444" y="58405"/>
                    <a:pt x="30181" y="29202"/>
                    <a:pt x="32919" y="0"/>
                  </a:cubicBezTo>
                </a:path>
              </a:pathLst>
            </a:custGeom>
            <a:noFill/>
            <a:ln w="38100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7CFFE8D8-B159-AF4B-BDD4-A8064B1AFCD7}"/>
                </a:ext>
              </a:extLst>
            </p:cNvPr>
            <p:cNvSpPr/>
            <p:nvPr/>
          </p:nvSpPr>
          <p:spPr>
            <a:xfrm>
              <a:off x="4070068" y="766989"/>
              <a:ext cx="60230" cy="262822"/>
            </a:xfrm>
            <a:custGeom>
              <a:avLst/>
              <a:gdLst>
                <a:gd name="connsiteX0" fmla="*/ 0 w 60230"/>
                <a:gd name="connsiteY0" fmla="*/ 262822 h 262822"/>
                <a:gd name="connsiteX1" fmla="*/ 32852 w 60230"/>
                <a:gd name="connsiteY1" fmla="*/ 120460 h 262822"/>
                <a:gd name="connsiteX2" fmla="*/ 60230 w 60230"/>
                <a:gd name="connsiteY2" fmla="*/ 0 h 262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230" h="262822">
                  <a:moveTo>
                    <a:pt x="0" y="262822"/>
                  </a:moveTo>
                  <a:cubicBezTo>
                    <a:pt x="11407" y="213543"/>
                    <a:pt x="22814" y="164264"/>
                    <a:pt x="32852" y="120460"/>
                  </a:cubicBezTo>
                  <a:cubicBezTo>
                    <a:pt x="42890" y="76656"/>
                    <a:pt x="51560" y="38328"/>
                    <a:pt x="60230" y="0"/>
                  </a:cubicBezTo>
                </a:path>
              </a:pathLst>
            </a:custGeom>
            <a:noFill/>
            <a:ln w="38100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D01B228A-BDD8-074A-9AC7-1F956A85A850}"/>
                </a:ext>
              </a:extLst>
            </p:cNvPr>
            <p:cNvSpPr/>
            <p:nvPr/>
          </p:nvSpPr>
          <p:spPr>
            <a:xfrm>
              <a:off x="4191177" y="1816860"/>
              <a:ext cx="2732249" cy="1871424"/>
            </a:xfrm>
            <a:custGeom>
              <a:avLst/>
              <a:gdLst>
                <a:gd name="connsiteX0" fmla="*/ 0 w 2732249"/>
                <a:gd name="connsiteY0" fmla="*/ 39287 h 1879479"/>
                <a:gd name="connsiteX1" fmla="*/ 142362 w 2732249"/>
                <a:gd name="connsiteY1" fmla="*/ 28336 h 1879479"/>
                <a:gd name="connsiteX2" fmla="*/ 328527 w 2732249"/>
                <a:gd name="connsiteY2" fmla="*/ 959 h 1879479"/>
                <a:gd name="connsiteX3" fmla="*/ 410659 w 2732249"/>
                <a:gd name="connsiteY3" fmla="*/ 66664 h 1879479"/>
                <a:gd name="connsiteX4" fmla="*/ 542069 w 2732249"/>
                <a:gd name="connsiteY4" fmla="*/ 165222 h 1879479"/>
                <a:gd name="connsiteX5" fmla="*/ 695382 w 2732249"/>
                <a:gd name="connsiteY5" fmla="*/ 181649 h 1879479"/>
                <a:gd name="connsiteX6" fmla="*/ 832268 w 2732249"/>
                <a:gd name="connsiteY6" fmla="*/ 274731 h 1879479"/>
                <a:gd name="connsiteX7" fmla="*/ 1007483 w 2732249"/>
                <a:gd name="connsiteY7" fmla="*/ 537553 h 1879479"/>
                <a:gd name="connsiteX8" fmla="*/ 1171746 w 2732249"/>
                <a:gd name="connsiteY8" fmla="*/ 625160 h 1879479"/>
                <a:gd name="connsiteX9" fmla="*/ 1494798 w 2732249"/>
                <a:gd name="connsiteY9" fmla="*/ 833227 h 1879479"/>
                <a:gd name="connsiteX10" fmla="*/ 1560503 w 2732249"/>
                <a:gd name="connsiteY10" fmla="*/ 920834 h 1879479"/>
                <a:gd name="connsiteX11" fmla="*/ 1637159 w 2732249"/>
                <a:gd name="connsiteY11" fmla="*/ 1271263 h 1879479"/>
                <a:gd name="connsiteX12" fmla="*/ 1752144 w 2732249"/>
                <a:gd name="connsiteY12" fmla="*/ 1364346 h 1879479"/>
                <a:gd name="connsiteX13" fmla="*/ 2140901 w 2732249"/>
                <a:gd name="connsiteY13" fmla="*/ 1583364 h 1879479"/>
                <a:gd name="connsiteX14" fmla="*/ 2277787 w 2732249"/>
                <a:gd name="connsiteY14" fmla="*/ 1802382 h 1879479"/>
                <a:gd name="connsiteX15" fmla="*/ 2359919 w 2732249"/>
                <a:gd name="connsiteY15" fmla="*/ 1868087 h 1879479"/>
                <a:gd name="connsiteX16" fmla="*/ 2469428 w 2732249"/>
                <a:gd name="connsiteY16" fmla="*/ 1862612 h 1879479"/>
                <a:gd name="connsiteX17" fmla="*/ 2732249 w 2732249"/>
                <a:gd name="connsiteY17" fmla="*/ 1703824 h 1879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32249" h="1879479">
                  <a:moveTo>
                    <a:pt x="0" y="39287"/>
                  </a:moveTo>
                  <a:cubicBezTo>
                    <a:pt x="43804" y="37005"/>
                    <a:pt x="87608" y="34724"/>
                    <a:pt x="142362" y="28336"/>
                  </a:cubicBezTo>
                  <a:cubicBezTo>
                    <a:pt x="197116" y="21948"/>
                    <a:pt x="283811" y="-5429"/>
                    <a:pt x="328527" y="959"/>
                  </a:cubicBezTo>
                  <a:cubicBezTo>
                    <a:pt x="373243" y="7347"/>
                    <a:pt x="375069" y="39287"/>
                    <a:pt x="410659" y="66664"/>
                  </a:cubicBezTo>
                  <a:cubicBezTo>
                    <a:pt x="446249" y="94041"/>
                    <a:pt x="494615" y="146058"/>
                    <a:pt x="542069" y="165222"/>
                  </a:cubicBezTo>
                  <a:cubicBezTo>
                    <a:pt x="589523" y="184386"/>
                    <a:pt x="647016" y="163398"/>
                    <a:pt x="695382" y="181649"/>
                  </a:cubicBezTo>
                  <a:cubicBezTo>
                    <a:pt x="743749" y="199901"/>
                    <a:pt x="780251" y="215414"/>
                    <a:pt x="832268" y="274731"/>
                  </a:cubicBezTo>
                  <a:cubicBezTo>
                    <a:pt x="884285" y="334048"/>
                    <a:pt x="950903" y="479148"/>
                    <a:pt x="1007483" y="537553"/>
                  </a:cubicBezTo>
                  <a:cubicBezTo>
                    <a:pt x="1064063" y="595958"/>
                    <a:pt x="1090527" y="575881"/>
                    <a:pt x="1171746" y="625160"/>
                  </a:cubicBezTo>
                  <a:cubicBezTo>
                    <a:pt x="1252965" y="674439"/>
                    <a:pt x="1430005" y="783948"/>
                    <a:pt x="1494798" y="833227"/>
                  </a:cubicBezTo>
                  <a:cubicBezTo>
                    <a:pt x="1559591" y="882506"/>
                    <a:pt x="1536776" y="847828"/>
                    <a:pt x="1560503" y="920834"/>
                  </a:cubicBezTo>
                  <a:cubicBezTo>
                    <a:pt x="1584230" y="993840"/>
                    <a:pt x="1605219" y="1197344"/>
                    <a:pt x="1637159" y="1271263"/>
                  </a:cubicBezTo>
                  <a:cubicBezTo>
                    <a:pt x="1669099" y="1345182"/>
                    <a:pt x="1668187" y="1312329"/>
                    <a:pt x="1752144" y="1364346"/>
                  </a:cubicBezTo>
                  <a:cubicBezTo>
                    <a:pt x="1836101" y="1416363"/>
                    <a:pt x="2053294" y="1510358"/>
                    <a:pt x="2140901" y="1583364"/>
                  </a:cubicBezTo>
                  <a:cubicBezTo>
                    <a:pt x="2228508" y="1656370"/>
                    <a:pt x="2241284" y="1754928"/>
                    <a:pt x="2277787" y="1802382"/>
                  </a:cubicBezTo>
                  <a:cubicBezTo>
                    <a:pt x="2314290" y="1849836"/>
                    <a:pt x="2327979" y="1858049"/>
                    <a:pt x="2359919" y="1868087"/>
                  </a:cubicBezTo>
                  <a:cubicBezTo>
                    <a:pt x="2391859" y="1878125"/>
                    <a:pt x="2407373" y="1889989"/>
                    <a:pt x="2469428" y="1862612"/>
                  </a:cubicBezTo>
                  <a:cubicBezTo>
                    <a:pt x="2531483" y="1835235"/>
                    <a:pt x="2631866" y="1769529"/>
                    <a:pt x="2732249" y="1703824"/>
                  </a:cubicBezTo>
                </a:path>
              </a:pathLst>
            </a:custGeom>
            <a:noFill/>
            <a:ln w="38100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27" name="Полилиния 26">
              <a:extLst>
                <a:ext uri="{FF2B5EF4-FFF2-40B4-BE49-F238E27FC236}">
                  <a16:creationId xmlns:a16="http://schemas.microsoft.com/office/drawing/2014/main" id="{25AC4217-8194-7B4A-B5DC-39A4DFD2E9B8}"/>
                </a:ext>
              </a:extLst>
            </p:cNvPr>
            <p:cNvSpPr/>
            <p:nvPr/>
          </p:nvSpPr>
          <p:spPr>
            <a:xfrm>
              <a:off x="4884328" y="3443195"/>
              <a:ext cx="1715503" cy="255869"/>
            </a:xfrm>
            <a:custGeom>
              <a:avLst/>
              <a:gdLst>
                <a:gd name="connsiteX0" fmla="*/ 0 w 1812374"/>
                <a:gd name="connsiteY0" fmla="*/ 32452 h 327316"/>
                <a:gd name="connsiteX1" fmla="*/ 229969 w 1812374"/>
                <a:gd name="connsiteY1" fmla="*/ 21502 h 327316"/>
                <a:gd name="connsiteX2" fmla="*/ 443512 w 1812374"/>
                <a:gd name="connsiteY2" fmla="*/ 21502 h 327316"/>
                <a:gd name="connsiteX3" fmla="*/ 897974 w 1812374"/>
                <a:gd name="connsiteY3" fmla="*/ 306225 h 327316"/>
                <a:gd name="connsiteX4" fmla="*/ 1812374 w 1812374"/>
                <a:gd name="connsiteY4" fmla="*/ 300749 h 327316"/>
                <a:gd name="connsiteX0" fmla="*/ 0 w 1784997"/>
                <a:gd name="connsiteY0" fmla="*/ 32452 h 327316"/>
                <a:gd name="connsiteX1" fmla="*/ 229969 w 1784997"/>
                <a:gd name="connsiteY1" fmla="*/ 21502 h 327316"/>
                <a:gd name="connsiteX2" fmla="*/ 443512 w 1784997"/>
                <a:gd name="connsiteY2" fmla="*/ 21502 h 327316"/>
                <a:gd name="connsiteX3" fmla="*/ 897974 w 1784997"/>
                <a:gd name="connsiteY3" fmla="*/ 306225 h 327316"/>
                <a:gd name="connsiteX4" fmla="*/ 1784997 w 1784997"/>
                <a:gd name="connsiteY4" fmla="*/ 300749 h 327316"/>
                <a:gd name="connsiteX0" fmla="*/ 0 w 1784997"/>
                <a:gd name="connsiteY0" fmla="*/ 32452 h 315150"/>
                <a:gd name="connsiteX1" fmla="*/ 229969 w 1784997"/>
                <a:gd name="connsiteY1" fmla="*/ 21502 h 315150"/>
                <a:gd name="connsiteX2" fmla="*/ 443512 w 1784997"/>
                <a:gd name="connsiteY2" fmla="*/ 21502 h 315150"/>
                <a:gd name="connsiteX3" fmla="*/ 897974 w 1784997"/>
                <a:gd name="connsiteY3" fmla="*/ 306225 h 315150"/>
                <a:gd name="connsiteX4" fmla="*/ 1784997 w 1784997"/>
                <a:gd name="connsiteY4" fmla="*/ 300749 h 315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4997" h="315150">
                  <a:moveTo>
                    <a:pt x="0" y="32452"/>
                  </a:moveTo>
                  <a:cubicBezTo>
                    <a:pt x="78025" y="27889"/>
                    <a:pt x="156050" y="23327"/>
                    <a:pt x="229969" y="21502"/>
                  </a:cubicBezTo>
                  <a:cubicBezTo>
                    <a:pt x="303888" y="19677"/>
                    <a:pt x="332178" y="-25952"/>
                    <a:pt x="443512" y="21502"/>
                  </a:cubicBezTo>
                  <a:cubicBezTo>
                    <a:pt x="554846" y="68956"/>
                    <a:pt x="811279" y="287062"/>
                    <a:pt x="897974" y="306225"/>
                  </a:cubicBezTo>
                  <a:cubicBezTo>
                    <a:pt x="984669" y="325388"/>
                    <a:pt x="1618908" y="308962"/>
                    <a:pt x="1784997" y="300749"/>
                  </a:cubicBezTo>
                </a:path>
              </a:pathLst>
            </a:custGeom>
            <a:noFill/>
            <a:ln w="38100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36" name="Полилиния 35">
              <a:extLst>
                <a:ext uri="{FF2B5EF4-FFF2-40B4-BE49-F238E27FC236}">
                  <a16:creationId xmlns:a16="http://schemas.microsoft.com/office/drawing/2014/main" id="{876A59F8-1EC1-D848-AE2C-CC672E6A1ECF}"/>
                </a:ext>
              </a:extLst>
            </p:cNvPr>
            <p:cNvSpPr/>
            <p:nvPr/>
          </p:nvSpPr>
          <p:spPr>
            <a:xfrm>
              <a:off x="4359146" y="4152012"/>
              <a:ext cx="2467257" cy="600582"/>
            </a:xfrm>
            <a:custGeom>
              <a:avLst/>
              <a:gdLst>
                <a:gd name="connsiteX0" fmla="*/ 0 w 2467257"/>
                <a:gd name="connsiteY0" fmla="*/ 0 h 600582"/>
                <a:gd name="connsiteX1" fmla="*/ 135266 w 2467257"/>
                <a:gd name="connsiteY1" fmla="*/ 32463 h 600582"/>
                <a:gd name="connsiteX2" fmla="*/ 281354 w 2467257"/>
                <a:gd name="connsiteY2" fmla="*/ 48695 h 600582"/>
                <a:gd name="connsiteX3" fmla="*/ 486959 w 2467257"/>
                <a:gd name="connsiteY3" fmla="*/ 81159 h 600582"/>
                <a:gd name="connsiteX4" fmla="*/ 568118 w 2467257"/>
                <a:gd name="connsiteY4" fmla="*/ 102802 h 600582"/>
                <a:gd name="connsiteX5" fmla="*/ 697974 w 2467257"/>
                <a:gd name="connsiteY5" fmla="*/ 183962 h 600582"/>
                <a:gd name="connsiteX6" fmla="*/ 968506 w 2467257"/>
                <a:gd name="connsiteY6" fmla="*/ 275943 h 600582"/>
                <a:gd name="connsiteX7" fmla="*/ 1217396 w 2467257"/>
                <a:gd name="connsiteY7" fmla="*/ 346281 h 600582"/>
                <a:gd name="connsiteX8" fmla="*/ 1347252 w 2467257"/>
                <a:gd name="connsiteY8" fmla="*/ 362513 h 600582"/>
                <a:gd name="connsiteX9" fmla="*/ 1466286 w 2467257"/>
                <a:gd name="connsiteY9" fmla="*/ 324639 h 600582"/>
                <a:gd name="connsiteX10" fmla="*/ 1547446 w 2467257"/>
                <a:gd name="connsiteY10" fmla="*/ 335460 h 600582"/>
                <a:gd name="connsiteX11" fmla="*/ 1715176 w 2467257"/>
                <a:gd name="connsiteY11" fmla="*/ 405798 h 600582"/>
                <a:gd name="connsiteX12" fmla="*/ 1758462 w 2467257"/>
                <a:gd name="connsiteY12" fmla="*/ 427441 h 600582"/>
                <a:gd name="connsiteX13" fmla="*/ 1915370 w 2467257"/>
                <a:gd name="connsiteY13" fmla="*/ 443673 h 600582"/>
                <a:gd name="connsiteX14" fmla="*/ 2028994 w 2467257"/>
                <a:gd name="connsiteY14" fmla="*/ 416620 h 600582"/>
                <a:gd name="connsiteX15" fmla="*/ 2148028 w 2467257"/>
                <a:gd name="connsiteY15" fmla="*/ 492369 h 600582"/>
                <a:gd name="connsiteX16" fmla="*/ 2229188 w 2467257"/>
                <a:gd name="connsiteY16" fmla="*/ 578939 h 600582"/>
                <a:gd name="connsiteX17" fmla="*/ 2467257 w 2467257"/>
                <a:gd name="connsiteY17" fmla="*/ 600582 h 60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67257" h="600582">
                  <a:moveTo>
                    <a:pt x="0" y="0"/>
                  </a:moveTo>
                  <a:cubicBezTo>
                    <a:pt x="44187" y="12173"/>
                    <a:pt x="88374" y="24347"/>
                    <a:pt x="135266" y="32463"/>
                  </a:cubicBezTo>
                  <a:cubicBezTo>
                    <a:pt x="182158" y="40579"/>
                    <a:pt x="222739" y="40579"/>
                    <a:pt x="281354" y="48695"/>
                  </a:cubicBezTo>
                  <a:cubicBezTo>
                    <a:pt x="339969" y="56811"/>
                    <a:pt x="439165" y="72141"/>
                    <a:pt x="486959" y="81159"/>
                  </a:cubicBezTo>
                  <a:cubicBezTo>
                    <a:pt x="534753" y="90177"/>
                    <a:pt x="532949" y="85668"/>
                    <a:pt x="568118" y="102802"/>
                  </a:cubicBezTo>
                  <a:cubicBezTo>
                    <a:pt x="603287" y="119936"/>
                    <a:pt x="631243" y="155105"/>
                    <a:pt x="697974" y="183962"/>
                  </a:cubicBezTo>
                  <a:cubicBezTo>
                    <a:pt x="764705" y="212819"/>
                    <a:pt x="881936" y="248890"/>
                    <a:pt x="968506" y="275943"/>
                  </a:cubicBezTo>
                  <a:cubicBezTo>
                    <a:pt x="1055076" y="302996"/>
                    <a:pt x="1154272" y="331853"/>
                    <a:pt x="1217396" y="346281"/>
                  </a:cubicBezTo>
                  <a:cubicBezTo>
                    <a:pt x="1280520" y="360709"/>
                    <a:pt x="1305770" y="366120"/>
                    <a:pt x="1347252" y="362513"/>
                  </a:cubicBezTo>
                  <a:cubicBezTo>
                    <a:pt x="1388734" y="358906"/>
                    <a:pt x="1432920" y="329148"/>
                    <a:pt x="1466286" y="324639"/>
                  </a:cubicBezTo>
                  <a:cubicBezTo>
                    <a:pt x="1499652" y="320130"/>
                    <a:pt x="1505964" y="321934"/>
                    <a:pt x="1547446" y="335460"/>
                  </a:cubicBezTo>
                  <a:cubicBezTo>
                    <a:pt x="1588928" y="348987"/>
                    <a:pt x="1680007" y="390468"/>
                    <a:pt x="1715176" y="405798"/>
                  </a:cubicBezTo>
                  <a:cubicBezTo>
                    <a:pt x="1750345" y="421128"/>
                    <a:pt x="1725096" y="421128"/>
                    <a:pt x="1758462" y="427441"/>
                  </a:cubicBezTo>
                  <a:cubicBezTo>
                    <a:pt x="1791828" y="433754"/>
                    <a:pt x="1870281" y="445477"/>
                    <a:pt x="1915370" y="443673"/>
                  </a:cubicBezTo>
                  <a:cubicBezTo>
                    <a:pt x="1960459" y="441869"/>
                    <a:pt x="1990218" y="408504"/>
                    <a:pt x="2028994" y="416620"/>
                  </a:cubicBezTo>
                  <a:cubicBezTo>
                    <a:pt x="2067770" y="424736"/>
                    <a:pt x="2114662" y="465316"/>
                    <a:pt x="2148028" y="492369"/>
                  </a:cubicBezTo>
                  <a:cubicBezTo>
                    <a:pt x="2181394" y="519422"/>
                    <a:pt x="2175983" y="560904"/>
                    <a:pt x="2229188" y="578939"/>
                  </a:cubicBezTo>
                  <a:cubicBezTo>
                    <a:pt x="2282393" y="596974"/>
                    <a:pt x="2374825" y="598778"/>
                    <a:pt x="2467257" y="600582"/>
                  </a:cubicBezTo>
                </a:path>
              </a:pathLst>
            </a:custGeom>
            <a:noFill/>
            <a:ln w="38100" cmpd="dbl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grpSp>
          <p:nvGrpSpPr>
            <p:cNvPr id="49" name="Группа 48">
              <a:extLst>
                <a:ext uri="{FF2B5EF4-FFF2-40B4-BE49-F238E27FC236}">
                  <a16:creationId xmlns:a16="http://schemas.microsoft.com/office/drawing/2014/main" id="{0399AE72-EB82-A649-BD2E-C05789DF327B}"/>
                </a:ext>
              </a:extLst>
            </p:cNvPr>
            <p:cNvGrpSpPr/>
            <p:nvPr/>
          </p:nvGrpSpPr>
          <p:grpSpPr>
            <a:xfrm>
              <a:off x="2528191" y="2543650"/>
              <a:ext cx="4300050" cy="3972457"/>
              <a:chOff x="2528191" y="2540603"/>
              <a:chExt cx="4300050" cy="3972457"/>
            </a:xfrm>
          </p:grpSpPr>
          <p:sp>
            <p:nvSpPr>
              <p:cNvPr id="37" name="Полилиния 36">
                <a:extLst>
                  <a:ext uri="{FF2B5EF4-FFF2-40B4-BE49-F238E27FC236}">
                    <a16:creationId xmlns:a16="http://schemas.microsoft.com/office/drawing/2014/main" id="{D2FDF74B-A1D5-FD44-8EEF-56C25C37317D}"/>
                  </a:ext>
                </a:extLst>
              </p:cNvPr>
              <p:cNvSpPr/>
              <p:nvPr/>
            </p:nvSpPr>
            <p:spPr>
              <a:xfrm>
                <a:off x="5811039" y="5210457"/>
                <a:ext cx="1017202" cy="963096"/>
              </a:xfrm>
              <a:custGeom>
                <a:avLst/>
                <a:gdLst>
                  <a:gd name="connsiteX0" fmla="*/ 0 w 1017202"/>
                  <a:gd name="connsiteY0" fmla="*/ 0 h 963096"/>
                  <a:gd name="connsiteX1" fmla="*/ 205605 w 1017202"/>
                  <a:gd name="connsiteY1" fmla="*/ 135266 h 963096"/>
                  <a:gd name="connsiteX2" fmla="*/ 297586 w 1017202"/>
                  <a:gd name="connsiteY2" fmla="*/ 232658 h 963096"/>
                  <a:gd name="connsiteX3" fmla="*/ 432852 w 1017202"/>
                  <a:gd name="connsiteY3" fmla="*/ 405799 h 963096"/>
                  <a:gd name="connsiteX4" fmla="*/ 535654 w 1017202"/>
                  <a:gd name="connsiteY4" fmla="*/ 546476 h 963096"/>
                  <a:gd name="connsiteX5" fmla="*/ 1017202 w 1017202"/>
                  <a:gd name="connsiteY5" fmla="*/ 963096 h 963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17202" h="963096">
                    <a:moveTo>
                      <a:pt x="0" y="0"/>
                    </a:moveTo>
                    <a:cubicBezTo>
                      <a:pt x="78003" y="48245"/>
                      <a:pt x="156007" y="96490"/>
                      <a:pt x="205605" y="135266"/>
                    </a:cubicBezTo>
                    <a:cubicBezTo>
                      <a:pt x="255203" y="174042"/>
                      <a:pt x="259712" y="187569"/>
                      <a:pt x="297586" y="232658"/>
                    </a:cubicBezTo>
                    <a:cubicBezTo>
                      <a:pt x="335460" y="277747"/>
                      <a:pt x="393174" y="353496"/>
                      <a:pt x="432852" y="405799"/>
                    </a:cubicBezTo>
                    <a:cubicBezTo>
                      <a:pt x="472530" y="458102"/>
                      <a:pt x="438262" y="453593"/>
                      <a:pt x="535654" y="546476"/>
                    </a:cubicBezTo>
                    <a:cubicBezTo>
                      <a:pt x="633046" y="639359"/>
                      <a:pt x="889150" y="877428"/>
                      <a:pt x="1017202" y="963096"/>
                    </a:cubicBezTo>
                  </a:path>
                </a:pathLst>
              </a:custGeom>
              <a:noFill/>
              <a:ln w="38100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/>
              </a:p>
            </p:txBody>
          </p:sp>
          <p:cxnSp>
            <p:nvCxnSpPr>
              <p:cNvPr id="40" name="Прямая соединительная линия 39">
                <a:extLst>
                  <a:ext uri="{FF2B5EF4-FFF2-40B4-BE49-F238E27FC236}">
                    <a16:creationId xmlns:a16="http://schemas.microsoft.com/office/drawing/2014/main" id="{BF99D689-47FA-9F45-B5A7-3625179E0934}"/>
                  </a:ext>
                </a:extLst>
              </p:cNvPr>
              <p:cNvCxnSpPr/>
              <p:nvPr/>
            </p:nvCxnSpPr>
            <p:spPr>
              <a:xfrm>
                <a:off x="3795817" y="6401396"/>
                <a:ext cx="44920" cy="111664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3" name="Прямая соединительная линия 42">
                <a:extLst>
                  <a:ext uri="{FF2B5EF4-FFF2-40B4-BE49-F238E27FC236}">
                    <a16:creationId xmlns:a16="http://schemas.microsoft.com/office/drawing/2014/main" id="{5816FD65-8817-2E45-8CBC-02E0B9580AE9}"/>
                  </a:ext>
                </a:extLst>
              </p:cNvPr>
              <p:cNvCxnSpPr/>
              <p:nvPr/>
            </p:nvCxnSpPr>
            <p:spPr>
              <a:xfrm flipH="1">
                <a:off x="2805473" y="6373782"/>
                <a:ext cx="56761" cy="139278"/>
              </a:xfrm>
              <a:prstGeom prst="line">
                <a:avLst/>
              </a:prstGeom>
              <a:noFill/>
              <a:ln w="38100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8" name="Полилиния 47">
                <a:extLst>
                  <a:ext uri="{FF2B5EF4-FFF2-40B4-BE49-F238E27FC236}">
                    <a16:creationId xmlns:a16="http://schemas.microsoft.com/office/drawing/2014/main" id="{3D59AED2-59D4-D946-8640-7A0B16851C94}"/>
                  </a:ext>
                </a:extLst>
              </p:cNvPr>
              <p:cNvSpPr/>
              <p:nvPr/>
            </p:nvSpPr>
            <p:spPr>
              <a:xfrm>
                <a:off x="2528191" y="2540603"/>
                <a:ext cx="1137389" cy="1480538"/>
              </a:xfrm>
              <a:custGeom>
                <a:avLst/>
                <a:gdLst>
                  <a:gd name="connsiteX0" fmla="*/ 278670 w 1137389"/>
                  <a:gd name="connsiteY0" fmla="*/ 28977 h 1480538"/>
                  <a:gd name="connsiteX1" fmla="*/ 342331 w 1137389"/>
                  <a:gd name="connsiteY1" fmla="*/ 40 h 1480538"/>
                  <a:gd name="connsiteX2" fmla="*/ 417566 w 1137389"/>
                  <a:gd name="connsiteY2" fmla="*/ 34764 h 1480538"/>
                  <a:gd name="connsiteX3" fmla="*/ 701146 w 1137389"/>
                  <a:gd name="connsiteY3" fmla="*/ 52126 h 1480538"/>
                  <a:gd name="connsiteX4" fmla="*/ 764806 w 1137389"/>
                  <a:gd name="connsiteY4" fmla="*/ 92638 h 1480538"/>
                  <a:gd name="connsiteX5" fmla="*/ 1100472 w 1137389"/>
                  <a:gd name="connsiteY5" fmla="*/ 312556 h 1480538"/>
                  <a:gd name="connsiteX6" fmla="*/ 1129409 w 1137389"/>
                  <a:gd name="connsiteY6" fmla="*/ 468815 h 1480538"/>
                  <a:gd name="connsiteX7" fmla="*/ 1106260 w 1137389"/>
                  <a:gd name="connsiteY7" fmla="*/ 578774 h 1480538"/>
                  <a:gd name="connsiteX8" fmla="*/ 1123622 w 1137389"/>
                  <a:gd name="connsiteY8" fmla="*/ 856567 h 1480538"/>
                  <a:gd name="connsiteX9" fmla="*/ 1083110 w 1137389"/>
                  <a:gd name="connsiteY9" fmla="*/ 943377 h 1480538"/>
                  <a:gd name="connsiteX10" fmla="*/ 1025237 w 1137389"/>
                  <a:gd name="connsiteY10" fmla="*/ 1128572 h 1480538"/>
                  <a:gd name="connsiteX11" fmla="*/ 793743 w 1137389"/>
                  <a:gd name="connsiteY11" fmla="*/ 1279043 h 1480538"/>
                  <a:gd name="connsiteX12" fmla="*/ 660634 w 1137389"/>
                  <a:gd name="connsiteY12" fmla="*/ 1435301 h 1480538"/>
                  <a:gd name="connsiteX13" fmla="*/ 527525 w 1137389"/>
                  <a:gd name="connsiteY13" fmla="*/ 1470025 h 1480538"/>
                  <a:gd name="connsiteX14" fmla="*/ 405991 w 1137389"/>
                  <a:gd name="connsiteY14" fmla="*/ 1273255 h 1480538"/>
                  <a:gd name="connsiteX15" fmla="*/ 284457 w 1137389"/>
                  <a:gd name="connsiteY15" fmla="*/ 1174870 h 1480538"/>
                  <a:gd name="connsiteX16" fmla="*/ 215009 w 1137389"/>
                  <a:gd name="connsiteY16" fmla="*/ 1030187 h 1480538"/>
                  <a:gd name="connsiteX17" fmla="*/ 168710 w 1137389"/>
                  <a:gd name="connsiteY17" fmla="*/ 856567 h 1480538"/>
                  <a:gd name="connsiteX18" fmla="*/ 87687 w 1137389"/>
                  <a:gd name="connsiteY18" fmla="*/ 682946 h 1480538"/>
                  <a:gd name="connsiteX19" fmla="*/ 52963 w 1137389"/>
                  <a:gd name="connsiteY19" fmla="*/ 503539 h 1480538"/>
                  <a:gd name="connsiteX20" fmla="*/ 877 w 1137389"/>
                  <a:gd name="connsiteY20" fmla="*/ 289407 h 1480538"/>
                  <a:gd name="connsiteX21" fmla="*/ 99262 w 1137389"/>
                  <a:gd name="connsiteY21" fmla="*/ 173660 h 1480538"/>
                  <a:gd name="connsiteX22" fmla="*/ 157136 w 1137389"/>
                  <a:gd name="connsiteY22" fmla="*/ 81063 h 1480538"/>
                  <a:gd name="connsiteX23" fmla="*/ 278670 w 1137389"/>
                  <a:gd name="connsiteY23" fmla="*/ 28977 h 1480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137389" h="1480538">
                    <a:moveTo>
                      <a:pt x="278670" y="28977"/>
                    </a:moveTo>
                    <a:cubicBezTo>
                      <a:pt x="309536" y="15473"/>
                      <a:pt x="319182" y="-925"/>
                      <a:pt x="342331" y="40"/>
                    </a:cubicBezTo>
                    <a:cubicBezTo>
                      <a:pt x="365480" y="1004"/>
                      <a:pt x="357764" y="26083"/>
                      <a:pt x="417566" y="34764"/>
                    </a:cubicBezTo>
                    <a:cubicBezTo>
                      <a:pt x="477368" y="43445"/>
                      <a:pt x="643273" y="42480"/>
                      <a:pt x="701146" y="52126"/>
                    </a:cubicBezTo>
                    <a:cubicBezTo>
                      <a:pt x="759019" y="61772"/>
                      <a:pt x="764806" y="92638"/>
                      <a:pt x="764806" y="92638"/>
                    </a:cubicBezTo>
                    <a:cubicBezTo>
                      <a:pt x="831360" y="136043"/>
                      <a:pt x="1039705" y="249860"/>
                      <a:pt x="1100472" y="312556"/>
                    </a:cubicBezTo>
                    <a:cubicBezTo>
                      <a:pt x="1161239" y="375252"/>
                      <a:pt x="1128444" y="424445"/>
                      <a:pt x="1129409" y="468815"/>
                    </a:cubicBezTo>
                    <a:cubicBezTo>
                      <a:pt x="1130374" y="513185"/>
                      <a:pt x="1107224" y="514149"/>
                      <a:pt x="1106260" y="578774"/>
                    </a:cubicBezTo>
                    <a:cubicBezTo>
                      <a:pt x="1105296" y="643399"/>
                      <a:pt x="1127480" y="795800"/>
                      <a:pt x="1123622" y="856567"/>
                    </a:cubicBezTo>
                    <a:cubicBezTo>
                      <a:pt x="1119764" y="917334"/>
                      <a:pt x="1099507" y="898043"/>
                      <a:pt x="1083110" y="943377"/>
                    </a:cubicBezTo>
                    <a:cubicBezTo>
                      <a:pt x="1066713" y="988711"/>
                      <a:pt x="1073465" y="1072628"/>
                      <a:pt x="1025237" y="1128572"/>
                    </a:cubicBezTo>
                    <a:cubicBezTo>
                      <a:pt x="977009" y="1184516"/>
                      <a:pt x="854510" y="1227922"/>
                      <a:pt x="793743" y="1279043"/>
                    </a:cubicBezTo>
                    <a:cubicBezTo>
                      <a:pt x="732976" y="1330165"/>
                      <a:pt x="705004" y="1403471"/>
                      <a:pt x="660634" y="1435301"/>
                    </a:cubicBezTo>
                    <a:cubicBezTo>
                      <a:pt x="616264" y="1467131"/>
                      <a:pt x="569966" y="1497033"/>
                      <a:pt x="527525" y="1470025"/>
                    </a:cubicBezTo>
                    <a:cubicBezTo>
                      <a:pt x="485085" y="1443017"/>
                      <a:pt x="446502" y="1322448"/>
                      <a:pt x="405991" y="1273255"/>
                    </a:cubicBezTo>
                    <a:cubicBezTo>
                      <a:pt x="365480" y="1224062"/>
                      <a:pt x="316287" y="1215381"/>
                      <a:pt x="284457" y="1174870"/>
                    </a:cubicBezTo>
                    <a:cubicBezTo>
                      <a:pt x="252627" y="1134359"/>
                      <a:pt x="234300" y="1083238"/>
                      <a:pt x="215009" y="1030187"/>
                    </a:cubicBezTo>
                    <a:cubicBezTo>
                      <a:pt x="195718" y="977137"/>
                      <a:pt x="189930" y="914441"/>
                      <a:pt x="168710" y="856567"/>
                    </a:cubicBezTo>
                    <a:cubicBezTo>
                      <a:pt x="147490" y="798694"/>
                      <a:pt x="106978" y="741784"/>
                      <a:pt x="87687" y="682946"/>
                    </a:cubicBezTo>
                    <a:cubicBezTo>
                      <a:pt x="68396" y="624108"/>
                      <a:pt x="67431" y="569129"/>
                      <a:pt x="52963" y="503539"/>
                    </a:cubicBezTo>
                    <a:cubicBezTo>
                      <a:pt x="38495" y="437949"/>
                      <a:pt x="-6839" y="344387"/>
                      <a:pt x="877" y="289407"/>
                    </a:cubicBezTo>
                    <a:cubicBezTo>
                      <a:pt x="8593" y="234427"/>
                      <a:pt x="73219" y="208384"/>
                      <a:pt x="99262" y="173660"/>
                    </a:cubicBezTo>
                    <a:cubicBezTo>
                      <a:pt x="125305" y="138936"/>
                      <a:pt x="126270" y="105177"/>
                      <a:pt x="157136" y="81063"/>
                    </a:cubicBezTo>
                    <a:cubicBezTo>
                      <a:pt x="188002" y="56949"/>
                      <a:pt x="247804" y="42481"/>
                      <a:pt x="278670" y="28977"/>
                    </a:cubicBezTo>
                    <a:close/>
                  </a:path>
                </a:pathLst>
              </a:custGeom>
              <a:noFill/>
              <a:ln w="38100" cmpd="dbl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/>
              </a:p>
            </p:txBody>
          </p:sp>
        </p:grp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F2937D54-B8E8-AA40-9B02-29A1378563E4}"/>
                </a:ext>
              </a:extLst>
            </p:cNvPr>
            <p:cNvSpPr/>
            <p:nvPr/>
          </p:nvSpPr>
          <p:spPr>
            <a:xfrm>
              <a:off x="4435771" y="725397"/>
              <a:ext cx="2595795" cy="5788146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60000">
                  <a:schemeClr val="bg1">
                    <a:alpha val="77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FAA4C9D-ED6F-6F40-A7BC-E3910923F254}"/>
                </a:ext>
              </a:extLst>
            </p:cNvPr>
            <p:cNvSpPr txBox="1"/>
            <p:nvPr/>
          </p:nvSpPr>
          <p:spPr>
            <a:xfrm>
              <a:off x="3894600" y="3095044"/>
              <a:ext cx="1518556" cy="2367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75000"/>
                </a:lnSpc>
              </a:pPr>
              <a:r>
                <a:rPr lang="ru-RU" sz="1200" dirty="0">
                  <a:solidFill>
                    <a:srgbClr val="EE3524"/>
                  </a:solidFill>
                  <a:latin typeface="+mj-lt"/>
                </a:rPr>
                <a:t>ВСМ-2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600C973A-99CA-3240-9176-591E19FDD818}"/>
                </a:ext>
              </a:extLst>
            </p:cNvPr>
            <p:cNvSpPr txBox="1"/>
            <p:nvPr/>
          </p:nvSpPr>
          <p:spPr>
            <a:xfrm>
              <a:off x="5197770" y="5355946"/>
              <a:ext cx="877163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i="1" dirty="0">
                  <a:latin typeface="+mj-lt"/>
                </a:rPr>
                <a:t>Рязанское напр.</a:t>
              </a: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A7692DFA-4B90-664A-81FF-6B4AD6AED28F}"/>
                </a:ext>
              </a:extLst>
            </p:cNvPr>
            <p:cNvSpPr/>
            <p:nvPr/>
          </p:nvSpPr>
          <p:spPr>
            <a:xfrm rot="16200000">
              <a:off x="3109337" y="-2383491"/>
              <a:ext cx="810108" cy="7027878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60000">
                  <a:schemeClr val="bg1">
                    <a:alpha val="77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C6B3D9AA-0967-0E4B-9187-6DEA9586CD86}"/>
                </a:ext>
              </a:extLst>
            </p:cNvPr>
            <p:cNvSpPr txBox="1"/>
            <p:nvPr/>
          </p:nvSpPr>
          <p:spPr>
            <a:xfrm>
              <a:off x="1000984" y="822162"/>
              <a:ext cx="109196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i="1" dirty="0">
                  <a:latin typeface="+mj-lt"/>
                </a:rPr>
                <a:t>Ленинградское напр.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1F28CD5C-7BBA-1248-A8EF-80F79ECF8F5A}"/>
                </a:ext>
              </a:extLst>
            </p:cNvPr>
            <p:cNvSpPr txBox="1"/>
            <p:nvPr/>
          </p:nvSpPr>
          <p:spPr>
            <a:xfrm>
              <a:off x="5221250" y="4498377"/>
              <a:ext cx="881973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i="1" dirty="0">
                  <a:latin typeface="+mj-lt"/>
                </a:rPr>
                <a:t>Казанское напр.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C861C920-1949-664E-89DB-C2A1842CC767}"/>
                </a:ext>
              </a:extLst>
            </p:cNvPr>
            <p:cNvSpPr txBox="1"/>
            <p:nvPr/>
          </p:nvSpPr>
          <p:spPr>
            <a:xfrm>
              <a:off x="5647545" y="3519601"/>
              <a:ext cx="73449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i="1" dirty="0">
                  <a:latin typeface="+mj-lt"/>
                </a:rPr>
                <a:t>Горьковское </a:t>
              </a:r>
            </a:p>
            <a:p>
              <a:r>
                <a:rPr lang="ru-RU" sz="800" i="1" dirty="0">
                  <a:latin typeface="+mj-lt"/>
                </a:rPr>
                <a:t>напр.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F4B6C21D-684F-774F-AFA0-33628C19667A}"/>
                </a:ext>
              </a:extLst>
            </p:cNvPr>
            <p:cNvSpPr txBox="1"/>
            <p:nvPr/>
          </p:nvSpPr>
          <p:spPr>
            <a:xfrm>
              <a:off x="4092098" y="817074"/>
              <a:ext cx="98135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i="1" dirty="0">
                  <a:latin typeface="+mj-lt"/>
                </a:rPr>
                <a:t>Ярославское напр.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C968116-AE59-104B-B050-1D6AD9A42A62}"/>
                </a:ext>
              </a:extLst>
            </p:cNvPr>
            <p:cNvSpPr txBox="1"/>
            <p:nvPr/>
          </p:nvSpPr>
          <p:spPr>
            <a:xfrm>
              <a:off x="2497894" y="823649"/>
              <a:ext cx="98135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i="1" dirty="0" err="1">
                  <a:latin typeface="+mj-lt"/>
                </a:rPr>
                <a:t>Савеловское</a:t>
              </a:r>
              <a:r>
                <a:rPr lang="ru-RU" sz="800" i="1" dirty="0">
                  <a:latin typeface="+mj-lt"/>
                </a:rPr>
                <a:t> напр.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6AC5211D-0381-2048-B53E-9EF3E4A61D29}"/>
                </a:ext>
              </a:extLst>
            </p:cNvPr>
            <p:cNvSpPr txBox="1"/>
            <p:nvPr/>
          </p:nvSpPr>
          <p:spPr>
            <a:xfrm>
              <a:off x="72808" y="2279227"/>
              <a:ext cx="81144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i="1" dirty="0">
                  <a:latin typeface="+mj-lt"/>
                </a:rPr>
                <a:t>Рижское напр.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0EA0F11E-93AA-CB4C-804C-B9CA511FE113}"/>
                </a:ext>
              </a:extLst>
            </p:cNvPr>
            <p:cNvSpPr txBox="1"/>
            <p:nvPr/>
          </p:nvSpPr>
          <p:spPr>
            <a:xfrm>
              <a:off x="134568" y="4169631"/>
              <a:ext cx="954107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i="1" dirty="0">
                  <a:latin typeface="+mj-lt"/>
                </a:rPr>
                <a:t>Смоленское напр.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750E9A89-3595-9247-92B3-CA2C924F3D49}"/>
                </a:ext>
              </a:extLst>
            </p:cNvPr>
            <p:cNvSpPr txBox="1"/>
            <p:nvPr/>
          </p:nvSpPr>
          <p:spPr>
            <a:xfrm>
              <a:off x="2070254" y="6335311"/>
              <a:ext cx="77938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i="1" dirty="0">
                  <a:latin typeface="+mj-lt"/>
                </a:rPr>
                <a:t>Курское напр.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3D3D3625-F444-2643-B3E9-C431B3218744}"/>
                </a:ext>
              </a:extLst>
            </p:cNvPr>
            <p:cNvSpPr txBox="1"/>
            <p:nvPr/>
          </p:nvSpPr>
          <p:spPr>
            <a:xfrm>
              <a:off x="2902769" y="6338159"/>
              <a:ext cx="95090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i="1" dirty="0">
                  <a:latin typeface="+mj-lt"/>
                </a:rPr>
                <a:t>Павелецкое напр.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E8F12737-2656-CD4E-A1EC-DEBB66B338C8}"/>
                </a:ext>
              </a:extLst>
            </p:cNvPr>
            <p:cNvSpPr txBox="1"/>
            <p:nvPr/>
          </p:nvSpPr>
          <p:spPr>
            <a:xfrm>
              <a:off x="2250910" y="3116313"/>
              <a:ext cx="38985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i="1" dirty="0">
                  <a:latin typeface="+mj-lt"/>
                </a:rPr>
                <a:t>МЦК</a:t>
              </a:r>
            </a:p>
          </p:txBody>
        </p:sp>
        <p:sp>
          <p:nvSpPr>
            <p:cNvPr id="102" name="Прямоугольник 101">
              <a:extLst>
                <a:ext uri="{FF2B5EF4-FFF2-40B4-BE49-F238E27FC236}">
                  <a16:creationId xmlns:a16="http://schemas.microsoft.com/office/drawing/2014/main" id="{628315D3-B2EB-464D-88C5-74EBA3D6E7DB}"/>
                </a:ext>
              </a:extLst>
            </p:cNvPr>
            <p:cNvSpPr/>
            <p:nvPr/>
          </p:nvSpPr>
          <p:spPr>
            <a:xfrm>
              <a:off x="-2943" y="692497"/>
              <a:ext cx="7247302" cy="5828201"/>
            </a:xfrm>
            <a:prstGeom prst="rect">
              <a:avLst/>
            </a:prstGeom>
            <a:solidFill>
              <a:schemeClr val="bg1"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09" name="Группа 108">
              <a:extLst>
                <a:ext uri="{FF2B5EF4-FFF2-40B4-BE49-F238E27FC236}">
                  <a16:creationId xmlns:a16="http://schemas.microsoft.com/office/drawing/2014/main" id="{7094AE06-F685-D942-9B1A-97BE674F5A7E}"/>
                </a:ext>
              </a:extLst>
            </p:cNvPr>
            <p:cNvGrpSpPr/>
            <p:nvPr/>
          </p:nvGrpSpPr>
          <p:grpSpPr>
            <a:xfrm>
              <a:off x="481103" y="919388"/>
              <a:ext cx="5303616" cy="5498670"/>
              <a:chOff x="481103" y="919388"/>
              <a:chExt cx="5303616" cy="5498670"/>
            </a:xfrm>
          </p:grpSpPr>
          <p:grpSp>
            <p:nvGrpSpPr>
              <p:cNvPr id="103" name="Группа 102">
                <a:extLst>
                  <a:ext uri="{FF2B5EF4-FFF2-40B4-BE49-F238E27FC236}">
                    <a16:creationId xmlns:a16="http://schemas.microsoft.com/office/drawing/2014/main" id="{CA912282-5779-154A-A0DF-BCBB1C6BB3CD}"/>
                  </a:ext>
                </a:extLst>
              </p:cNvPr>
              <p:cNvGrpSpPr/>
              <p:nvPr/>
            </p:nvGrpSpPr>
            <p:grpSpPr>
              <a:xfrm>
                <a:off x="1951599" y="6012870"/>
                <a:ext cx="853874" cy="404951"/>
                <a:chOff x="1951599" y="6012870"/>
                <a:chExt cx="853874" cy="404951"/>
              </a:xfrm>
            </p:grpSpPr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6E19D972-1B56-A24E-9B18-F53A3355774A}"/>
                    </a:ext>
                  </a:extLst>
                </p:cNvPr>
                <p:cNvSpPr txBox="1"/>
                <p:nvPr/>
              </p:nvSpPr>
              <p:spPr>
                <a:xfrm>
                  <a:off x="1951599" y="6012870"/>
                  <a:ext cx="853874" cy="33471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ru-RU" sz="1400" dirty="0">
                      <a:latin typeface="+mj-lt"/>
                    </a:rPr>
                    <a:t>Подольск</a:t>
                  </a:r>
                </a:p>
              </p:txBody>
            </p:sp>
            <p:pic>
              <p:nvPicPr>
                <p:cNvPr id="59" name="Рисунок 58">
                  <a:extLst>
                    <a:ext uri="{FF2B5EF4-FFF2-40B4-BE49-F238E27FC236}">
                      <a16:creationId xmlns:a16="http://schemas.microsoft.com/office/drawing/2014/main" id="{3C991600-2F75-A440-932D-150EF7835A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22281" t="17968" r="59554" b="36014"/>
                <a:stretch/>
              </p:blipFill>
              <p:spPr>
                <a:xfrm>
                  <a:off x="2510848" y="6278543"/>
                  <a:ext cx="246925" cy="139278"/>
                </a:xfrm>
                <a:prstGeom prst="rect">
                  <a:avLst/>
                </a:prstGeom>
              </p:spPr>
            </p:pic>
          </p:grpSp>
          <p:grpSp>
            <p:nvGrpSpPr>
              <p:cNvPr id="108" name="Группа 107">
                <a:extLst>
                  <a:ext uri="{FF2B5EF4-FFF2-40B4-BE49-F238E27FC236}">
                    <a16:creationId xmlns:a16="http://schemas.microsoft.com/office/drawing/2014/main" id="{BBF36B23-A92D-534D-B5D7-5738FCA3F882}"/>
                  </a:ext>
                </a:extLst>
              </p:cNvPr>
              <p:cNvGrpSpPr/>
              <p:nvPr/>
            </p:nvGrpSpPr>
            <p:grpSpPr>
              <a:xfrm>
                <a:off x="481103" y="919388"/>
                <a:ext cx="5303616" cy="5498670"/>
                <a:chOff x="481103" y="919388"/>
                <a:chExt cx="5303616" cy="5498670"/>
              </a:xfrm>
            </p:grpSpPr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83B02186-B0D8-9649-A9EE-040F361685C0}"/>
                    </a:ext>
                  </a:extLst>
                </p:cNvPr>
                <p:cNvSpPr txBox="1"/>
                <p:nvPr/>
              </p:nvSpPr>
              <p:spPr>
                <a:xfrm>
                  <a:off x="3985861" y="1882603"/>
                  <a:ext cx="856325" cy="30777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ru-RU" sz="1400" dirty="0" err="1">
                      <a:latin typeface="+mj-lt"/>
                    </a:rPr>
                    <a:t>Болшево</a:t>
                  </a:r>
                  <a:endParaRPr lang="ru-RU" sz="1400" dirty="0">
                    <a:latin typeface="+mj-lt"/>
                  </a:endParaRPr>
                </a:p>
              </p:txBody>
            </p:sp>
            <p:pic>
              <p:nvPicPr>
                <p:cNvPr id="65" name="Рисунок 64">
                  <a:extLst>
                    <a:ext uri="{FF2B5EF4-FFF2-40B4-BE49-F238E27FC236}">
                      <a16:creationId xmlns:a16="http://schemas.microsoft.com/office/drawing/2014/main" id="{BC3950A1-ECD0-8546-AF8E-EFF9AFCD84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78703" t="17968" r="3132" b="36014"/>
                <a:stretch/>
              </p:blipFill>
              <p:spPr>
                <a:xfrm>
                  <a:off x="4063011" y="2147202"/>
                  <a:ext cx="246925" cy="142178"/>
                </a:xfrm>
                <a:prstGeom prst="rect">
                  <a:avLst/>
                </a:prstGeom>
              </p:spPr>
            </p:pic>
            <p:grpSp>
              <p:nvGrpSpPr>
                <p:cNvPr id="107" name="Группа 106">
                  <a:extLst>
                    <a:ext uri="{FF2B5EF4-FFF2-40B4-BE49-F238E27FC236}">
                      <a16:creationId xmlns:a16="http://schemas.microsoft.com/office/drawing/2014/main" id="{428810D6-FABF-AB44-90E6-85E3CD7880CC}"/>
                    </a:ext>
                  </a:extLst>
                </p:cNvPr>
                <p:cNvGrpSpPr/>
                <p:nvPr/>
              </p:nvGrpSpPr>
              <p:grpSpPr>
                <a:xfrm>
                  <a:off x="481103" y="919388"/>
                  <a:ext cx="5303616" cy="5498670"/>
                  <a:chOff x="481103" y="919388"/>
                  <a:chExt cx="5303616" cy="5498670"/>
                </a:xfrm>
              </p:grpSpPr>
              <p:sp>
                <p:nvSpPr>
                  <p:cNvPr id="50" name="Полилиния 49">
                    <a:extLst>
                      <a:ext uri="{FF2B5EF4-FFF2-40B4-BE49-F238E27FC236}">
                        <a16:creationId xmlns:a16="http://schemas.microsoft.com/office/drawing/2014/main" id="{6C9CF1B8-91DF-2349-BD2A-E0BEEA661C2C}"/>
                      </a:ext>
                    </a:extLst>
                  </p:cNvPr>
                  <p:cNvSpPr/>
                  <p:nvPr/>
                </p:nvSpPr>
                <p:spPr>
                  <a:xfrm>
                    <a:off x="3084790" y="3702332"/>
                    <a:ext cx="685792" cy="2649392"/>
                  </a:xfrm>
                  <a:custGeom>
                    <a:avLst/>
                    <a:gdLst>
                      <a:gd name="connsiteX0" fmla="*/ 80229 w 685792"/>
                      <a:gd name="connsiteY0" fmla="*/ 0 h 2573643"/>
                      <a:gd name="connsiteX1" fmla="*/ 37840 w 685792"/>
                      <a:gd name="connsiteY1" fmla="*/ 102946 h 2573643"/>
                      <a:gd name="connsiteX2" fmla="*/ 1506 w 685792"/>
                      <a:gd name="connsiteY2" fmla="*/ 181669 h 2573643"/>
                      <a:gd name="connsiteX3" fmla="*/ 7561 w 685792"/>
                      <a:gd name="connsiteY3" fmla="*/ 272503 h 2573643"/>
                      <a:gd name="connsiteX4" fmla="*/ 13617 w 685792"/>
                      <a:gd name="connsiteY4" fmla="*/ 357282 h 2573643"/>
                      <a:gd name="connsiteX5" fmla="*/ 19673 w 685792"/>
                      <a:gd name="connsiteY5" fmla="*/ 557118 h 2573643"/>
                      <a:gd name="connsiteX6" fmla="*/ 31784 w 685792"/>
                      <a:gd name="connsiteY6" fmla="*/ 738787 h 2573643"/>
                      <a:gd name="connsiteX7" fmla="*/ 68118 w 685792"/>
                      <a:gd name="connsiteY7" fmla="*/ 920456 h 2573643"/>
                      <a:gd name="connsiteX8" fmla="*/ 128674 w 685792"/>
                      <a:gd name="connsiteY8" fmla="*/ 1077902 h 2573643"/>
                      <a:gd name="connsiteX9" fmla="*/ 177119 w 685792"/>
                      <a:gd name="connsiteY9" fmla="*/ 1253515 h 2573643"/>
                      <a:gd name="connsiteX10" fmla="*/ 261898 w 685792"/>
                      <a:gd name="connsiteY10" fmla="*/ 1489685 h 2573643"/>
                      <a:gd name="connsiteX11" fmla="*/ 322454 w 685792"/>
                      <a:gd name="connsiteY11" fmla="*/ 1641076 h 2573643"/>
                      <a:gd name="connsiteX12" fmla="*/ 407233 w 685792"/>
                      <a:gd name="connsiteY12" fmla="*/ 1865134 h 2573643"/>
                      <a:gd name="connsiteX13" fmla="*/ 540457 w 685792"/>
                      <a:gd name="connsiteY13" fmla="*/ 2198194 h 2573643"/>
                      <a:gd name="connsiteX14" fmla="*/ 685792 w 685792"/>
                      <a:gd name="connsiteY14" fmla="*/ 2573643 h 2573643"/>
                      <a:gd name="connsiteX0" fmla="*/ 123514 w 685792"/>
                      <a:gd name="connsiteY0" fmla="*/ 0 h 2649392"/>
                      <a:gd name="connsiteX1" fmla="*/ 37840 w 685792"/>
                      <a:gd name="connsiteY1" fmla="*/ 178695 h 2649392"/>
                      <a:gd name="connsiteX2" fmla="*/ 1506 w 685792"/>
                      <a:gd name="connsiteY2" fmla="*/ 257418 h 2649392"/>
                      <a:gd name="connsiteX3" fmla="*/ 7561 w 685792"/>
                      <a:gd name="connsiteY3" fmla="*/ 348252 h 2649392"/>
                      <a:gd name="connsiteX4" fmla="*/ 13617 w 685792"/>
                      <a:gd name="connsiteY4" fmla="*/ 433031 h 2649392"/>
                      <a:gd name="connsiteX5" fmla="*/ 19673 w 685792"/>
                      <a:gd name="connsiteY5" fmla="*/ 632867 h 2649392"/>
                      <a:gd name="connsiteX6" fmla="*/ 31784 w 685792"/>
                      <a:gd name="connsiteY6" fmla="*/ 814536 h 2649392"/>
                      <a:gd name="connsiteX7" fmla="*/ 68118 w 685792"/>
                      <a:gd name="connsiteY7" fmla="*/ 996205 h 2649392"/>
                      <a:gd name="connsiteX8" fmla="*/ 128674 w 685792"/>
                      <a:gd name="connsiteY8" fmla="*/ 1153651 h 2649392"/>
                      <a:gd name="connsiteX9" fmla="*/ 177119 w 685792"/>
                      <a:gd name="connsiteY9" fmla="*/ 1329264 h 2649392"/>
                      <a:gd name="connsiteX10" fmla="*/ 261898 w 685792"/>
                      <a:gd name="connsiteY10" fmla="*/ 1565434 h 2649392"/>
                      <a:gd name="connsiteX11" fmla="*/ 322454 w 685792"/>
                      <a:gd name="connsiteY11" fmla="*/ 1716825 h 2649392"/>
                      <a:gd name="connsiteX12" fmla="*/ 407233 w 685792"/>
                      <a:gd name="connsiteY12" fmla="*/ 1940883 h 2649392"/>
                      <a:gd name="connsiteX13" fmla="*/ 540457 w 685792"/>
                      <a:gd name="connsiteY13" fmla="*/ 2273943 h 2649392"/>
                      <a:gd name="connsiteX14" fmla="*/ 685792 w 685792"/>
                      <a:gd name="connsiteY14" fmla="*/ 2649392 h 2649392"/>
                      <a:gd name="connsiteX0" fmla="*/ 123514 w 685792"/>
                      <a:gd name="connsiteY0" fmla="*/ 0 h 2649392"/>
                      <a:gd name="connsiteX1" fmla="*/ 37840 w 685792"/>
                      <a:gd name="connsiteY1" fmla="*/ 178695 h 2649392"/>
                      <a:gd name="connsiteX2" fmla="*/ 1506 w 685792"/>
                      <a:gd name="connsiteY2" fmla="*/ 257418 h 2649392"/>
                      <a:gd name="connsiteX3" fmla="*/ 7561 w 685792"/>
                      <a:gd name="connsiteY3" fmla="*/ 348252 h 2649392"/>
                      <a:gd name="connsiteX4" fmla="*/ 13617 w 685792"/>
                      <a:gd name="connsiteY4" fmla="*/ 433031 h 2649392"/>
                      <a:gd name="connsiteX5" fmla="*/ 19673 w 685792"/>
                      <a:gd name="connsiteY5" fmla="*/ 632867 h 2649392"/>
                      <a:gd name="connsiteX6" fmla="*/ 31784 w 685792"/>
                      <a:gd name="connsiteY6" fmla="*/ 814536 h 2649392"/>
                      <a:gd name="connsiteX7" fmla="*/ 68118 w 685792"/>
                      <a:gd name="connsiteY7" fmla="*/ 996205 h 2649392"/>
                      <a:gd name="connsiteX8" fmla="*/ 128674 w 685792"/>
                      <a:gd name="connsiteY8" fmla="*/ 1153651 h 2649392"/>
                      <a:gd name="connsiteX9" fmla="*/ 177119 w 685792"/>
                      <a:gd name="connsiteY9" fmla="*/ 1329264 h 2649392"/>
                      <a:gd name="connsiteX10" fmla="*/ 261898 w 685792"/>
                      <a:gd name="connsiteY10" fmla="*/ 1565434 h 2649392"/>
                      <a:gd name="connsiteX11" fmla="*/ 322454 w 685792"/>
                      <a:gd name="connsiteY11" fmla="*/ 1716825 h 2649392"/>
                      <a:gd name="connsiteX12" fmla="*/ 407233 w 685792"/>
                      <a:gd name="connsiteY12" fmla="*/ 1940883 h 2649392"/>
                      <a:gd name="connsiteX13" fmla="*/ 540457 w 685792"/>
                      <a:gd name="connsiteY13" fmla="*/ 2273943 h 2649392"/>
                      <a:gd name="connsiteX14" fmla="*/ 685792 w 685792"/>
                      <a:gd name="connsiteY14" fmla="*/ 2649392 h 26493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685792" h="2649392">
                        <a:moveTo>
                          <a:pt x="123514" y="0"/>
                        </a:moveTo>
                        <a:cubicBezTo>
                          <a:pt x="108880" y="117494"/>
                          <a:pt x="58175" y="135792"/>
                          <a:pt x="37840" y="178695"/>
                        </a:cubicBezTo>
                        <a:cubicBezTo>
                          <a:pt x="17505" y="221598"/>
                          <a:pt x="6552" y="229159"/>
                          <a:pt x="1506" y="257418"/>
                        </a:cubicBezTo>
                        <a:cubicBezTo>
                          <a:pt x="-3540" y="285677"/>
                          <a:pt x="5543" y="318983"/>
                          <a:pt x="7561" y="348252"/>
                        </a:cubicBezTo>
                        <a:cubicBezTo>
                          <a:pt x="9579" y="377521"/>
                          <a:pt x="11598" y="385595"/>
                          <a:pt x="13617" y="433031"/>
                        </a:cubicBezTo>
                        <a:cubicBezTo>
                          <a:pt x="15636" y="480467"/>
                          <a:pt x="16645" y="569283"/>
                          <a:pt x="19673" y="632867"/>
                        </a:cubicBezTo>
                        <a:cubicBezTo>
                          <a:pt x="22701" y="696451"/>
                          <a:pt x="23710" y="753980"/>
                          <a:pt x="31784" y="814536"/>
                        </a:cubicBezTo>
                        <a:cubicBezTo>
                          <a:pt x="39858" y="875092"/>
                          <a:pt x="51970" y="939686"/>
                          <a:pt x="68118" y="996205"/>
                        </a:cubicBezTo>
                        <a:cubicBezTo>
                          <a:pt x="84266" y="1052724"/>
                          <a:pt x="110507" y="1098141"/>
                          <a:pt x="128674" y="1153651"/>
                        </a:cubicBezTo>
                        <a:cubicBezTo>
                          <a:pt x="146841" y="1209161"/>
                          <a:pt x="154915" y="1260634"/>
                          <a:pt x="177119" y="1329264"/>
                        </a:cubicBezTo>
                        <a:cubicBezTo>
                          <a:pt x="199323" y="1397894"/>
                          <a:pt x="237676" y="1500841"/>
                          <a:pt x="261898" y="1565434"/>
                        </a:cubicBezTo>
                        <a:cubicBezTo>
                          <a:pt x="286121" y="1630028"/>
                          <a:pt x="298232" y="1654250"/>
                          <a:pt x="322454" y="1716825"/>
                        </a:cubicBezTo>
                        <a:cubicBezTo>
                          <a:pt x="346676" y="1779400"/>
                          <a:pt x="370899" y="1848030"/>
                          <a:pt x="407233" y="1940883"/>
                        </a:cubicBezTo>
                        <a:cubicBezTo>
                          <a:pt x="443567" y="2033736"/>
                          <a:pt x="494031" y="2155858"/>
                          <a:pt x="540457" y="2273943"/>
                        </a:cubicBezTo>
                        <a:cubicBezTo>
                          <a:pt x="586883" y="2392028"/>
                          <a:pt x="636337" y="2520710"/>
                          <a:pt x="685792" y="2649392"/>
                        </a:cubicBezTo>
                      </a:path>
                    </a:pathLst>
                  </a:custGeom>
                  <a:noFill/>
                  <a:ln w="38100">
                    <a:solidFill>
                      <a:srgbClr val="5FAE87"/>
                    </a:solidFill>
                    <a:headEnd type="oval" w="med" len="med"/>
                    <a:tailEnd type="oval" w="med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ru-RU"/>
                  </a:p>
                </p:txBody>
              </p:sp>
              <p:grpSp>
                <p:nvGrpSpPr>
                  <p:cNvPr id="105" name="Группа 104">
                    <a:extLst>
                      <a:ext uri="{FF2B5EF4-FFF2-40B4-BE49-F238E27FC236}">
                        <a16:creationId xmlns:a16="http://schemas.microsoft.com/office/drawing/2014/main" id="{0CB252D4-F3A4-074F-A0AA-89D6F7336B2D}"/>
                      </a:ext>
                    </a:extLst>
                  </p:cNvPr>
                  <p:cNvGrpSpPr/>
                  <p:nvPr/>
                </p:nvGrpSpPr>
                <p:grpSpPr>
                  <a:xfrm>
                    <a:off x="813962" y="3765647"/>
                    <a:ext cx="899116" cy="393213"/>
                    <a:chOff x="813962" y="3765647"/>
                    <a:chExt cx="899116" cy="393213"/>
                  </a:xfrm>
                </p:grpSpPr>
                <p:sp>
                  <p:nvSpPr>
                    <p:cNvPr id="11" name="TextBox 10">
                      <a:extLst>
                        <a:ext uri="{FF2B5EF4-FFF2-40B4-BE49-F238E27FC236}">
                          <a16:creationId xmlns:a16="http://schemas.microsoft.com/office/drawing/2014/main" id="{7FDE1EBB-CC57-4343-9EE9-AB11BE17881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13962" y="3824143"/>
                      <a:ext cx="899116" cy="33471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ru-RU" sz="1400" dirty="0">
                          <a:latin typeface="+mj-lt"/>
                        </a:rPr>
                        <a:t>Одинцово</a:t>
                      </a:r>
                    </a:p>
                  </p:txBody>
                </p:sp>
                <p:pic>
                  <p:nvPicPr>
                    <p:cNvPr id="57" name="Рисунок 56">
                      <a:extLst>
                        <a:ext uri="{FF2B5EF4-FFF2-40B4-BE49-F238E27FC236}">
                          <a16:creationId xmlns:a16="http://schemas.microsoft.com/office/drawing/2014/main" id="{B64CBF6A-12FC-E34E-B8E0-26D4A63C946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3" cstate="hq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3257" t="17968" r="78578" b="36014"/>
                    <a:stretch/>
                  </p:blipFill>
                  <p:spPr>
                    <a:xfrm>
                      <a:off x="1449500" y="3765647"/>
                      <a:ext cx="246925" cy="139729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06" name="Группа 105">
                    <a:extLst>
                      <a:ext uri="{FF2B5EF4-FFF2-40B4-BE49-F238E27FC236}">
                        <a16:creationId xmlns:a16="http://schemas.microsoft.com/office/drawing/2014/main" id="{142B705A-7D3D-354E-8A68-16CD2B7E652F}"/>
                      </a:ext>
                    </a:extLst>
                  </p:cNvPr>
                  <p:cNvGrpSpPr/>
                  <p:nvPr/>
                </p:nvGrpSpPr>
                <p:grpSpPr>
                  <a:xfrm>
                    <a:off x="481103" y="2748041"/>
                    <a:ext cx="865938" cy="393933"/>
                    <a:chOff x="481103" y="2748041"/>
                    <a:chExt cx="865938" cy="393933"/>
                  </a:xfrm>
                </p:grpSpPr>
                <p:sp>
                  <p:nvSpPr>
                    <p:cNvPr id="10" name="TextBox 9">
                      <a:extLst>
                        <a:ext uri="{FF2B5EF4-FFF2-40B4-BE49-F238E27FC236}">
                          <a16:creationId xmlns:a16="http://schemas.microsoft.com/office/drawing/2014/main" id="{EE2FA134-34B0-A54E-89D6-41CF6188244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81103" y="2807257"/>
                      <a:ext cx="865938" cy="33471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ru-RU" sz="1400" dirty="0">
                          <a:latin typeface="+mj-lt"/>
                        </a:rPr>
                        <a:t>Нахабино</a:t>
                      </a:r>
                    </a:p>
                  </p:txBody>
                </p:sp>
                <p:pic>
                  <p:nvPicPr>
                    <p:cNvPr id="58" name="Рисунок 57">
                      <a:extLst>
                        <a:ext uri="{FF2B5EF4-FFF2-40B4-BE49-F238E27FC236}">
                          <a16:creationId xmlns:a16="http://schemas.microsoft.com/office/drawing/2014/main" id="{49EBAF65-3F75-484B-B839-36359DC6AC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3" cstate="hq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22281" t="17968" r="59554" b="36014"/>
                    <a:stretch/>
                  </p:blipFill>
                  <p:spPr>
                    <a:xfrm>
                      <a:off x="1062192" y="2748041"/>
                      <a:ext cx="246925" cy="143260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04" name="Группа 103">
                    <a:extLst>
                      <a:ext uri="{FF2B5EF4-FFF2-40B4-BE49-F238E27FC236}">
                        <a16:creationId xmlns:a16="http://schemas.microsoft.com/office/drawing/2014/main" id="{138AB630-71F0-E84C-9716-4D6AABEBC5E2}"/>
                      </a:ext>
                    </a:extLst>
                  </p:cNvPr>
                  <p:cNvGrpSpPr/>
                  <p:nvPr/>
                </p:nvGrpSpPr>
                <p:grpSpPr>
                  <a:xfrm>
                    <a:off x="641085" y="5199761"/>
                    <a:ext cx="927768" cy="393933"/>
                    <a:chOff x="641085" y="5199761"/>
                    <a:chExt cx="927768" cy="393933"/>
                  </a:xfrm>
                </p:grpSpPr>
                <p:sp>
                  <p:nvSpPr>
                    <p:cNvPr id="8" name="TextBox 7">
                      <a:extLst>
                        <a:ext uri="{FF2B5EF4-FFF2-40B4-BE49-F238E27FC236}">
                          <a16:creationId xmlns:a16="http://schemas.microsoft.com/office/drawing/2014/main" id="{A3D3B0C0-44B2-8147-81B1-E583B98E014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41085" y="5199761"/>
                      <a:ext cx="927768" cy="33471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ru-RU" sz="1400" dirty="0">
                          <a:latin typeface="+mj-lt"/>
                        </a:rPr>
                        <a:t>Апрелевка</a:t>
                      </a:r>
                    </a:p>
                  </p:txBody>
                </p:sp>
                <p:pic>
                  <p:nvPicPr>
                    <p:cNvPr id="62" name="Рисунок 61">
                      <a:extLst>
                        <a:ext uri="{FF2B5EF4-FFF2-40B4-BE49-F238E27FC236}">
                          <a16:creationId xmlns:a16="http://schemas.microsoft.com/office/drawing/2014/main" id="{6D0A33EB-8C44-054C-865E-4A857E5DA84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3" cstate="hq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59609" t="17968" r="22226" b="36014"/>
                    <a:stretch/>
                  </p:blipFill>
                  <p:spPr>
                    <a:xfrm>
                      <a:off x="726730" y="5458748"/>
                      <a:ext cx="246925" cy="134946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76" name="Группа 75">
                    <a:extLst>
                      <a:ext uri="{FF2B5EF4-FFF2-40B4-BE49-F238E27FC236}">
                        <a16:creationId xmlns:a16="http://schemas.microsoft.com/office/drawing/2014/main" id="{FA533340-D698-6F44-BBC8-9B237E26F89C}"/>
                      </a:ext>
                    </a:extLst>
                  </p:cNvPr>
                  <p:cNvGrpSpPr/>
                  <p:nvPr/>
                </p:nvGrpSpPr>
                <p:grpSpPr>
                  <a:xfrm>
                    <a:off x="3798338" y="6039065"/>
                    <a:ext cx="1303923" cy="378993"/>
                    <a:chOff x="3798338" y="6039065"/>
                    <a:chExt cx="1303923" cy="378993"/>
                  </a:xfrm>
                </p:grpSpPr>
                <p:sp>
                  <p:nvSpPr>
                    <p:cNvPr id="51" name="TextBox 50">
                      <a:extLst>
                        <a:ext uri="{FF2B5EF4-FFF2-40B4-BE49-F238E27FC236}">
                          <a16:creationId xmlns:a16="http://schemas.microsoft.com/office/drawing/2014/main" id="{F3D61AE9-1FAE-844B-8E02-4751CADA7A6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798338" y="6039065"/>
                      <a:ext cx="1303923" cy="215571"/>
                    </a:xfrm>
                    <a:prstGeom prst="rect">
                      <a:avLst/>
                    </a:prstGeom>
                    <a:solidFill>
                      <a:schemeClr val="bg1">
                        <a:alpha val="58000"/>
                      </a:schemeClr>
                    </a:solidFill>
                  </p:spPr>
                  <p:txBody>
                    <a:bodyPr wrap="square" rtlCol="0">
                      <a:spAutoFit/>
                    </a:bodyPr>
                    <a:lstStyle/>
                    <a:p>
                      <a:pPr>
                        <a:lnSpc>
                          <a:spcPct val="75000"/>
                        </a:lnSpc>
                      </a:pPr>
                      <a:r>
                        <a:rPr lang="ru-RU" sz="1400" dirty="0">
                          <a:latin typeface="+mj-lt"/>
                        </a:rPr>
                        <a:t>Домодедово</a:t>
                      </a:r>
                    </a:p>
                  </p:txBody>
                </p:sp>
                <p:pic>
                  <p:nvPicPr>
                    <p:cNvPr id="66" name="Рисунок 65">
                      <a:extLst>
                        <a:ext uri="{FF2B5EF4-FFF2-40B4-BE49-F238E27FC236}">
                          <a16:creationId xmlns:a16="http://schemas.microsoft.com/office/drawing/2014/main" id="{9DA2F4EE-7574-8745-AA76-58FD5960FBD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3" cstate="hq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78703" t="17968" r="3132" b="36014"/>
                    <a:stretch/>
                  </p:blipFill>
                  <p:spPr>
                    <a:xfrm>
                      <a:off x="3870682" y="6274387"/>
                      <a:ext cx="246925" cy="143671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34" name="Полилиния 33">
                    <a:extLst>
                      <a:ext uri="{FF2B5EF4-FFF2-40B4-BE49-F238E27FC236}">
                        <a16:creationId xmlns:a16="http://schemas.microsoft.com/office/drawing/2014/main" id="{36F155E2-2CEF-3148-BD34-B9D8EF73E157}"/>
                      </a:ext>
                    </a:extLst>
                  </p:cNvPr>
                  <p:cNvSpPr/>
                  <p:nvPr/>
                </p:nvSpPr>
                <p:spPr>
                  <a:xfrm>
                    <a:off x="644321" y="3013363"/>
                    <a:ext cx="4197553" cy="2295261"/>
                  </a:xfrm>
                  <a:custGeom>
                    <a:avLst/>
                    <a:gdLst>
                      <a:gd name="connsiteX0" fmla="*/ 0 w 4454193"/>
                      <a:gd name="connsiteY0" fmla="*/ 2110523 h 2110523"/>
                      <a:gd name="connsiteX1" fmla="*/ 151465 w 4454193"/>
                      <a:gd name="connsiteY1" fmla="*/ 2015156 h 2110523"/>
                      <a:gd name="connsiteX2" fmla="*/ 230002 w 4454193"/>
                      <a:gd name="connsiteY2" fmla="*/ 1858082 h 2110523"/>
                      <a:gd name="connsiteX3" fmla="*/ 403906 w 4454193"/>
                      <a:gd name="connsiteY3" fmla="*/ 1801983 h 2110523"/>
                      <a:gd name="connsiteX4" fmla="*/ 460004 w 4454193"/>
                      <a:gd name="connsiteY4" fmla="*/ 1717836 h 2110523"/>
                      <a:gd name="connsiteX5" fmla="*/ 729276 w 4454193"/>
                      <a:gd name="connsiteY5" fmla="*/ 1471004 h 2110523"/>
                      <a:gd name="connsiteX6" fmla="*/ 835862 w 4454193"/>
                      <a:gd name="connsiteY6" fmla="*/ 1313929 h 2110523"/>
                      <a:gd name="connsiteX7" fmla="*/ 1138792 w 4454193"/>
                      <a:gd name="connsiteY7" fmla="*/ 1274661 h 2110523"/>
                      <a:gd name="connsiteX8" fmla="*/ 1284647 w 4454193"/>
                      <a:gd name="connsiteY8" fmla="*/ 1269051 h 2110523"/>
                      <a:gd name="connsiteX9" fmla="*/ 1363185 w 4454193"/>
                      <a:gd name="connsiteY9" fmla="*/ 1207343 h 2110523"/>
                      <a:gd name="connsiteX10" fmla="*/ 1514650 w 4454193"/>
                      <a:gd name="connsiteY10" fmla="*/ 1201733 h 2110523"/>
                      <a:gd name="connsiteX11" fmla="*/ 1739042 w 4454193"/>
                      <a:gd name="connsiteY11" fmla="*/ 1078317 h 2110523"/>
                      <a:gd name="connsiteX12" fmla="*/ 1963435 w 4454193"/>
                      <a:gd name="connsiteY12" fmla="*/ 803436 h 2110523"/>
                      <a:gd name="connsiteX13" fmla="*/ 2013923 w 4454193"/>
                      <a:gd name="connsiteY13" fmla="*/ 764168 h 2110523"/>
                      <a:gd name="connsiteX14" fmla="*/ 2036363 w 4454193"/>
                      <a:gd name="connsiteY14" fmla="*/ 651971 h 2110523"/>
                      <a:gd name="connsiteX15" fmla="*/ 2176608 w 4454193"/>
                      <a:gd name="connsiteY15" fmla="*/ 545385 h 2110523"/>
                      <a:gd name="connsiteX16" fmla="*/ 2210267 w 4454193"/>
                      <a:gd name="connsiteY16" fmla="*/ 506116 h 2110523"/>
                      <a:gd name="connsiteX17" fmla="*/ 2199047 w 4454193"/>
                      <a:gd name="connsiteY17" fmla="*/ 416359 h 2110523"/>
                      <a:gd name="connsiteX18" fmla="*/ 2221487 w 4454193"/>
                      <a:gd name="connsiteY18" fmla="*/ 326602 h 2110523"/>
                      <a:gd name="connsiteX19" fmla="*/ 2232706 w 4454193"/>
                      <a:gd name="connsiteY19" fmla="*/ 259284 h 2110523"/>
                      <a:gd name="connsiteX20" fmla="*/ 2266365 w 4454193"/>
                      <a:gd name="connsiteY20" fmla="*/ 231235 h 2110523"/>
                      <a:gd name="connsiteX21" fmla="*/ 2384171 w 4454193"/>
                      <a:gd name="connsiteY21" fmla="*/ 214406 h 2110523"/>
                      <a:gd name="connsiteX22" fmla="*/ 2440269 w 4454193"/>
                      <a:gd name="connsiteY22" fmla="*/ 186356 h 2110523"/>
                      <a:gd name="connsiteX23" fmla="*/ 2462709 w 4454193"/>
                      <a:gd name="connsiteY23" fmla="*/ 158307 h 2110523"/>
                      <a:gd name="connsiteX24" fmla="*/ 2479538 w 4454193"/>
                      <a:gd name="connsiteY24" fmla="*/ 68550 h 2110523"/>
                      <a:gd name="connsiteX25" fmla="*/ 2490758 w 4454193"/>
                      <a:gd name="connsiteY25" fmla="*/ 23672 h 2110523"/>
                      <a:gd name="connsiteX26" fmla="*/ 2546856 w 4454193"/>
                      <a:gd name="connsiteY26" fmla="*/ 6842 h 2110523"/>
                      <a:gd name="connsiteX27" fmla="*/ 2636613 w 4454193"/>
                      <a:gd name="connsiteY27" fmla="*/ 1233 h 2110523"/>
                      <a:gd name="connsiteX28" fmla="*/ 2687101 w 4454193"/>
                      <a:gd name="connsiteY28" fmla="*/ 29282 h 2110523"/>
                      <a:gd name="connsiteX29" fmla="*/ 2743200 w 4454193"/>
                      <a:gd name="connsiteY29" fmla="*/ 163917 h 2110523"/>
                      <a:gd name="connsiteX30" fmla="*/ 2782468 w 4454193"/>
                      <a:gd name="connsiteY30" fmla="*/ 309772 h 2110523"/>
                      <a:gd name="connsiteX31" fmla="*/ 2788078 w 4454193"/>
                      <a:gd name="connsiteY31" fmla="*/ 377090 h 2110523"/>
                      <a:gd name="connsiteX32" fmla="*/ 2816127 w 4454193"/>
                      <a:gd name="connsiteY32" fmla="*/ 405139 h 2110523"/>
                      <a:gd name="connsiteX33" fmla="*/ 2922714 w 4454193"/>
                      <a:gd name="connsiteY33" fmla="*/ 461237 h 2110523"/>
                      <a:gd name="connsiteX34" fmla="*/ 2956373 w 4454193"/>
                      <a:gd name="connsiteY34" fmla="*/ 517336 h 2110523"/>
                      <a:gd name="connsiteX35" fmla="*/ 3135887 w 4454193"/>
                      <a:gd name="connsiteY35" fmla="*/ 562214 h 2110523"/>
                      <a:gd name="connsiteX36" fmla="*/ 3276132 w 4454193"/>
                      <a:gd name="connsiteY36" fmla="*/ 556604 h 2110523"/>
                      <a:gd name="connsiteX37" fmla="*/ 3876382 w 4454193"/>
                      <a:gd name="connsiteY37" fmla="*/ 337822 h 2110523"/>
                      <a:gd name="connsiteX38" fmla="*/ 4156873 w 4454193"/>
                      <a:gd name="connsiteY38" fmla="*/ 382700 h 2110523"/>
                      <a:gd name="connsiteX39" fmla="*/ 4454193 w 4454193"/>
                      <a:gd name="connsiteY39" fmla="*/ 393920 h 2110523"/>
                      <a:gd name="connsiteX0" fmla="*/ 0 w 4454193"/>
                      <a:gd name="connsiteY0" fmla="*/ 2110523 h 2110523"/>
                      <a:gd name="connsiteX1" fmla="*/ 151465 w 4454193"/>
                      <a:gd name="connsiteY1" fmla="*/ 2015156 h 2110523"/>
                      <a:gd name="connsiteX2" fmla="*/ 230002 w 4454193"/>
                      <a:gd name="connsiteY2" fmla="*/ 1858082 h 2110523"/>
                      <a:gd name="connsiteX3" fmla="*/ 403906 w 4454193"/>
                      <a:gd name="connsiteY3" fmla="*/ 1801983 h 2110523"/>
                      <a:gd name="connsiteX4" fmla="*/ 460004 w 4454193"/>
                      <a:gd name="connsiteY4" fmla="*/ 1717836 h 2110523"/>
                      <a:gd name="connsiteX5" fmla="*/ 729276 w 4454193"/>
                      <a:gd name="connsiteY5" fmla="*/ 1471004 h 2110523"/>
                      <a:gd name="connsiteX6" fmla="*/ 835862 w 4454193"/>
                      <a:gd name="connsiteY6" fmla="*/ 1313929 h 2110523"/>
                      <a:gd name="connsiteX7" fmla="*/ 1138792 w 4454193"/>
                      <a:gd name="connsiteY7" fmla="*/ 1274661 h 2110523"/>
                      <a:gd name="connsiteX8" fmla="*/ 1284647 w 4454193"/>
                      <a:gd name="connsiteY8" fmla="*/ 1269051 h 2110523"/>
                      <a:gd name="connsiteX9" fmla="*/ 1363185 w 4454193"/>
                      <a:gd name="connsiteY9" fmla="*/ 1207343 h 2110523"/>
                      <a:gd name="connsiteX10" fmla="*/ 1514650 w 4454193"/>
                      <a:gd name="connsiteY10" fmla="*/ 1201733 h 2110523"/>
                      <a:gd name="connsiteX11" fmla="*/ 1739042 w 4454193"/>
                      <a:gd name="connsiteY11" fmla="*/ 1078317 h 2110523"/>
                      <a:gd name="connsiteX12" fmla="*/ 1963435 w 4454193"/>
                      <a:gd name="connsiteY12" fmla="*/ 803436 h 2110523"/>
                      <a:gd name="connsiteX13" fmla="*/ 2013923 w 4454193"/>
                      <a:gd name="connsiteY13" fmla="*/ 764168 h 2110523"/>
                      <a:gd name="connsiteX14" fmla="*/ 2036363 w 4454193"/>
                      <a:gd name="connsiteY14" fmla="*/ 651971 h 2110523"/>
                      <a:gd name="connsiteX15" fmla="*/ 2176608 w 4454193"/>
                      <a:gd name="connsiteY15" fmla="*/ 545385 h 2110523"/>
                      <a:gd name="connsiteX16" fmla="*/ 2210267 w 4454193"/>
                      <a:gd name="connsiteY16" fmla="*/ 506116 h 2110523"/>
                      <a:gd name="connsiteX17" fmla="*/ 2199047 w 4454193"/>
                      <a:gd name="connsiteY17" fmla="*/ 416359 h 2110523"/>
                      <a:gd name="connsiteX18" fmla="*/ 2221487 w 4454193"/>
                      <a:gd name="connsiteY18" fmla="*/ 326602 h 2110523"/>
                      <a:gd name="connsiteX19" fmla="*/ 2232706 w 4454193"/>
                      <a:gd name="connsiteY19" fmla="*/ 259284 h 2110523"/>
                      <a:gd name="connsiteX20" fmla="*/ 2266365 w 4454193"/>
                      <a:gd name="connsiteY20" fmla="*/ 231235 h 2110523"/>
                      <a:gd name="connsiteX21" fmla="*/ 2384171 w 4454193"/>
                      <a:gd name="connsiteY21" fmla="*/ 214406 h 2110523"/>
                      <a:gd name="connsiteX22" fmla="*/ 2440269 w 4454193"/>
                      <a:gd name="connsiteY22" fmla="*/ 186356 h 2110523"/>
                      <a:gd name="connsiteX23" fmla="*/ 2462709 w 4454193"/>
                      <a:gd name="connsiteY23" fmla="*/ 158307 h 2110523"/>
                      <a:gd name="connsiteX24" fmla="*/ 2479538 w 4454193"/>
                      <a:gd name="connsiteY24" fmla="*/ 68550 h 2110523"/>
                      <a:gd name="connsiteX25" fmla="*/ 2490758 w 4454193"/>
                      <a:gd name="connsiteY25" fmla="*/ 23672 h 2110523"/>
                      <a:gd name="connsiteX26" fmla="*/ 2546856 w 4454193"/>
                      <a:gd name="connsiteY26" fmla="*/ 6842 h 2110523"/>
                      <a:gd name="connsiteX27" fmla="*/ 2636613 w 4454193"/>
                      <a:gd name="connsiteY27" fmla="*/ 1233 h 2110523"/>
                      <a:gd name="connsiteX28" fmla="*/ 2687101 w 4454193"/>
                      <a:gd name="connsiteY28" fmla="*/ 29282 h 2110523"/>
                      <a:gd name="connsiteX29" fmla="*/ 2743200 w 4454193"/>
                      <a:gd name="connsiteY29" fmla="*/ 163917 h 2110523"/>
                      <a:gd name="connsiteX30" fmla="*/ 2782468 w 4454193"/>
                      <a:gd name="connsiteY30" fmla="*/ 309772 h 2110523"/>
                      <a:gd name="connsiteX31" fmla="*/ 2788078 w 4454193"/>
                      <a:gd name="connsiteY31" fmla="*/ 377090 h 2110523"/>
                      <a:gd name="connsiteX32" fmla="*/ 2816127 w 4454193"/>
                      <a:gd name="connsiteY32" fmla="*/ 405139 h 2110523"/>
                      <a:gd name="connsiteX33" fmla="*/ 2922714 w 4454193"/>
                      <a:gd name="connsiteY33" fmla="*/ 461237 h 2110523"/>
                      <a:gd name="connsiteX34" fmla="*/ 2956373 w 4454193"/>
                      <a:gd name="connsiteY34" fmla="*/ 517336 h 2110523"/>
                      <a:gd name="connsiteX35" fmla="*/ 3135887 w 4454193"/>
                      <a:gd name="connsiteY35" fmla="*/ 562214 h 2110523"/>
                      <a:gd name="connsiteX36" fmla="*/ 3276132 w 4454193"/>
                      <a:gd name="connsiteY36" fmla="*/ 556604 h 2110523"/>
                      <a:gd name="connsiteX37" fmla="*/ 3876382 w 4454193"/>
                      <a:gd name="connsiteY37" fmla="*/ 337822 h 2110523"/>
                      <a:gd name="connsiteX38" fmla="*/ 4050334 w 4454193"/>
                      <a:gd name="connsiteY38" fmla="*/ 374523 h 2110523"/>
                      <a:gd name="connsiteX39" fmla="*/ 4156873 w 4454193"/>
                      <a:gd name="connsiteY39" fmla="*/ 382700 h 2110523"/>
                      <a:gd name="connsiteX40" fmla="*/ 4454193 w 4454193"/>
                      <a:gd name="connsiteY40" fmla="*/ 393920 h 2110523"/>
                      <a:gd name="connsiteX0" fmla="*/ 0 w 4438695"/>
                      <a:gd name="connsiteY0" fmla="*/ 2110523 h 2110523"/>
                      <a:gd name="connsiteX1" fmla="*/ 151465 w 4438695"/>
                      <a:gd name="connsiteY1" fmla="*/ 2015156 h 2110523"/>
                      <a:gd name="connsiteX2" fmla="*/ 230002 w 4438695"/>
                      <a:gd name="connsiteY2" fmla="*/ 1858082 h 2110523"/>
                      <a:gd name="connsiteX3" fmla="*/ 403906 w 4438695"/>
                      <a:gd name="connsiteY3" fmla="*/ 1801983 h 2110523"/>
                      <a:gd name="connsiteX4" fmla="*/ 460004 w 4438695"/>
                      <a:gd name="connsiteY4" fmla="*/ 1717836 h 2110523"/>
                      <a:gd name="connsiteX5" fmla="*/ 729276 w 4438695"/>
                      <a:gd name="connsiteY5" fmla="*/ 1471004 h 2110523"/>
                      <a:gd name="connsiteX6" fmla="*/ 835862 w 4438695"/>
                      <a:gd name="connsiteY6" fmla="*/ 1313929 h 2110523"/>
                      <a:gd name="connsiteX7" fmla="*/ 1138792 w 4438695"/>
                      <a:gd name="connsiteY7" fmla="*/ 1274661 h 2110523"/>
                      <a:gd name="connsiteX8" fmla="*/ 1284647 w 4438695"/>
                      <a:gd name="connsiteY8" fmla="*/ 1269051 h 2110523"/>
                      <a:gd name="connsiteX9" fmla="*/ 1363185 w 4438695"/>
                      <a:gd name="connsiteY9" fmla="*/ 1207343 h 2110523"/>
                      <a:gd name="connsiteX10" fmla="*/ 1514650 w 4438695"/>
                      <a:gd name="connsiteY10" fmla="*/ 1201733 h 2110523"/>
                      <a:gd name="connsiteX11" fmla="*/ 1739042 w 4438695"/>
                      <a:gd name="connsiteY11" fmla="*/ 1078317 h 2110523"/>
                      <a:gd name="connsiteX12" fmla="*/ 1963435 w 4438695"/>
                      <a:gd name="connsiteY12" fmla="*/ 803436 h 2110523"/>
                      <a:gd name="connsiteX13" fmla="*/ 2013923 w 4438695"/>
                      <a:gd name="connsiteY13" fmla="*/ 764168 h 2110523"/>
                      <a:gd name="connsiteX14" fmla="*/ 2036363 w 4438695"/>
                      <a:gd name="connsiteY14" fmla="*/ 651971 h 2110523"/>
                      <a:gd name="connsiteX15" fmla="*/ 2176608 w 4438695"/>
                      <a:gd name="connsiteY15" fmla="*/ 545385 h 2110523"/>
                      <a:gd name="connsiteX16" fmla="*/ 2210267 w 4438695"/>
                      <a:gd name="connsiteY16" fmla="*/ 506116 h 2110523"/>
                      <a:gd name="connsiteX17" fmla="*/ 2199047 w 4438695"/>
                      <a:gd name="connsiteY17" fmla="*/ 416359 h 2110523"/>
                      <a:gd name="connsiteX18" fmla="*/ 2221487 w 4438695"/>
                      <a:gd name="connsiteY18" fmla="*/ 326602 h 2110523"/>
                      <a:gd name="connsiteX19" fmla="*/ 2232706 w 4438695"/>
                      <a:gd name="connsiteY19" fmla="*/ 259284 h 2110523"/>
                      <a:gd name="connsiteX20" fmla="*/ 2266365 w 4438695"/>
                      <a:gd name="connsiteY20" fmla="*/ 231235 h 2110523"/>
                      <a:gd name="connsiteX21" fmla="*/ 2384171 w 4438695"/>
                      <a:gd name="connsiteY21" fmla="*/ 214406 h 2110523"/>
                      <a:gd name="connsiteX22" fmla="*/ 2440269 w 4438695"/>
                      <a:gd name="connsiteY22" fmla="*/ 186356 h 2110523"/>
                      <a:gd name="connsiteX23" fmla="*/ 2462709 w 4438695"/>
                      <a:gd name="connsiteY23" fmla="*/ 158307 h 2110523"/>
                      <a:gd name="connsiteX24" fmla="*/ 2479538 w 4438695"/>
                      <a:gd name="connsiteY24" fmla="*/ 68550 h 2110523"/>
                      <a:gd name="connsiteX25" fmla="*/ 2490758 w 4438695"/>
                      <a:gd name="connsiteY25" fmla="*/ 23672 h 2110523"/>
                      <a:gd name="connsiteX26" fmla="*/ 2546856 w 4438695"/>
                      <a:gd name="connsiteY26" fmla="*/ 6842 h 2110523"/>
                      <a:gd name="connsiteX27" fmla="*/ 2636613 w 4438695"/>
                      <a:gd name="connsiteY27" fmla="*/ 1233 h 2110523"/>
                      <a:gd name="connsiteX28" fmla="*/ 2687101 w 4438695"/>
                      <a:gd name="connsiteY28" fmla="*/ 29282 h 2110523"/>
                      <a:gd name="connsiteX29" fmla="*/ 2743200 w 4438695"/>
                      <a:gd name="connsiteY29" fmla="*/ 163917 h 2110523"/>
                      <a:gd name="connsiteX30" fmla="*/ 2782468 w 4438695"/>
                      <a:gd name="connsiteY30" fmla="*/ 309772 h 2110523"/>
                      <a:gd name="connsiteX31" fmla="*/ 2788078 w 4438695"/>
                      <a:gd name="connsiteY31" fmla="*/ 377090 h 2110523"/>
                      <a:gd name="connsiteX32" fmla="*/ 2816127 w 4438695"/>
                      <a:gd name="connsiteY32" fmla="*/ 405139 h 2110523"/>
                      <a:gd name="connsiteX33" fmla="*/ 2922714 w 4438695"/>
                      <a:gd name="connsiteY33" fmla="*/ 461237 h 2110523"/>
                      <a:gd name="connsiteX34" fmla="*/ 2956373 w 4438695"/>
                      <a:gd name="connsiteY34" fmla="*/ 517336 h 2110523"/>
                      <a:gd name="connsiteX35" fmla="*/ 3135887 w 4438695"/>
                      <a:gd name="connsiteY35" fmla="*/ 562214 h 2110523"/>
                      <a:gd name="connsiteX36" fmla="*/ 3276132 w 4438695"/>
                      <a:gd name="connsiteY36" fmla="*/ 556604 h 2110523"/>
                      <a:gd name="connsiteX37" fmla="*/ 3876382 w 4438695"/>
                      <a:gd name="connsiteY37" fmla="*/ 337822 h 2110523"/>
                      <a:gd name="connsiteX38" fmla="*/ 4050334 w 4438695"/>
                      <a:gd name="connsiteY38" fmla="*/ 374523 h 2110523"/>
                      <a:gd name="connsiteX39" fmla="*/ 4156873 w 4438695"/>
                      <a:gd name="connsiteY39" fmla="*/ 382700 h 2110523"/>
                      <a:gd name="connsiteX40" fmla="*/ 4438695 w 4438695"/>
                      <a:gd name="connsiteY40" fmla="*/ 324178 h 2110523"/>
                      <a:gd name="connsiteX0" fmla="*/ 0 w 4438695"/>
                      <a:gd name="connsiteY0" fmla="*/ 2110523 h 2110523"/>
                      <a:gd name="connsiteX1" fmla="*/ 151465 w 4438695"/>
                      <a:gd name="connsiteY1" fmla="*/ 2015156 h 2110523"/>
                      <a:gd name="connsiteX2" fmla="*/ 230002 w 4438695"/>
                      <a:gd name="connsiteY2" fmla="*/ 1858082 h 2110523"/>
                      <a:gd name="connsiteX3" fmla="*/ 403906 w 4438695"/>
                      <a:gd name="connsiteY3" fmla="*/ 1801983 h 2110523"/>
                      <a:gd name="connsiteX4" fmla="*/ 460004 w 4438695"/>
                      <a:gd name="connsiteY4" fmla="*/ 1717836 h 2110523"/>
                      <a:gd name="connsiteX5" fmla="*/ 729276 w 4438695"/>
                      <a:gd name="connsiteY5" fmla="*/ 1471004 h 2110523"/>
                      <a:gd name="connsiteX6" fmla="*/ 835862 w 4438695"/>
                      <a:gd name="connsiteY6" fmla="*/ 1313929 h 2110523"/>
                      <a:gd name="connsiteX7" fmla="*/ 1138792 w 4438695"/>
                      <a:gd name="connsiteY7" fmla="*/ 1274661 h 2110523"/>
                      <a:gd name="connsiteX8" fmla="*/ 1284647 w 4438695"/>
                      <a:gd name="connsiteY8" fmla="*/ 1269051 h 2110523"/>
                      <a:gd name="connsiteX9" fmla="*/ 1363185 w 4438695"/>
                      <a:gd name="connsiteY9" fmla="*/ 1207343 h 2110523"/>
                      <a:gd name="connsiteX10" fmla="*/ 1514650 w 4438695"/>
                      <a:gd name="connsiteY10" fmla="*/ 1201733 h 2110523"/>
                      <a:gd name="connsiteX11" fmla="*/ 1739042 w 4438695"/>
                      <a:gd name="connsiteY11" fmla="*/ 1078317 h 2110523"/>
                      <a:gd name="connsiteX12" fmla="*/ 1963435 w 4438695"/>
                      <a:gd name="connsiteY12" fmla="*/ 803436 h 2110523"/>
                      <a:gd name="connsiteX13" fmla="*/ 2013923 w 4438695"/>
                      <a:gd name="connsiteY13" fmla="*/ 764168 h 2110523"/>
                      <a:gd name="connsiteX14" fmla="*/ 2036363 w 4438695"/>
                      <a:gd name="connsiteY14" fmla="*/ 651971 h 2110523"/>
                      <a:gd name="connsiteX15" fmla="*/ 2176608 w 4438695"/>
                      <a:gd name="connsiteY15" fmla="*/ 545385 h 2110523"/>
                      <a:gd name="connsiteX16" fmla="*/ 2210267 w 4438695"/>
                      <a:gd name="connsiteY16" fmla="*/ 506116 h 2110523"/>
                      <a:gd name="connsiteX17" fmla="*/ 2199047 w 4438695"/>
                      <a:gd name="connsiteY17" fmla="*/ 416359 h 2110523"/>
                      <a:gd name="connsiteX18" fmla="*/ 2221487 w 4438695"/>
                      <a:gd name="connsiteY18" fmla="*/ 326602 h 2110523"/>
                      <a:gd name="connsiteX19" fmla="*/ 2232706 w 4438695"/>
                      <a:gd name="connsiteY19" fmla="*/ 259284 h 2110523"/>
                      <a:gd name="connsiteX20" fmla="*/ 2266365 w 4438695"/>
                      <a:gd name="connsiteY20" fmla="*/ 231235 h 2110523"/>
                      <a:gd name="connsiteX21" fmla="*/ 2384171 w 4438695"/>
                      <a:gd name="connsiteY21" fmla="*/ 214406 h 2110523"/>
                      <a:gd name="connsiteX22" fmla="*/ 2440269 w 4438695"/>
                      <a:gd name="connsiteY22" fmla="*/ 186356 h 2110523"/>
                      <a:gd name="connsiteX23" fmla="*/ 2462709 w 4438695"/>
                      <a:gd name="connsiteY23" fmla="*/ 158307 h 2110523"/>
                      <a:gd name="connsiteX24" fmla="*/ 2479538 w 4438695"/>
                      <a:gd name="connsiteY24" fmla="*/ 68550 h 2110523"/>
                      <a:gd name="connsiteX25" fmla="*/ 2490758 w 4438695"/>
                      <a:gd name="connsiteY25" fmla="*/ 23672 h 2110523"/>
                      <a:gd name="connsiteX26" fmla="*/ 2546856 w 4438695"/>
                      <a:gd name="connsiteY26" fmla="*/ 6842 h 2110523"/>
                      <a:gd name="connsiteX27" fmla="*/ 2636613 w 4438695"/>
                      <a:gd name="connsiteY27" fmla="*/ 1233 h 2110523"/>
                      <a:gd name="connsiteX28" fmla="*/ 2687101 w 4438695"/>
                      <a:gd name="connsiteY28" fmla="*/ 29282 h 2110523"/>
                      <a:gd name="connsiteX29" fmla="*/ 2743200 w 4438695"/>
                      <a:gd name="connsiteY29" fmla="*/ 163917 h 2110523"/>
                      <a:gd name="connsiteX30" fmla="*/ 2782468 w 4438695"/>
                      <a:gd name="connsiteY30" fmla="*/ 309772 h 2110523"/>
                      <a:gd name="connsiteX31" fmla="*/ 2788078 w 4438695"/>
                      <a:gd name="connsiteY31" fmla="*/ 377090 h 2110523"/>
                      <a:gd name="connsiteX32" fmla="*/ 2816127 w 4438695"/>
                      <a:gd name="connsiteY32" fmla="*/ 405139 h 2110523"/>
                      <a:gd name="connsiteX33" fmla="*/ 2922714 w 4438695"/>
                      <a:gd name="connsiteY33" fmla="*/ 461237 h 2110523"/>
                      <a:gd name="connsiteX34" fmla="*/ 2956373 w 4438695"/>
                      <a:gd name="connsiteY34" fmla="*/ 517336 h 2110523"/>
                      <a:gd name="connsiteX35" fmla="*/ 3135887 w 4438695"/>
                      <a:gd name="connsiteY35" fmla="*/ 562214 h 2110523"/>
                      <a:gd name="connsiteX36" fmla="*/ 3276132 w 4438695"/>
                      <a:gd name="connsiteY36" fmla="*/ 556604 h 2110523"/>
                      <a:gd name="connsiteX37" fmla="*/ 3876382 w 4438695"/>
                      <a:gd name="connsiteY37" fmla="*/ 337822 h 2110523"/>
                      <a:gd name="connsiteX38" fmla="*/ 4050334 w 4438695"/>
                      <a:gd name="connsiteY38" fmla="*/ 374523 h 2110523"/>
                      <a:gd name="connsiteX39" fmla="*/ 4156873 w 4438695"/>
                      <a:gd name="connsiteY39" fmla="*/ 382700 h 2110523"/>
                      <a:gd name="connsiteX40" fmla="*/ 4368049 w 4438695"/>
                      <a:gd name="connsiteY40" fmla="*/ 374523 h 2110523"/>
                      <a:gd name="connsiteX41" fmla="*/ 4438695 w 4438695"/>
                      <a:gd name="connsiteY41" fmla="*/ 324178 h 2110523"/>
                      <a:gd name="connsiteX0" fmla="*/ 0 w 4430946"/>
                      <a:gd name="connsiteY0" fmla="*/ 2110523 h 2110523"/>
                      <a:gd name="connsiteX1" fmla="*/ 151465 w 4430946"/>
                      <a:gd name="connsiteY1" fmla="*/ 2015156 h 2110523"/>
                      <a:gd name="connsiteX2" fmla="*/ 230002 w 4430946"/>
                      <a:gd name="connsiteY2" fmla="*/ 1858082 h 2110523"/>
                      <a:gd name="connsiteX3" fmla="*/ 403906 w 4430946"/>
                      <a:gd name="connsiteY3" fmla="*/ 1801983 h 2110523"/>
                      <a:gd name="connsiteX4" fmla="*/ 460004 w 4430946"/>
                      <a:gd name="connsiteY4" fmla="*/ 1717836 h 2110523"/>
                      <a:gd name="connsiteX5" fmla="*/ 729276 w 4430946"/>
                      <a:gd name="connsiteY5" fmla="*/ 1471004 h 2110523"/>
                      <a:gd name="connsiteX6" fmla="*/ 835862 w 4430946"/>
                      <a:gd name="connsiteY6" fmla="*/ 1313929 h 2110523"/>
                      <a:gd name="connsiteX7" fmla="*/ 1138792 w 4430946"/>
                      <a:gd name="connsiteY7" fmla="*/ 1274661 h 2110523"/>
                      <a:gd name="connsiteX8" fmla="*/ 1284647 w 4430946"/>
                      <a:gd name="connsiteY8" fmla="*/ 1269051 h 2110523"/>
                      <a:gd name="connsiteX9" fmla="*/ 1363185 w 4430946"/>
                      <a:gd name="connsiteY9" fmla="*/ 1207343 h 2110523"/>
                      <a:gd name="connsiteX10" fmla="*/ 1514650 w 4430946"/>
                      <a:gd name="connsiteY10" fmla="*/ 1201733 h 2110523"/>
                      <a:gd name="connsiteX11" fmla="*/ 1739042 w 4430946"/>
                      <a:gd name="connsiteY11" fmla="*/ 1078317 h 2110523"/>
                      <a:gd name="connsiteX12" fmla="*/ 1963435 w 4430946"/>
                      <a:gd name="connsiteY12" fmla="*/ 803436 h 2110523"/>
                      <a:gd name="connsiteX13" fmla="*/ 2013923 w 4430946"/>
                      <a:gd name="connsiteY13" fmla="*/ 764168 h 2110523"/>
                      <a:gd name="connsiteX14" fmla="*/ 2036363 w 4430946"/>
                      <a:gd name="connsiteY14" fmla="*/ 651971 h 2110523"/>
                      <a:gd name="connsiteX15" fmla="*/ 2176608 w 4430946"/>
                      <a:gd name="connsiteY15" fmla="*/ 545385 h 2110523"/>
                      <a:gd name="connsiteX16" fmla="*/ 2210267 w 4430946"/>
                      <a:gd name="connsiteY16" fmla="*/ 506116 h 2110523"/>
                      <a:gd name="connsiteX17" fmla="*/ 2199047 w 4430946"/>
                      <a:gd name="connsiteY17" fmla="*/ 416359 h 2110523"/>
                      <a:gd name="connsiteX18" fmla="*/ 2221487 w 4430946"/>
                      <a:gd name="connsiteY18" fmla="*/ 326602 h 2110523"/>
                      <a:gd name="connsiteX19" fmla="*/ 2232706 w 4430946"/>
                      <a:gd name="connsiteY19" fmla="*/ 259284 h 2110523"/>
                      <a:gd name="connsiteX20" fmla="*/ 2266365 w 4430946"/>
                      <a:gd name="connsiteY20" fmla="*/ 231235 h 2110523"/>
                      <a:gd name="connsiteX21" fmla="*/ 2384171 w 4430946"/>
                      <a:gd name="connsiteY21" fmla="*/ 214406 h 2110523"/>
                      <a:gd name="connsiteX22" fmla="*/ 2440269 w 4430946"/>
                      <a:gd name="connsiteY22" fmla="*/ 186356 h 2110523"/>
                      <a:gd name="connsiteX23" fmla="*/ 2462709 w 4430946"/>
                      <a:gd name="connsiteY23" fmla="*/ 158307 h 2110523"/>
                      <a:gd name="connsiteX24" fmla="*/ 2479538 w 4430946"/>
                      <a:gd name="connsiteY24" fmla="*/ 68550 h 2110523"/>
                      <a:gd name="connsiteX25" fmla="*/ 2490758 w 4430946"/>
                      <a:gd name="connsiteY25" fmla="*/ 23672 h 2110523"/>
                      <a:gd name="connsiteX26" fmla="*/ 2546856 w 4430946"/>
                      <a:gd name="connsiteY26" fmla="*/ 6842 h 2110523"/>
                      <a:gd name="connsiteX27" fmla="*/ 2636613 w 4430946"/>
                      <a:gd name="connsiteY27" fmla="*/ 1233 h 2110523"/>
                      <a:gd name="connsiteX28" fmla="*/ 2687101 w 4430946"/>
                      <a:gd name="connsiteY28" fmla="*/ 29282 h 2110523"/>
                      <a:gd name="connsiteX29" fmla="*/ 2743200 w 4430946"/>
                      <a:gd name="connsiteY29" fmla="*/ 163917 h 2110523"/>
                      <a:gd name="connsiteX30" fmla="*/ 2782468 w 4430946"/>
                      <a:gd name="connsiteY30" fmla="*/ 309772 h 2110523"/>
                      <a:gd name="connsiteX31" fmla="*/ 2788078 w 4430946"/>
                      <a:gd name="connsiteY31" fmla="*/ 377090 h 2110523"/>
                      <a:gd name="connsiteX32" fmla="*/ 2816127 w 4430946"/>
                      <a:gd name="connsiteY32" fmla="*/ 405139 h 2110523"/>
                      <a:gd name="connsiteX33" fmla="*/ 2922714 w 4430946"/>
                      <a:gd name="connsiteY33" fmla="*/ 461237 h 2110523"/>
                      <a:gd name="connsiteX34" fmla="*/ 2956373 w 4430946"/>
                      <a:gd name="connsiteY34" fmla="*/ 517336 h 2110523"/>
                      <a:gd name="connsiteX35" fmla="*/ 3135887 w 4430946"/>
                      <a:gd name="connsiteY35" fmla="*/ 562214 h 2110523"/>
                      <a:gd name="connsiteX36" fmla="*/ 3276132 w 4430946"/>
                      <a:gd name="connsiteY36" fmla="*/ 556604 h 2110523"/>
                      <a:gd name="connsiteX37" fmla="*/ 3876382 w 4430946"/>
                      <a:gd name="connsiteY37" fmla="*/ 337822 h 2110523"/>
                      <a:gd name="connsiteX38" fmla="*/ 4050334 w 4430946"/>
                      <a:gd name="connsiteY38" fmla="*/ 374523 h 2110523"/>
                      <a:gd name="connsiteX39" fmla="*/ 4156873 w 4430946"/>
                      <a:gd name="connsiteY39" fmla="*/ 382700 h 2110523"/>
                      <a:gd name="connsiteX40" fmla="*/ 4368049 w 4430946"/>
                      <a:gd name="connsiteY40" fmla="*/ 374523 h 2110523"/>
                      <a:gd name="connsiteX41" fmla="*/ 4430946 w 4430946"/>
                      <a:gd name="connsiteY41" fmla="*/ 362924 h 2110523"/>
                      <a:gd name="connsiteX0" fmla="*/ 0 w 4444645"/>
                      <a:gd name="connsiteY0" fmla="*/ 2110523 h 2110523"/>
                      <a:gd name="connsiteX1" fmla="*/ 151465 w 4444645"/>
                      <a:gd name="connsiteY1" fmla="*/ 2015156 h 2110523"/>
                      <a:gd name="connsiteX2" fmla="*/ 230002 w 4444645"/>
                      <a:gd name="connsiteY2" fmla="*/ 1858082 h 2110523"/>
                      <a:gd name="connsiteX3" fmla="*/ 403906 w 4444645"/>
                      <a:gd name="connsiteY3" fmla="*/ 1801983 h 2110523"/>
                      <a:gd name="connsiteX4" fmla="*/ 460004 w 4444645"/>
                      <a:gd name="connsiteY4" fmla="*/ 1717836 h 2110523"/>
                      <a:gd name="connsiteX5" fmla="*/ 729276 w 4444645"/>
                      <a:gd name="connsiteY5" fmla="*/ 1471004 h 2110523"/>
                      <a:gd name="connsiteX6" fmla="*/ 835862 w 4444645"/>
                      <a:gd name="connsiteY6" fmla="*/ 1313929 h 2110523"/>
                      <a:gd name="connsiteX7" fmla="*/ 1138792 w 4444645"/>
                      <a:gd name="connsiteY7" fmla="*/ 1274661 h 2110523"/>
                      <a:gd name="connsiteX8" fmla="*/ 1284647 w 4444645"/>
                      <a:gd name="connsiteY8" fmla="*/ 1269051 h 2110523"/>
                      <a:gd name="connsiteX9" fmla="*/ 1363185 w 4444645"/>
                      <a:gd name="connsiteY9" fmla="*/ 1207343 h 2110523"/>
                      <a:gd name="connsiteX10" fmla="*/ 1514650 w 4444645"/>
                      <a:gd name="connsiteY10" fmla="*/ 1201733 h 2110523"/>
                      <a:gd name="connsiteX11" fmla="*/ 1739042 w 4444645"/>
                      <a:gd name="connsiteY11" fmla="*/ 1078317 h 2110523"/>
                      <a:gd name="connsiteX12" fmla="*/ 1963435 w 4444645"/>
                      <a:gd name="connsiteY12" fmla="*/ 803436 h 2110523"/>
                      <a:gd name="connsiteX13" fmla="*/ 2013923 w 4444645"/>
                      <a:gd name="connsiteY13" fmla="*/ 764168 h 2110523"/>
                      <a:gd name="connsiteX14" fmla="*/ 2036363 w 4444645"/>
                      <a:gd name="connsiteY14" fmla="*/ 651971 h 2110523"/>
                      <a:gd name="connsiteX15" fmla="*/ 2176608 w 4444645"/>
                      <a:gd name="connsiteY15" fmla="*/ 545385 h 2110523"/>
                      <a:gd name="connsiteX16" fmla="*/ 2210267 w 4444645"/>
                      <a:gd name="connsiteY16" fmla="*/ 506116 h 2110523"/>
                      <a:gd name="connsiteX17" fmla="*/ 2199047 w 4444645"/>
                      <a:gd name="connsiteY17" fmla="*/ 416359 h 2110523"/>
                      <a:gd name="connsiteX18" fmla="*/ 2221487 w 4444645"/>
                      <a:gd name="connsiteY18" fmla="*/ 326602 h 2110523"/>
                      <a:gd name="connsiteX19" fmla="*/ 2232706 w 4444645"/>
                      <a:gd name="connsiteY19" fmla="*/ 259284 h 2110523"/>
                      <a:gd name="connsiteX20" fmla="*/ 2266365 w 4444645"/>
                      <a:gd name="connsiteY20" fmla="*/ 231235 h 2110523"/>
                      <a:gd name="connsiteX21" fmla="*/ 2384171 w 4444645"/>
                      <a:gd name="connsiteY21" fmla="*/ 214406 h 2110523"/>
                      <a:gd name="connsiteX22" fmla="*/ 2440269 w 4444645"/>
                      <a:gd name="connsiteY22" fmla="*/ 186356 h 2110523"/>
                      <a:gd name="connsiteX23" fmla="*/ 2462709 w 4444645"/>
                      <a:gd name="connsiteY23" fmla="*/ 158307 h 2110523"/>
                      <a:gd name="connsiteX24" fmla="*/ 2479538 w 4444645"/>
                      <a:gd name="connsiteY24" fmla="*/ 68550 h 2110523"/>
                      <a:gd name="connsiteX25" fmla="*/ 2490758 w 4444645"/>
                      <a:gd name="connsiteY25" fmla="*/ 23672 h 2110523"/>
                      <a:gd name="connsiteX26" fmla="*/ 2546856 w 4444645"/>
                      <a:gd name="connsiteY26" fmla="*/ 6842 h 2110523"/>
                      <a:gd name="connsiteX27" fmla="*/ 2636613 w 4444645"/>
                      <a:gd name="connsiteY27" fmla="*/ 1233 h 2110523"/>
                      <a:gd name="connsiteX28" fmla="*/ 2687101 w 4444645"/>
                      <a:gd name="connsiteY28" fmla="*/ 29282 h 2110523"/>
                      <a:gd name="connsiteX29" fmla="*/ 2743200 w 4444645"/>
                      <a:gd name="connsiteY29" fmla="*/ 163917 h 2110523"/>
                      <a:gd name="connsiteX30" fmla="*/ 2782468 w 4444645"/>
                      <a:gd name="connsiteY30" fmla="*/ 309772 h 2110523"/>
                      <a:gd name="connsiteX31" fmla="*/ 2788078 w 4444645"/>
                      <a:gd name="connsiteY31" fmla="*/ 377090 h 2110523"/>
                      <a:gd name="connsiteX32" fmla="*/ 2816127 w 4444645"/>
                      <a:gd name="connsiteY32" fmla="*/ 405139 h 2110523"/>
                      <a:gd name="connsiteX33" fmla="*/ 2922714 w 4444645"/>
                      <a:gd name="connsiteY33" fmla="*/ 461237 h 2110523"/>
                      <a:gd name="connsiteX34" fmla="*/ 2956373 w 4444645"/>
                      <a:gd name="connsiteY34" fmla="*/ 517336 h 2110523"/>
                      <a:gd name="connsiteX35" fmla="*/ 3135887 w 4444645"/>
                      <a:gd name="connsiteY35" fmla="*/ 562214 h 2110523"/>
                      <a:gd name="connsiteX36" fmla="*/ 3276132 w 4444645"/>
                      <a:gd name="connsiteY36" fmla="*/ 556604 h 2110523"/>
                      <a:gd name="connsiteX37" fmla="*/ 3876382 w 4444645"/>
                      <a:gd name="connsiteY37" fmla="*/ 337822 h 2110523"/>
                      <a:gd name="connsiteX38" fmla="*/ 4050334 w 4444645"/>
                      <a:gd name="connsiteY38" fmla="*/ 374523 h 2110523"/>
                      <a:gd name="connsiteX39" fmla="*/ 4156873 w 4444645"/>
                      <a:gd name="connsiteY39" fmla="*/ 382700 h 2110523"/>
                      <a:gd name="connsiteX40" fmla="*/ 4368049 w 4444645"/>
                      <a:gd name="connsiteY40" fmla="*/ 374523 h 2110523"/>
                      <a:gd name="connsiteX41" fmla="*/ 4444645 w 4444645"/>
                      <a:gd name="connsiteY41" fmla="*/ 404021 h 2110523"/>
                      <a:gd name="connsiteX0" fmla="*/ 0 w 4444645"/>
                      <a:gd name="connsiteY0" fmla="*/ 2110523 h 2110523"/>
                      <a:gd name="connsiteX1" fmla="*/ 151465 w 4444645"/>
                      <a:gd name="connsiteY1" fmla="*/ 2015156 h 2110523"/>
                      <a:gd name="connsiteX2" fmla="*/ 230002 w 4444645"/>
                      <a:gd name="connsiteY2" fmla="*/ 1858082 h 2110523"/>
                      <a:gd name="connsiteX3" fmla="*/ 403906 w 4444645"/>
                      <a:gd name="connsiteY3" fmla="*/ 1801983 h 2110523"/>
                      <a:gd name="connsiteX4" fmla="*/ 460004 w 4444645"/>
                      <a:gd name="connsiteY4" fmla="*/ 1717836 h 2110523"/>
                      <a:gd name="connsiteX5" fmla="*/ 729276 w 4444645"/>
                      <a:gd name="connsiteY5" fmla="*/ 1471004 h 2110523"/>
                      <a:gd name="connsiteX6" fmla="*/ 835862 w 4444645"/>
                      <a:gd name="connsiteY6" fmla="*/ 1313929 h 2110523"/>
                      <a:gd name="connsiteX7" fmla="*/ 1138792 w 4444645"/>
                      <a:gd name="connsiteY7" fmla="*/ 1274661 h 2110523"/>
                      <a:gd name="connsiteX8" fmla="*/ 1284647 w 4444645"/>
                      <a:gd name="connsiteY8" fmla="*/ 1269051 h 2110523"/>
                      <a:gd name="connsiteX9" fmla="*/ 1363185 w 4444645"/>
                      <a:gd name="connsiteY9" fmla="*/ 1207343 h 2110523"/>
                      <a:gd name="connsiteX10" fmla="*/ 1514650 w 4444645"/>
                      <a:gd name="connsiteY10" fmla="*/ 1201733 h 2110523"/>
                      <a:gd name="connsiteX11" fmla="*/ 1739042 w 4444645"/>
                      <a:gd name="connsiteY11" fmla="*/ 1078317 h 2110523"/>
                      <a:gd name="connsiteX12" fmla="*/ 1963435 w 4444645"/>
                      <a:gd name="connsiteY12" fmla="*/ 803436 h 2110523"/>
                      <a:gd name="connsiteX13" fmla="*/ 2013923 w 4444645"/>
                      <a:gd name="connsiteY13" fmla="*/ 764168 h 2110523"/>
                      <a:gd name="connsiteX14" fmla="*/ 2036363 w 4444645"/>
                      <a:gd name="connsiteY14" fmla="*/ 651971 h 2110523"/>
                      <a:gd name="connsiteX15" fmla="*/ 2176608 w 4444645"/>
                      <a:gd name="connsiteY15" fmla="*/ 545385 h 2110523"/>
                      <a:gd name="connsiteX16" fmla="*/ 2210267 w 4444645"/>
                      <a:gd name="connsiteY16" fmla="*/ 506116 h 2110523"/>
                      <a:gd name="connsiteX17" fmla="*/ 2199047 w 4444645"/>
                      <a:gd name="connsiteY17" fmla="*/ 416359 h 2110523"/>
                      <a:gd name="connsiteX18" fmla="*/ 2221487 w 4444645"/>
                      <a:gd name="connsiteY18" fmla="*/ 326602 h 2110523"/>
                      <a:gd name="connsiteX19" fmla="*/ 2232706 w 4444645"/>
                      <a:gd name="connsiteY19" fmla="*/ 259284 h 2110523"/>
                      <a:gd name="connsiteX20" fmla="*/ 2266365 w 4444645"/>
                      <a:gd name="connsiteY20" fmla="*/ 231235 h 2110523"/>
                      <a:gd name="connsiteX21" fmla="*/ 2384171 w 4444645"/>
                      <a:gd name="connsiteY21" fmla="*/ 214406 h 2110523"/>
                      <a:gd name="connsiteX22" fmla="*/ 2440269 w 4444645"/>
                      <a:gd name="connsiteY22" fmla="*/ 186356 h 2110523"/>
                      <a:gd name="connsiteX23" fmla="*/ 2462709 w 4444645"/>
                      <a:gd name="connsiteY23" fmla="*/ 158307 h 2110523"/>
                      <a:gd name="connsiteX24" fmla="*/ 2479538 w 4444645"/>
                      <a:gd name="connsiteY24" fmla="*/ 68550 h 2110523"/>
                      <a:gd name="connsiteX25" fmla="*/ 2490758 w 4444645"/>
                      <a:gd name="connsiteY25" fmla="*/ 23672 h 2110523"/>
                      <a:gd name="connsiteX26" fmla="*/ 2546856 w 4444645"/>
                      <a:gd name="connsiteY26" fmla="*/ 6842 h 2110523"/>
                      <a:gd name="connsiteX27" fmla="*/ 2636613 w 4444645"/>
                      <a:gd name="connsiteY27" fmla="*/ 1233 h 2110523"/>
                      <a:gd name="connsiteX28" fmla="*/ 2687101 w 4444645"/>
                      <a:gd name="connsiteY28" fmla="*/ 29282 h 2110523"/>
                      <a:gd name="connsiteX29" fmla="*/ 2743200 w 4444645"/>
                      <a:gd name="connsiteY29" fmla="*/ 163917 h 2110523"/>
                      <a:gd name="connsiteX30" fmla="*/ 2782468 w 4444645"/>
                      <a:gd name="connsiteY30" fmla="*/ 309772 h 2110523"/>
                      <a:gd name="connsiteX31" fmla="*/ 2788078 w 4444645"/>
                      <a:gd name="connsiteY31" fmla="*/ 377090 h 2110523"/>
                      <a:gd name="connsiteX32" fmla="*/ 2816127 w 4444645"/>
                      <a:gd name="connsiteY32" fmla="*/ 405139 h 2110523"/>
                      <a:gd name="connsiteX33" fmla="*/ 2922714 w 4444645"/>
                      <a:gd name="connsiteY33" fmla="*/ 461237 h 2110523"/>
                      <a:gd name="connsiteX34" fmla="*/ 2956373 w 4444645"/>
                      <a:gd name="connsiteY34" fmla="*/ 517336 h 2110523"/>
                      <a:gd name="connsiteX35" fmla="*/ 3135887 w 4444645"/>
                      <a:gd name="connsiteY35" fmla="*/ 562214 h 2110523"/>
                      <a:gd name="connsiteX36" fmla="*/ 3276132 w 4444645"/>
                      <a:gd name="connsiteY36" fmla="*/ 556604 h 2110523"/>
                      <a:gd name="connsiteX37" fmla="*/ 3876382 w 4444645"/>
                      <a:gd name="connsiteY37" fmla="*/ 337822 h 2110523"/>
                      <a:gd name="connsiteX38" fmla="*/ 4050334 w 4444645"/>
                      <a:gd name="connsiteY38" fmla="*/ 374523 h 2110523"/>
                      <a:gd name="connsiteX39" fmla="*/ 4156873 w 4444645"/>
                      <a:gd name="connsiteY39" fmla="*/ 382700 h 2110523"/>
                      <a:gd name="connsiteX40" fmla="*/ 4368049 w 4444645"/>
                      <a:gd name="connsiteY40" fmla="*/ 381372 h 2110523"/>
                      <a:gd name="connsiteX41" fmla="*/ 4444645 w 4444645"/>
                      <a:gd name="connsiteY41" fmla="*/ 404021 h 2110523"/>
                      <a:gd name="connsiteX0" fmla="*/ 0 w 4444645"/>
                      <a:gd name="connsiteY0" fmla="*/ 2110523 h 2110523"/>
                      <a:gd name="connsiteX1" fmla="*/ 151465 w 4444645"/>
                      <a:gd name="connsiteY1" fmla="*/ 2015156 h 2110523"/>
                      <a:gd name="connsiteX2" fmla="*/ 230002 w 4444645"/>
                      <a:gd name="connsiteY2" fmla="*/ 1858082 h 2110523"/>
                      <a:gd name="connsiteX3" fmla="*/ 403906 w 4444645"/>
                      <a:gd name="connsiteY3" fmla="*/ 1801983 h 2110523"/>
                      <a:gd name="connsiteX4" fmla="*/ 460004 w 4444645"/>
                      <a:gd name="connsiteY4" fmla="*/ 1717836 h 2110523"/>
                      <a:gd name="connsiteX5" fmla="*/ 729276 w 4444645"/>
                      <a:gd name="connsiteY5" fmla="*/ 1471004 h 2110523"/>
                      <a:gd name="connsiteX6" fmla="*/ 835862 w 4444645"/>
                      <a:gd name="connsiteY6" fmla="*/ 1313929 h 2110523"/>
                      <a:gd name="connsiteX7" fmla="*/ 1138792 w 4444645"/>
                      <a:gd name="connsiteY7" fmla="*/ 1274661 h 2110523"/>
                      <a:gd name="connsiteX8" fmla="*/ 1284647 w 4444645"/>
                      <a:gd name="connsiteY8" fmla="*/ 1269051 h 2110523"/>
                      <a:gd name="connsiteX9" fmla="*/ 1363185 w 4444645"/>
                      <a:gd name="connsiteY9" fmla="*/ 1207343 h 2110523"/>
                      <a:gd name="connsiteX10" fmla="*/ 1514650 w 4444645"/>
                      <a:gd name="connsiteY10" fmla="*/ 1201733 h 2110523"/>
                      <a:gd name="connsiteX11" fmla="*/ 1739042 w 4444645"/>
                      <a:gd name="connsiteY11" fmla="*/ 1078317 h 2110523"/>
                      <a:gd name="connsiteX12" fmla="*/ 1963435 w 4444645"/>
                      <a:gd name="connsiteY12" fmla="*/ 803436 h 2110523"/>
                      <a:gd name="connsiteX13" fmla="*/ 2013923 w 4444645"/>
                      <a:gd name="connsiteY13" fmla="*/ 764168 h 2110523"/>
                      <a:gd name="connsiteX14" fmla="*/ 2036363 w 4444645"/>
                      <a:gd name="connsiteY14" fmla="*/ 651971 h 2110523"/>
                      <a:gd name="connsiteX15" fmla="*/ 2176608 w 4444645"/>
                      <a:gd name="connsiteY15" fmla="*/ 545385 h 2110523"/>
                      <a:gd name="connsiteX16" fmla="*/ 2210267 w 4444645"/>
                      <a:gd name="connsiteY16" fmla="*/ 506116 h 2110523"/>
                      <a:gd name="connsiteX17" fmla="*/ 2199047 w 4444645"/>
                      <a:gd name="connsiteY17" fmla="*/ 416359 h 2110523"/>
                      <a:gd name="connsiteX18" fmla="*/ 2221487 w 4444645"/>
                      <a:gd name="connsiteY18" fmla="*/ 326602 h 2110523"/>
                      <a:gd name="connsiteX19" fmla="*/ 2232706 w 4444645"/>
                      <a:gd name="connsiteY19" fmla="*/ 259284 h 2110523"/>
                      <a:gd name="connsiteX20" fmla="*/ 2266365 w 4444645"/>
                      <a:gd name="connsiteY20" fmla="*/ 231235 h 2110523"/>
                      <a:gd name="connsiteX21" fmla="*/ 2384171 w 4444645"/>
                      <a:gd name="connsiteY21" fmla="*/ 214406 h 2110523"/>
                      <a:gd name="connsiteX22" fmla="*/ 2440269 w 4444645"/>
                      <a:gd name="connsiteY22" fmla="*/ 186356 h 2110523"/>
                      <a:gd name="connsiteX23" fmla="*/ 2462709 w 4444645"/>
                      <a:gd name="connsiteY23" fmla="*/ 158307 h 2110523"/>
                      <a:gd name="connsiteX24" fmla="*/ 2479538 w 4444645"/>
                      <a:gd name="connsiteY24" fmla="*/ 68550 h 2110523"/>
                      <a:gd name="connsiteX25" fmla="*/ 2490758 w 4444645"/>
                      <a:gd name="connsiteY25" fmla="*/ 23672 h 2110523"/>
                      <a:gd name="connsiteX26" fmla="*/ 2546856 w 4444645"/>
                      <a:gd name="connsiteY26" fmla="*/ 6842 h 2110523"/>
                      <a:gd name="connsiteX27" fmla="*/ 2636613 w 4444645"/>
                      <a:gd name="connsiteY27" fmla="*/ 1233 h 2110523"/>
                      <a:gd name="connsiteX28" fmla="*/ 2687101 w 4444645"/>
                      <a:gd name="connsiteY28" fmla="*/ 29282 h 2110523"/>
                      <a:gd name="connsiteX29" fmla="*/ 2743200 w 4444645"/>
                      <a:gd name="connsiteY29" fmla="*/ 163917 h 2110523"/>
                      <a:gd name="connsiteX30" fmla="*/ 2782468 w 4444645"/>
                      <a:gd name="connsiteY30" fmla="*/ 309772 h 2110523"/>
                      <a:gd name="connsiteX31" fmla="*/ 2788078 w 4444645"/>
                      <a:gd name="connsiteY31" fmla="*/ 377090 h 2110523"/>
                      <a:gd name="connsiteX32" fmla="*/ 2816127 w 4444645"/>
                      <a:gd name="connsiteY32" fmla="*/ 405139 h 2110523"/>
                      <a:gd name="connsiteX33" fmla="*/ 2922714 w 4444645"/>
                      <a:gd name="connsiteY33" fmla="*/ 461237 h 2110523"/>
                      <a:gd name="connsiteX34" fmla="*/ 2956373 w 4444645"/>
                      <a:gd name="connsiteY34" fmla="*/ 517336 h 2110523"/>
                      <a:gd name="connsiteX35" fmla="*/ 3135887 w 4444645"/>
                      <a:gd name="connsiteY35" fmla="*/ 562214 h 2110523"/>
                      <a:gd name="connsiteX36" fmla="*/ 3276132 w 4444645"/>
                      <a:gd name="connsiteY36" fmla="*/ 556604 h 2110523"/>
                      <a:gd name="connsiteX37" fmla="*/ 3876382 w 4444645"/>
                      <a:gd name="connsiteY37" fmla="*/ 337822 h 2110523"/>
                      <a:gd name="connsiteX38" fmla="*/ 4050334 w 4444645"/>
                      <a:gd name="connsiteY38" fmla="*/ 374523 h 2110523"/>
                      <a:gd name="connsiteX39" fmla="*/ 4156873 w 4444645"/>
                      <a:gd name="connsiteY39" fmla="*/ 382700 h 2110523"/>
                      <a:gd name="connsiteX40" fmla="*/ 4368049 w 4444645"/>
                      <a:gd name="connsiteY40" fmla="*/ 391646 h 2110523"/>
                      <a:gd name="connsiteX41" fmla="*/ 4444645 w 4444645"/>
                      <a:gd name="connsiteY41" fmla="*/ 404021 h 2110523"/>
                      <a:gd name="connsiteX0" fmla="*/ 0 w 4444645"/>
                      <a:gd name="connsiteY0" fmla="*/ 2110523 h 2110523"/>
                      <a:gd name="connsiteX1" fmla="*/ 151465 w 4444645"/>
                      <a:gd name="connsiteY1" fmla="*/ 2015156 h 2110523"/>
                      <a:gd name="connsiteX2" fmla="*/ 230002 w 4444645"/>
                      <a:gd name="connsiteY2" fmla="*/ 1858082 h 2110523"/>
                      <a:gd name="connsiteX3" fmla="*/ 403906 w 4444645"/>
                      <a:gd name="connsiteY3" fmla="*/ 1801983 h 2110523"/>
                      <a:gd name="connsiteX4" fmla="*/ 460004 w 4444645"/>
                      <a:gd name="connsiteY4" fmla="*/ 1717836 h 2110523"/>
                      <a:gd name="connsiteX5" fmla="*/ 729276 w 4444645"/>
                      <a:gd name="connsiteY5" fmla="*/ 1471004 h 2110523"/>
                      <a:gd name="connsiteX6" fmla="*/ 835862 w 4444645"/>
                      <a:gd name="connsiteY6" fmla="*/ 1313929 h 2110523"/>
                      <a:gd name="connsiteX7" fmla="*/ 1138792 w 4444645"/>
                      <a:gd name="connsiteY7" fmla="*/ 1274661 h 2110523"/>
                      <a:gd name="connsiteX8" fmla="*/ 1284647 w 4444645"/>
                      <a:gd name="connsiteY8" fmla="*/ 1269051 h 2110523"/>
                      <a:gd name="connsiteX9" fmla="*/ 1363185 w 4444645"/>
                      <a:gd name="connsiteY9" fmla="*/ 1207343 h 2110523"/>
                      <a:gd name="connsiteX10" fmla="*/ 1514650 w 4444645"/>
                      <a:gd name="connsiteY10" fmla="*/ 1201733 h 2110523"/>
                      <a:gd name="connsiteX11" fmla="*/ 1739042 w 4444645"/>
                      <a:gd name="connsiteY11" fmla="*/ 1078317 h 2110523"/>
                      <a:gd name="connsiteX12" fmla="*/ 1963435 w 4444645"/>
                      <a:gd name="connsiteY12" fmla="*/ 803436 h 2110523"/>
                      <a:gd name="connsiteX13" fmla="*/ 2013923 w 4444645"/>
                      <a:gd name="connsiteY13" fmla="*/ 764168 h 2110523"/>
                      <a:gd name="connsiteX14" fmla="*/ 2036363 w 4444645"/>
                      <a:gd name="connsiteY14" fmla="*/ 651971 h 2110523"/>
                      <a:gd name="connsiteX15" fmla="*/ 2176608 w 4444645"/>
                      <a:gd name="connsiteY15" fmla="*/ 545385 h 2110523"/>
                      <a:gd name="connsiteX16" fmla="*/ 2210267 w 4444645"/>
                      <a:gd name="connsiteY16" fmla="*/ 506116 h 2110523"/>
                      <a:gd name="connsiteX17" fmla="*/ 2199047 w 4444645"/>
                      <a:gd name="connsiteY17" fmla="*/ 416359 h 2110523"/>
                      <a:gd name="connsiteX18" fmla="*/ 2221487 w 4444645"/>
                      <a:gd name="connsiteY18" fmla="*/ 326602 h 2110523"/>
                      <a:gd name="connsiteX19" fmla="*/ 2232706 w 4444645"/>
                      <a:gd name="connsiteY19" fmla="*/ 259284 h 2110523"/>
                      <a:gd name="connsiteX20" fmla="*/ 2266365 w 4444645"/>
                      <a:gd name="connsiteY20" fmla="*/ 231235 h 2110523"/>
                      <a:gd name="connsiteX21" fmla="*/ 2384171 w 4444645"/>
                      <a:gd name="connsiteY21" fmla="*/ 214406 h 2110523"/>
                      <a:gd name="connsiteX22" fmla="*/ 2440269 w 4444645"/>
                      <a:gd name="connsiteY22" fmla="*/ 186356 h 2110523"/>
                      <a:gd name="connsiteX23" fmla="*/ 2462709 w 4444645"/>
                      <a:gd name="connsiteY23" fmla="*/ 158307 h 2110523"/>
                      <a:gd name="connsiteX24" fmla="*/ 2479538 w 4444645"/>
                      <a:gd name="connsiteY24" fmla="*/ 68550 h 2110523"/>
                      <a:gd name="connsiteX25" fmla="*/ 2490758 w 4444645"/>
                      <a:gd name="connsiteY25" fmla="*/ 23672 h 2110523"/>
                      <a:gd name="connsiteX26" fmla="*/ 2546856 w 4444645"/>
                      <a:gd name="connsiteY26" fmla="*/ 6842 h 2110523"/>
                      <a:gd name="connsiteX27" fmla="*/ 2636613 w 4444645"/>
                      <a:gd name="connsiteY27" fmla="*/ 1233 h 2110523"/>
                      <a:gd name="connsiteX28" fmla="*/ 2687101 w 4444645"/>
                      <a:gd name="connsiteY28" fmla="*/ 29282 h 2110523"/>
                      <a:gd name="connsiteX29" fmla="*/ 2743200 w 4444645"/>
                      <a:gd name="connsiteY29" fmla="*/ 163917 h 2110523"/>
                      <a:gd name="connsiteX30" fmla="*/ 2782468 w 4444645"/>
                      <a:gd name="connsiteY30" fmla="*/ 309772 h 2110523"/>
                      <a:gd name="connsiteX31" fmla="*/ 2788078 w 4444645"/>
                      <a:gd name="connsiteY31" fmla="*/ 377090 h 2110523"/>
                      <a:gd name="connsiteX32" fmla="*/ 2816127 w 4444645"/>
                      <a:gd name="connsiteY32" fmla="*/ 405139 h 2110523"/>
                      <a:gd name="connsiteX33" fmla="*/ 2922714 w 4444645"/>
                      <a:gd name="connsiteY33" fmla="*/ 461237 h 2110523"/>
                      <a:gd name="connsiteX34" fmla="*/ 2956373 w 4444645"/>
                      <a:gd name="connsiteY34" fmla="*/ 517336 h 2110523"/>
                      <a:gd name="connsiteX35" fmla="*/ 3135887 w 4444645"/>
                      <a:gd name="connsiteY35" fmla="*/ 562214 h 2110523"/>
                      <a:gd name="connsiteX36" fmla="*/ 3276132 w 4444645"/>
                      <a:gd name="connsiteY36" fmla="*/ 556604 h 2110523"/>
                      <a:gd name="connsiteX37" fmla="*/ 3876382 w 4444645"/>
                      <a:gd name="connsiteY37" fmla="*/ 337822 h 2110523"/>
                      <a:gd name="connsiteX38" fmla="*/ 4050334 w 4444645"/>
                      <a:gd name="connsiteY38" fmla="*/ 374523 h 2110523"/>
                      <a:gd name="connsiteX39" fmla="*/ 4156873 w 4444645"/>
                      <a:gd name="connsiteY39" fmla="*/ 382700 h 2110523"/>
                      <a:gd name="connsiteX40" fmla="*/ 4368049 w 4444645"/>
                      <a:gd name="connsiteY40" fmla="*/ 391646 h 2110523"/>
                      <a:gd name="connsiteX41" fmla="*/ 4444645 w 4444645"/>
                      <a:gd name="connsiteY41" fmla="*/ 404021 h 2110523"/>
                      <a:gd name="connsiteX0" fmla="*/ 0 w 4461769"/>
                      <a:gd name="connsiteY0" fmla="*/ 2110523 h 2110523"/>
                      <a:gd name="connsiteX1" fmla="*/ 151465 w 4461769"/>
                      <a:gd name="connsiteY1" fmla="*/ 2015156 h 2110523"/>
                      <a:gd name="connsiteX2" fmla="*/ 230002 w 4461769"/>
                      <a:gd name="connsiteY2" fmla="*/ 1858082 h 2110523"/>
                      <a:gd name="connsiteX3" fmla="*/ 403906 w 4461769"/>
                      <a:gd name="connsiteY3" fmla="*/ 1801983 h 2110523"/>
                      <a:gd name="connsiteX4" fmla="*/ 460004 w 4461769"/>
                      <a:gd name="connsiteY4" fmla="*/ 1717836 h 2110523"/>
                      <a:gd name="connsiteX5" fmla="*/ 729276 w 4461769"/>
                      <a:gd name="connsiteY5" fmla="*/ 1471004 h 2110523"/>
                      <a:gd name="connsiteX6" fmla="*/ 835862 w 4461769"/>
                      <a:gd name="connsiteY6" fmla="*/ 1313929 h 2110523"/>
                      <a:gd name="connsiteX7" fmla="*/ 1138792 w 4461769"/>
                      <a:gd name="connsiteY7" fmla="*/ 1274661 h 2110523"/>
                      <a:gd name="connsiteX8" fmla="*/ 1284647 w 4461769"/>
                      <a:gd name="connsiteY8" fmla="*/ 1269051 h 2110523"/>
                      <a:gd name="connsiteX9" fmla="*/ 1363185 w 4461769"/>
                      <a:gd name="connsiteY9" fmla="*/ 1207343 h 2110523"/>
                      <a:gd name="connsiteX10" fmla="*/ 1514650 w 4461769"/>
                      <a:gd name="connsiteY10" fmla="*/ 1201733 h 2110523"/>
                      <a:gd name="connsiteX11" fmla="*/ 1739042 w 4461769"/>
                      <a:gd name="connsiteY11" fmla="*/ 1078317 h 2110523"/>
                      <a:gd name="connsiteX12" fmla="*/ 1963435 w 4461769"/>
                      <a:gd name="connsiteY12" fmla="*/ 803436 h 2110523"/>
                      <a:gd name="connsiteX13" fmla="*/ 2013923 w 4461769"/>
                      <a:gd name="connsiteY13" fmla="*/ 764168 h 2110523"/>
                      <a:gd name="connsiteX14" fmla="*/ 2036363 w 4461769"/>
                      <a:gd name="connsiteY14" fmla="*/ 651971 h 2110523"/>
                      <a:gd name="connsiteX15" fmla="*/ 2176608 w 4461769"/>
                      <a:gd name="connsiteY15" fmla="*/ 545385 h 2110523"/>
                      <a:gd name="connsiteX16" fmla="*/ 2210267 w 4461769"/>
                      <a:gd name="connsiteY16" fmla="*/ 506116 h 2110523"/>
                      <a:gd name="connsiteX17" fmla="*/ 2199047 w 4461769"/>
                      <a:gd name="connsiteY17" fmla="*/ 416359 h 2110523"/>
                      <a:gd name="connsiteX18" fmla="*/ 2221487 w 4461769"/>
                      <a:gd name="connsiteY18" fmla="*/ 326602 h 2110523"/>
                      <a:gd name="connsiteX19" fmla="*/ 2232706 w 4461769"/>
                      <a:gd name="connsiteY19" fmla="*/ 259284 h 2110523"/>
                      <a:gd name="connsiteX20" fmla="*/ 2266365 w 4461769"/>
                      <a:gd name="connsiteY20" fmla="*/ 231235 h 2110523"/>
                      <a:gd name="connsiteX21" fmla="*/ 2384171 w 4461769"/>
                      <a:gd name="connsiteY21" fmla="*/ 214406 h 2110523"/>
                      <a:gd name="connsiteX22" fmla="*/ 2440269 w 4461769"/>
                      <a:gd name="connsiteY22" fmla="*/ 186356 h 2110523"/>
                      <a:gd name="connsiteX23" fmla="*/ 2462709 w 4461769"/>
                      <a:gd name="connsiteY23" fmla="*/ 158307 h 2110523"/>
                      <a:gd name="connsiteX24" fmla="*/ 2479538 w 4461769"/>
                      <a:gd name="connsiteY24" fmla="*/ 68550 h 2110523"/>
                      <a:gd name="connsiteX25" fmla="*/ 2490758 w 4461769"/>
                      <a:gd name="connsiteY25" fmla="*/ 23672 h 2110523"/>
                      <a:gd name="connsiteX26" fmla="*/ 2546856 w 4461769"/>
                      <a:gd name="connsiteY26" fmla="*/ 6842 h 2110523"/>
                      <a:gd name="connsiteX27" fmla="*/ 2636613 w 4461769"/>
                      <a:gd name="connsiteY27" fmla="*/ 1233 h 2110523"/>
                      <a:gd name="connsiteX28" fmla="*/ 2687101 w 4461769"/>
                      <a:gd name="connsiteY28" fmla="*/ 29282 h 2110523"/>
                      <a:gd name="connsiteX29" fmla="*/ 2743200 w 4461769"/>
                      <a:gd name="connsiteY29" fmla="*/ 163917 h 2110523"/>
                      <a:gd name="connsiteX30" fmla="*/ 2782468 w 4461769"/>
                      <a:gd name="connsiteY30" fmla="*/ 309772 h 2110523"/>
                      <a:gd name="connsiteX31" fmla="*/ 2788078 w 4461769"/>
                      <a:gd name="connsiteY31" fmla="*/ 377090 h 2110523"/>
                      <a:gd name="connsiteX32" fmla="*/ 2816127 w 4461769"/>
                      <a:gd name="connsiteY32" fmla="*/ 405139 h 2110523"/>
                      <a:gd name="connsiteX33" fmla="*/ 2922714 w 4461769"/>
                      <a:gd name="connsiteY33" fmla="*/ 461237 h 2110523"/>
                      <a:gd name="connsiteX34" fmla="*/ 2956373 w 4461769"/>
                      <a:gd name="connsiteY34" fmla="*/ 517336 h 2110523"/>
                      <a:gd name="connsiteX35" fmla="*/ 3135887 w 4461769"/>
                      <a:gd name="connsiteY35" fmla="*/ 562214 h 2110523"/>
                      <a:gd name="connsiteX36" fmla="*/ 3276132 w 4461769"/>
                      <a:gd name="connsiteY36" fmla="*/ 556604 h 2110523"/>
                      <a:gd name="connsiteX37" fmla="*/ 3876382 w 4461769"/>
                      <a:gd name="connsiteY37" fmla="*/ 337822 h 2110523"/>
                      <a:gd name="connsiteX38" fmla="*/ 4050334 w 4461769"/>
                      <a:gd name="connsiteY38" fmla="*/ 374523 h 2110523"/>
                      <a:gd name="connsiteX39" fmla="*/ 4156873 w 4461769"/>
                      <a:gd name="connsiteY39" fmla="*/ 382700 h 2110523"/>
                      <a:gd name="connsiteX40" fmla="*/ 4368049 w 4461769"/>
                      <a:gd name="connsiteY40" fmla="*/ 391646 h 2110523"/>
                      <a:gd name="connsiteX41" fmla="*/ 4461769 w 4461769"/>
                      <a:gd name="connsiteY41" fmla="*/ 441693 h 2110523"/>
                      <a:gd name="connsiteX0" fmla="*/ 0 w 4461769"/>
                      <a:gd name="connsiteY0" fmla="*/ 2110523 h 2110523"/>
                      <a:gd name="connsiteX1" fmla="*/ 151465 w 4461769"/>
                      <a:gd name="connsiteY1" fmla="*/ 2015156 h 2110523"/>
                      <a:gd name="connsiteX2" fmla="*/ 230002 w 4461769"/>
                      <a:gd name="connsiteY2" fmla="*/ 1858082 h 2110523"/>
                      <a:gd name="connsiteX3" fmla="*/ 403906 w 4461769"/>
                      <a:gd name="connsiteY3" fmla="*/ 1801983 h 2110523"/>
                      <a:gd name="connsiteX4" fmla="*/ 460004 w 4461769"/>
                      <a:gd name="connsiteY4" fmla="*/ 1717836 h 2110523"/>
                      <a:gd name="connsiteX5" fmla="*/ 729276 w 4461769"/>
                      <a:gd name="connsiteY5" fmla="*/ 1471004 h 2110523"/>
                      <a:gd name="connsiteX6" fmla="*/ 835862 w 4461769"/>
                      <a:gd name="connsiteY6" fmla="*/ 1313929 h 2110523"/>
                      <a:gd name="connsiteX7" fmla="*/ 1138792 w 4461769"/>
                      <a:gd name="connsiteY7" fmla="*/ 1274661 h 2110523"/>
                      <a:gd name="connsiteX8" fmla="*/ 1284647 w 4461769"/>
                      <a:gd name="connsiteY8" fmla="*/ 1269051 h 2110523"/>
                      <a:gd name="connsiteX9" fmla="*/ 1363185 w 4461769"/>
                      <a:gd name="connsiteY9" fmla="*/ 1207343 h 2110523"/>
                      <a:gd name="connsiteX10" fmla="*/ 1514650 w 4461769"/>
                      <a:gd name="connsiteY10" fmla="*/ 1201733 h 2110523"/>
                      <a:gd name="connsiteX11" fmla="*/ 1739042 w 4461769"/>
                      <a:gd name="connsiteY11" fmla="*/ 1078317 h 2110523"/>
                      <a:gd name="connsiteX12" fmla="*/ 1963435 w 4461769"/>
                      <a:gd name="connsiteY12" fmla="*/ 803436 h 2110523"/>
                      <a:gd name="connsiteX13" fmla="*/ 2013923 w 4461769"/>
                      <a:gd name="connsiteY13" fmla="*/ 764168 h 2110523"/>
                      <a:gd name="connsiteX14" fmla="*/ 2036363 w 4461769"/>
                      <a:gd name="connsiteY14" fmla="*/ 651971 h 2110523"/>
                      <a:gd name="connsiteX15" fmla="*/ 2176608 w 4461769"/>
                      <a:gd name="connsiteY15" fmla="*/ 545385 h 2110523"/>
                      <a:gd name="connsiteX16" fmla="*/ 2210267 w 4461769"/>
                      <a:gd name="connsiteY16" fmla="*/ 506116 h 2110523"/>
                      <a:gd name="connsiteX17" fmla="*/ 2199047 w 4461769"/>
                      <a:gd name="connsiteY17" fmla="*/ 416359 h 2110523"/>
                      <a:gd name="connsiteX18" fmla="*/ 2221487 w 4461769"/>
                      <a:gd name="connsiteY18" fmla="*/ 326602 h 2110523"/>
                      <a:gd name="connsiteX19" fmla="*/ 2232706 w 4461769"/>
                      <a:gd name="connsiteY19" fmla="*/ 259284 h 2110523"/>
                      <a:gd name="connsiteX20" fmla="*/ 2266365 w 4461769"/>
                      <a:gd name="connsiteY20" fmla="*/ 231235 h 2110523"/>
                      <a:gd name="connsiteX21" fmla="*/ 2384171 w 4461769"/>
                      <a:gd name="connsiteY21" fmla="*/ 214406 h 2110523"/>
                      <a:gd name="connsiteX22" fmla="*/ 2440269 w 4461769"/>
                      <a:gd name="connsiteY22" fmla="*/ 186356 h 2110523"/>
                      <a:gd name="connsiteX23" fmla="*/ 2462709 w 4461769"/>
                      <a:gd name="connsiteY23" fmla="*/ 158307 h 2110523"/>
                      <a:gd name="connsiteX24" fmla="*/ 2479538 w 4461769"/>
                      <a:gd name="connsiteY24" fmla="*/ 68550 h 2110523"/>
                      <a:gd name="connsiteX25" fmla="*/ 2490758 w 4461769"/>
                      <a:gd name="connsiteY25" fmla="*/ 23672 h 2110523"/>
                      <a:gd name="connsiteX26" fmla="*/ 2546856 w 4461769"/>
                      <a:gd name="connsiteY26" fmla="*/ 6842 h 2110523"/>
                      <a:gd name="connsiteX27" fmla="*/ 2636613 w 4461769"/>
                      <a:gd name="connsiteY27" fmla="*/ 1233 h 2110523"/>
                      <a:gd name="connsiteX28" fmla="*/ 2687101 w 4461769"/>
                      <a:gd name="connsiteY28" fmla="*/ 29282 h 2110523"/>
                      <a:gd name="connsiteX29" fmla="*/ 2743200 w 4461769"/>
                      <a:gd name="connsiteY29" fmla="*/ 163917 h 2110523"/>
                      <a:gd name="connsiteX30" fmla="*/ 2782468 w 4461769"/>
                      <a:gd name="connsiteY30" fmla="*/ 309772 h 2110523"/>
                      <a:gd name="connsiteX31" fmla="*/ 2788078 w 4461769"/>
                      <a:gd name="connsiteY31" fmla="*/ 377090 h 2110523"/>
                      <a:gd name="connsiteX32" fmla="*/ 2816127 w 4461769"/>
                      <a:gd name="connsiteY32" fmla="*/ 405139 h 2110523"/>
                      <a:gd name="connsiteX33" fmla="*/ 2922714 w 4461769"/>
                      <a:gd name="connsiteY33" fmla="*/ 461237 h 2110523"/>
                      <a:gd name="connsiteX34" fmla="*/ 2956373 w 4461769"/>
                      <a:gd name="connsiteY34" fmla="*/ 517336 h 2110523"/>
                      <a:gd name="connsiteX35" fmla="*/ 3135887 w 4461769"/>
                      <a:gd name="connsiteY35" fmla="*/ 562214 h 2110523"/>
                      <a:gd name="connsiteX36" fmla="*/ 3276132 w 4461769"/>
                      <a:gd name="connsiteY36" fmla="*/ 556604 h 2110523"/>
                      <a:gd name="connsiteX37" fmla="*/ 3876382 w 4461769"/>
                      <a:gd name="connsiteY37" fmla="*/ 337822 h 2110523"/>
                      <a:gd name="connsiteX38" fmla="*/ 3986919 w 4461769"/>
                      <a:gd name="connsiteY38" fmla="*/ 329711 h 2110523"/>
                      <a:gd name="connsiteX39" fmla="*/ 4050334 w 4461769"/>
                      <a:gd name="connsiteY39" fmla="*/ 374523 h 2110523"/>
                      <a:gd name="connsiteX40" fmla="*/ 4156873 w 4461769"/>
                      <a:gd name="connsiteY40" fmla="*/ 382700 h 2110523"/>
                      <a:gd name="connsiteX41" fmla="*/ 4368049 w 4461769"/>
                      <a:gd name="connsiteY41" fmla="*/ 391646 h 2110523"/>
                      <a:gd name="connsiteX42" fmla="*/ 4461769 w 4461769"/>
                      <a:gd name="connsiteY42" fmla="*/ 441693 h 2110523"/>
                      <a:gd name="connsiteX0" fmla="*/ 0 w 4461769"/>
                      <a:gd name="connsiteY0" fmla="*/ 2110523 h 2110523"/>
                      <a:gd name="connsiteX1" fmla="*/ 151465 w 4461769"/>
                      <a:gd name="connsiteY1" fmla="*/ 2015156 h 2110523"/>
                      <a:gd name="connsiteX2" fmla="*/ 230002 w 4461769"/>
                      <a:gd name="connsiteY2" fmla="*/ 1858082 h 2110523"/>
                      <a:gd name="connsiteX3" fmla="*/ 403906 w 4461769"/>
                      <a:gd name="connsiteY3" fmla="*/ 1801983 h 2110523"/>
                      <a:gd name="connsiteX4" fmla="*/ 460004 w 4461769"/>
                      <a:gd name="connsiteY4" fmla="*/ 1717836 h 2110523"/>
                      <a:gd name="connsiteX5" fmla="*/ 729276 w 4461769"/>
                      <a:gd name="connsiteY5" fmla="*/ 1471004 h 2110523"/>
                      <a:gd name="connsiteX6" fmla="*/ 835862 w 4461769"/>
                      <a:gd name="connsiteY6" fmla="*/ 1313929 h 2110523"/>
                      <a:gd name="connsiteX7" fmla="*/ 1138792 w 4461769"/>
                      <a:gd name="connsiteY7" fmla="*/ 1274661 h 2110523"/>
                      <a:gd name="connsiteX8" fmla="*/ 1284647 w 4461769"/>
                      <a:gd name="connsiteY8" fmla="*/ 1269051 h 2110523"/>
                      <a:gd name="connsiteX9" fmla="*/ 1363185 w 4461769"/>
                      <a:gd name="connsiteY9" fmla="*/ 1207343 h 2110523"/>
                      <a:gd name="connsiteX10" fmla="*/ 1514650 w 4461769"/>
                      <a:gd name="connsiteY10" fmla="*/ 1201733 h 2110523"/>
                      <a:gd name="connsiteX11" fmla="*/ 1739042 w 4461769"/>
                      <a:gd name="connsiteY11" fmla="*/ 1078317 h 2110523"/>
                      <a:gd name="connsiteX12" fmla="*/ 1963435 w 4461769"/>
                      <a:gd name="connsiteY12" fmla="*/ 803436 h 2110523"/>
                      <a:gd name="connsiteX13" fmla="*/ 2013923 w 4461769"/>
                      <a:gd name="connsiteY13" fmla="*/ 764168 h 2110523"/>
                      <a:gd name="connsiteX14" fmla="*/ 2036363 w 4461769"/>
                      <a:gd name="connsiteY14" fmla="*/ 651971 h 2110523"/>
                      <a:gd name="connsiteX15" fmla="*/ 2176608 w 4461769"/>
                      <a:gd name="connsiteY15" fmla="*/ 545385 h 2110523"/>
                      <a:gd name="connsiteX16" fmla="*/ 2210267 w 4461769"/>
                      <a:gd name="connsiteY16" fmla="*/ 506116 h 2110523"/>
                      <a:gd name="connsiteX17" fmla="*/ 2199047 w 4461769"/>
                      <a:gd name="connsiteY17" fmla="*/ 416359 h 2110523"/>
                      <a:gd name="connsiteX18" fmla="*/ 2221487 w 4461769"/>
                      <a:gd name="connsiteY18" fmla="*/ 326602 h 2110523"/>
                      <a:gd name="connsiteX19" fmla="*/ 2232706 w 4461769"/>
                      <a:gd name="connsiteY19" fmla="*/ 259284 h 2110523"/>
                      <a:gd name="connsiteX20" fmla="*/ 2266365 w 4461769"/>
                      <a:gd name="connsiteY20" fmla="*/ 231235 h 2110523"/>
                      <a:gd name="connsiteX21" fmla="*/ 2384171 w 4461769"/>
                      <a:gd name="connsiteY21" fmla="*/ 214406 h 2110523"/>
                      <a:gd name="connsiteX22" fmla="*/ 2440269 w 4461769"/>
                      <a:gd name="connsiteY22" fmla="*/ 186356 h 2110523"/>
                      <a:gd name="connsiteX23" fmla="*/ 2462709 w 4461769"/>
                      <a:gd name="connsiteY23" fmla="*/ 158307 h 2110523"/>
                      <a:gd name="connsiteX24" fmla="*/ 2479538 w 4461769"/>
                      <a:gd name="connsiteY24" fmla="*/ 68550 h 2110523"/>
                      <a:gd name="connsiteX25" fmla="*/ 2490758 w 4461769"/>
                      <a:gd name="connsiteY25" fmla="*/ 23672 h 2110523"/>
                      <a:gd name="connsiteX26" fmla="*/ 2546856 w 4461769"/>
                      <a:gd name="connsiteY26" fmla="*/ 6842 h 2110523"/>
                      <a:gd name="connsiteX27" fmla="*/ 2636613 w 4461769"/>
                      <a:gd name="connsiteY27" fmla="*/ 1233 h 2110523"/>
                      <a:gd name="connsiteX28" fmla="*/ 2687101 w 4461769"/>
                      <a:gd name="connsiteY28" fmla="*/ 29282 h 2110523"/>
                      <a:gd name="connsiteX29" fmla="*/ 2743200 w 4461769"/>
                      <a:gd name="connsiteY29" fmla="*/ 163917 h 2110523"/>
                      <a:gd name="connsiteX30" fmla="*/ 2782468 w 4461769"/>
                      <a:gd name="connsiteY30" fmla="*/ 309772 h 2110523"/>
                      <a:gd name="connsiteX31" fmla="*/ 2788078 w 4461769"/>
                      <a:gd name="connsiteY31" fmla="*/ 377090 h 2110523"/>
                      <a:gd name="connsiteX32" fmla="*/ 2816127 w 4461769"/>
                      <a:gd name="connsiteY32" fmla="*/ 405139 h 2110523"/>
                      <a:gd name="connsiteX33" fmla="*/ 2922714 w 4461769"/>
                      <a:gd name="connsiteY33" fmla="*/ 461237 h 2110523"/>
                      <a:gd name="connsiteX34" fmla="*/ 2956373 w 4461769"/>
                      <a:gd name="connsiteY34" fmla="*/ 517336 h 2110523"/>
                      <a:gd name="connsiteX35" fmla="*/ 3135887 w 4461769"/>
                      <a:gd name="connsiteY35" fmla="*/ 562214 h 2110523"/>
                      <a:gd name="connsiteX36" fmla="*/ 3276132 w 4461769"/>
                      <a:gd name="connsiteY36" fmla="*/ 556604 h 2110523"/>
                      <a:gd name="connsiteX37" fmla="*/ 3876382 w 4461769"/>
                      <a:gd name="connsiteY37" fmla="*/ 337822 h 2110523"/>
                      <a:gd name="connsiteX38" fmla="*/ 3993769 w 4461769"/>
                      <a:gd name="connsiteY38" fmla="*/ 326286 h 2110523"/>
                      <a:gd name="connsiteX39" fmla="*/ 4050334 w 4461769"/>
                      <a:gd name="connsiteY39" fmla="*/ 374523 h 2110523"/>
                      <a:gd name="connsiteX40" fmla="*/ 4156873 w 4461769"/>
                      <a:gd name="connsiteY40" fmla="*/ 382700 h 2110523"/>
                      <a:gd name="connsiteX41" fmla="*/ 4368049 w 4461769"/>
                      <a:gd name="connsiteY41" fmla="*/ 391646 h 2110523"/>
                      <a:gd name="connsiteX42" fmla="*/ 4461769 w 4461769"/>
                      <a:gd name="connsiteY42" fmla="*/ 441693 h 2110523"/>
                      <a:gd name="connsiteX0" fmla="*/ 0 w 4461769"/>
                      <a:gd name="connsiteY0" fmla="*/ 2110523 h 2110523"/>
                      <a:gd name="connsiteX1" fmla="*/ 151465 w 4461769"/>
                      <a:gd name="connsiteY1" fmla="*/ 2015156 h 2110523"/>
                      <a:gd name="connsiteX2" fmla="*/ 230002 w 4461769"/>
                      <a:gd name="connsiteY2" fmla="*/ 1858082 h 2110523"/>
                      <a:gd name="connsiteX3" fmla="*/ 403906 w 4461769"/>
                      <a:gd name="connsiteY3" fmla="*/ 1801983 h 2110523"/>
                      <a:gd name="connsiteX4" fmla="*/ 460004 w 4461769"/>
                      <a:gd name="connsiteY4" fmla="*/ 1717836 h 2110523"/>
                      <a:gd name="connsiteX5" fmla="*/ 729276 w 4461769"/>
                      <a:gd name="connsiteY5" fmla="*/ 1471004 h 2110523"/>
                      <a:gd name="connsiteX6" fmla="*/ 835862 w 4461769"/>
                      <a:gd name="connsiteY6" fmla="*/ 1313929 h 2110523"/>
                      <a:gd name="connsiteX7" fmla="*/ 1138792 w 4461769"/>
                      <a:gd name="connsiteY7" fmla="*/ 1274661 h 2110523"/>
                      <a:gd name="connsiteX8" fmla="*/ 1284647 w 4461769"/>
                      <a:gd name="connsiteY8" fmla="*/ 1269051 h 2110523"/>
                      <a:gd name="connsiteX9" fmla="*/ 1363185 w 4461769"/>
                      <a:gd name="connsiteY9" fmla="*/ 1207343 h 2110523"/>
                      <a:gd name="connsiteX10" fmla="*/ 1514650 w 4461769"/>
                      <a:gd name="connsiteY10" fmla="*/ 1201733 h 2110523"/>
                      <a:gd name="connsiteX11" fmla="*/ 1739042 w 4461769"/>
                      <a:gd name="connsiteY11" fmla="*/ 1078317 h 2110523"/>
                      <a:gd name="connsiteX12" fmla="*/ 1963435 w 4461769"/>
                      <a:gd name="connsiteY12" fmla="*/ 803436 h 2110523"/>
                      <a:gd name="connsiteX13" fmla="*/ 2013923 w 4461769"/>
                      <a:gd name="connsiteY13" fmla="*/ 764168 h 2110523"/>
                      <a:gd name="connsiteX14" fmla="*/ 2036363 w 4461769"/>
                      <a:gd name="connsiteY14" fmla="*/ 651971 h 2110523"/>
                      <a:gd name="connsiteX15" fmla="*/ 2176608 w 4461769"/>
                      <a:gd name="connsiteY15" fmla="*/ 545385 h 2110523"/>
                      <a:gd name="connsiteX16" fmla="*/ 2210267 w 4461769"/>
                      <a:gd name="connsiteY16" fmla="*/ 506116 h 2110523"/>
                      <a:gd name="connsiteX17" fmla="*/ 2199047 w 4461769"/>
                      <a:gd name="connsiteY17" fmla="*/ 416359 h 2110523"/>
                      <a:gd name="connsiteX18" fmla="*/ 2221487 w 4461769"/>
                      <a:gd name="connsiteY18" fmla="*/ 326602 h 2110523"/>
                      <a:gd name="connsiteX19" fmla="*/ 2232706 w 4461769"/>
                      <a:gd name="connsiteY19" fmla="*/ 259284 h 2110523"/>
                      <a:gd name="connsiteX20" fmla="*/ 2266365 w 4461769"/>
                      <a:gd name="connsiteY20" fmla="*/ 231235 h 2110523"/>
                      <a:gd name="connsiteX21" fmla="*/ 2384171 w 4461769"/>
                      <a:gd name="connsiteY21" fmla="*/ 214406 h 2110523"/>
                      <a:gd name="connsiteX22" fmla="*/ 2440269 w 4461769"/>
                      <a:gd name="connsiteY22" fmla="*/ 186356 h 2110523"/>
                      <a:gd name="connsiteX23" fmla="*/ 2462709 w 4461769"/>
                      <a:gd name="connsiteY23" fmla="*/ 158307 h 2110523"/>
                      <a:gd name="connsiteX24" fmla="*/ 2479538 w 4461769"/>
                      <a:gd name="connsiteY24" fmla="*/ 68550 h 2110523"/>
                      <a:gd name="connsiteX25" fmla="*/ 2490758 w 4461769"/>
                      <a:gd name="connsiteY25" fmla="*/ 23672 h 2110523"/>
                      <a:gd name="connsiteX26" fmla="*/ 2546856 w 4461769"/>
                      <a:gd name="connsiteY26" fmla="*/ 6842 h 2110523"/>
                      <a:gd name="connsiteX27" fmla="*/ 2636613 w 4461769"/>
                      <a:gd name="connsiteY27" fmla="*/ 1233 h 2110523"/>
                      <a:gd name="connsiteX28" fmla="*/ 2687101 w 4461769"/>
                      <a:gd name="connsiteY28" fmla="*/ 29282 h 2110523"/>
                      <a:gd name="connsiteX29" fmla="*/ 2743200 w 4461769"/>
                      <a:gd name="connsiteY29" fmla="*/ 163917 h 2110523"/>
                      <a:gd name="connsiteX30" fmla="*/ 2782468 w 4461769"/>
                      <a:gd name="connsiteY30" fmla="*/ 309772 h 2110523"/>
                      <a:gd name="connsiteX31" fmla="*/ 2788078 w 4461769"/>
                      <a:gd name="connsiteY31" fmla="*/ 377090 h 2110523"/>
                      <a:gd name="connsiteX32" fmla="*/ 2816127 w 4461769"/>
                      <a:gd name="connsiteY32" fmla="*/ 405139 h 2110523"/>
                      <a:gd name="connsiteX33" fmla="*/ 2922714 w 4461769"/>
                      <a:gd name="connsiteY33" fmla="*/ 461237 h 2110523"/>
                      <a:gd name="connsiteX34" fmla="*/ 2956373 w 4461769"/>
                      <a:gd name="connsiteY34" fmla="*/ 517336 h 2110523"/>
                      <a:gd name="connsiteX35" fmla="*/ 3135887 w 4461769"/>
                      <a:gd name="connsiteY35" fmla="*/ 562214 h 2110523"/>
                      <a:gd name="connsiteX36" fmla="*/ 3276132 w 4461769"/>
                      <a:gd name="connsiteY36" fmla="*/ 556604 h 2110523"/>
                      <a:gd name="connsiteX37" fmla="*/ 3876382 w 4461769"/>
                      <a:gd name="connsiteY37" fmla="*/ 337822 h 2110523"/>
                      <a:gd name="connsiteX38" fmla="*/ 3993769 w 4461769"/>
                      <a:gd name="connsiteY38" fmla="*/ 326286 h 2110523"/>
                      <a:gd name="connsiteX39" fmla="*/ 4050334 w 4461769"/>
                      <a:gd name="connsiteY39" fmla="*/ 374523 h 2110523"/>
                      <a:gd name="connsiteX40" fmla="*/ 4156873 w 4461769"/>
                      <a:gd name="connsiteY40" fmla="*/ 382700 h 2110523"/>
                      <a:gd name="connsiteX41" fmla="*/ 4368049 w 4461769"/>
                      <a:gd name="connsiteY41" fmla="*/ 391646 h 2110523"/>
                      <a:gd name="connsiteX42" fmla="*/ 4461769 w 4461769"/>
                      <a:gd name="connsiteY42" fmla="*/ 441693 h 2110523"/>
                      <a:gd name="connsiteX0" fmla="*/ 0 w 4461769"/>
                      <a:gd name="connsiteY0" fmla="*/ 2110523 h 2110523"/>
                      <a:gd name="connsiteX1" fmla="*/ 151465 w 4461769"/>
                      <a:gd name="connsiteY1" fmla="*/ 2015156 h 2110523"/>
                      <a:gd name="connsiteX2" fmla="*/ 230002 w 4461769"/>
                      <a:gd name="connsiteY2" fmla="*/ 1858082 h 2110523"/>
                      <a:gd name="connsiteX3" fmla="*/ 403906 w 4461769"/>
                      <a:gd name="connsiteY3" fmla="*/ 1801983 h 2110523"/>
                      <a:gd name="connsiteX4" fmla="*/ 460004 w 4461769"/>
                      <a:gd name="connsiteY4" fmla="*/ 1717836 h 2110523"/>
                      <a:gd name="connsiteX5" fmla="*/ 729276 w 4461769"/>
                      <a:gd name="connsiteY5" fmla="*/ 1471004 h 2110523"/>
                      <a:gd name="connsiteX6" fmla="*/ 835862 w 4461769"/>
                      <a:gd name="connsiteY6" fmla="*/ 1313929 h 2110523"/>
                      <a:gd name="connsiteX7" fmla="*/ 1138792 w 4461769"/>
                      <a:gd name="connsiteY7" fmla="*/ 1274661 h 2110523"/>
                      <a:gd name="connsiteX8" fmla="*/ 1284647 w 4461769"/>
                      <a:gd name="connsiteY8" fmla="*/ 1269051 h 2110523"/>
                      <a:gd name="connsiteX9" fmla="*/ 1363185 w 4461769"/>
                      <a:gd name="connsiteY9" fmla="*/ 1207343 h 2110523"/>
                      <a:gd name="connsiteX10" fmla="*/ 1514650 w 4461769"/>
                      <a:gd name="connsiteY10" fmla="*/ 1201733 h 2110523"/>
                      <a:gd name="connsiteX11" fmla="*/ 1739042 w 4461769"/>
                      <a:gd name="connsiteY11" fmla="*/ 1078317 h 2110523"/>
                      <a:gd name="connsiteX12" fmla="*/ 1963435 w 4461769"/>
                      <a:gd name="connsiteY12" fmla="*/ 803436 h 2110523"/>
                      <a:gd name="connsiteX13" fmla="*/ 2013923 w 4461769"/>
                      <a:gd name="connsiteY13" fmla="*/ 764168 h 2110523"/>
                      <a:gd name="connsiteX14" fmla="*/ 2036363 w 4461769"/>
                      <a:gd name="connsiteY14" fmla="*/ 651971 h 2110523"/>
                      <a:gd name="connsiteX15" fmla="*/ 2176608 w 4461769"/>
                      <a:gd name="connsiteY15" fmla="*/ 545385 h 2110523"/>
                      <a:gd name="connsiteX16" fmla="*/ 2210267 w 4461769"/>
                      <a:gd name="connsiteY16" fmla="*/ 506116 h 2110523"/>
                      <a:gd name="connsiteX17" fmla="*/ 2199047 w 4461769"/>
                      <a:gd name="connsiteY17" fmla="*/ 416359 h 2110523"/>
                      <a:gd name="connsiteX18" fmla="*/ 2221487 w 4461769"/>
                      <a:gd name="connsiteY18" fmla="*/ 326602 h 2110523"/>
                      <a:gd name="connsiteX19" fmla="*/ 2232706 w 4461769"/>
                      <a:gd name="connsiteY19" fmla="*/ 259284 h 2110523"/>
                      <a:gd name="connsiteX20" fmla="*/ 2266365 w 4461769"/>
                      <a:gd name="connsiteY20" fmla="*/ 231235 h 2110523"/>
                      <a:gd name="connsiteX21" fmla="*/ 2384171 w 4461769"/>
                      <a:gd name="connsiteY21" fmla="*/ 214406 h 2110523"/>
                      <a:gd name="connsiteX22" fmla="*/ 2440269 w 4461769"/>
                      <a:gd name="connsiteY22" fmla="*/ 186356 h 2110523"/>
                      <a:gd name="connsiteX23" fmla="*/ 2462709 w 4461769"/>
                      <a:gd name="connsiteY23" fmla="*/ 158307 h 2110523"/>
                      <a:gd name="connsiteX24" fmla="*/ 2479538 w 4461769"/>
                      <a:gd name="connsiteY24" fmla="*/ 68550 h 2110523"/>
                      <a:gd name="connsiteX25" fmla="*/ 2490758 w 4461769"/>
                      <a:gd name="connsiteY25" fmla="*/ 23672 h 2110523"/>
                      <a:gd name="connsiteX26" fmla="*/ 2546856 w 4461769"/>
                      <a:gd name="connsiteY26" fmla="*/ 6842 h 2110523"/>
                      <a:gd name="connsiteX27" fmla="*/ 2636613 w 4461769"/>
                      <a:gd name="connsiteY27" fmla="*/ 1233 h 2110523"/>
                      <a:gd name="connsiteX28" fmla="*/ 2687101 w 4461769"/>
                      <a:gd name="connsiteY28" fmla="*/ 29282 h 2110523"/>
                      <a:gd name="connsiteX29" fmla="*/ 2743200 w 4461769"/>
                      <a:gd name="connsiteY29" fmla="*/ 163917 h 2110523"/>
                      <a:gd name="connsiteX30" fmla="*/ 2782468 w 4461769"/>
                      <a:gd name="connsiteY30" fmla="*/ 309772 h 2110523"/>
                      <a:gd name="connsiteX31" fmla="*/ 2788078 w 4461769"/>
                      <a:gd name="connsiteY31" fmla="*/ 377090 h 2110523"/>
                      <a:gd name="connsiteX32" fmla="*/ 2816127 w 4461769"/>
                      <a:gd name="connsiteY32" fmla="*/ 405139 h 2110523"/>
                      <a:gd name="connsiteX33" fmla="*/ 2922714 w 4461769"/>
                      <a:gd name="connsiteY33" fmla="*/ 461237 h 2110523"/>
                      <a:gd name="connsiteX34" fmla="*/ 2956373 w 4461769"/>
                      <a:gd name="connsiteY34" fmla="*/ 517336 h 2110523"/>
                      <a:gd name="connsiteX35" fmla="*/ 3135887 w 4461769"/>
                      <a:gd name="connsiteY35" fmla="*/ 562214 h 2110523"/>
                      <a:gd name="connsiteX36" fmla="*/ 3276132 w 4461769"/>
                      <a:gd name="connsiteY36" fmla="*/ 556604 h 2110523"/>
                      <a:gd name="connsiteX37" fmla="*/ 3876382 w 4461769"/>
                      <a:gd name="connsiteY37" fmla="*/ 337822 h 2110523"/>
                      <a:gd name="connsiteX38" fmla="*/ 3993769 w 4461769"/>
                      <a:gd name="connsiteY38" fmla="*/ 326286 h 2110523"/>
                      <a:gd name="connsiteX39" fmla="*/ 4050334 w 4461769"/>
                      <a:gd name="connsiteY39" fmla="*/ 371098 h 2110523"/>
                      <a:gd name="connsiteX40" fmla="*/ 4156873 w 4461769"/>
                      <a:gd name="connsiteY40" fmla="*/ 382700 h 2110523"/>
                      <a:gd name="connsiteX41" fmla="*/ 4368049 w 4461769"/>
                      <a:gd name="connsiteY41" fmla="*/ 391646 h 2110523"/>
                      <a:gd name="connsiteX42" fmla="*/ 4461769 w 4461769"/>
                      <a:gd name="connsiteY42" fmla="*/ 441693 h 2110523"/>
                      <a:gd name="connsiteX0" fmla="*/ 0 w 4461769"/>
                      <a:gd name="connsiteY0" fmla="*/ 2110523 h 2110523"/>
                      <a:gd name="connsiteX1" fmla="*/ 151465 w 4461769"/>
                      <a:gd name="connsiteY1" fmla="*/ 2015156 h 2110523"/>
                      <a:gd name="connsiteX2" fmla="*/ 230002 w 4461769"/>
                      <a:gd name="connsiteY2" fmla="*/ 1858082 h 2110523"/>
                      <a:gd name="connsiteX3" fmla="*/ 403906 w 4461769"/>
                      <a:gd name="connsiteY3" fmla="*/ 1801983 h 2110523"/>
                      <a:gd name="connsiteX4" fmla="*/ 460004 w 4461769"/>
                      <a:gd name="connsiteY4" fmla="*/ 1717836 h 2110523"/>
                      <a:gd name="connsiteX5" fmla="*/ 729276 w 4461769"/>
                      <a:gd name="connsiteY5" fmla="*/ 1471004 h 2110523"/>
                      <a:gd name="connsiteX6" fmla="*/ 835862 w 4461769"/>
                      <a:gd name="connsiteY6" fmla="*/ 1313929 h 2110523"/>
                      <a:gd name="connsiteX7" fmla="*/ 1138792 w 4461769"/>
                      <a:gd name="connsiteY7" fmla="*/ 1274661 h 2110523"/>
                      <a:gd name="connsiteX8" fmla="*/ 1284647 w 4461769"/>
                      <a:gd name="connsiteY8" fmla="*/ 1269051 h 2110523"/>
                      <a:gd name="connsiteX9" fmla="*/ 1363185 w 4461769"/>
                      <a:gd name="connsiteY9" fmla="*/ 1207343 h 2110523"/>
                      <a:gd name="connsiteX10" fmla="*/ 1514650 w 4461769"/>
                      <a:gd name="connsiteY10" fmla="*/ 1201733 h 2110523"/>
                      <a:gd name="connsiteX11" fmla="*/ 1739042 w 4461769"/>
                      <a:gd name="connsiteY11" fmla="*/ 1078317 h 2110523"/>
                      <a:gd name="connsiteX12" fmla="*/ 1963435 w 4461769"/>
                      <a:gd name="connsiteY12" fmla="*/ 803436 h 2110523"/>
                      <a:gd name="connsiteX13" fmla="*/ 2013923 w 4461769"/>
                      <a:gd name="connsiteY13" fmla="*/ 764168 h 2110523"/>
                      <a:gd name="connsiteX14" fmla="*/ 2036363 w 4461769"/>
                      <a:gd name="connsiteY14" fmla="*/ 651971 h 2110523"/>
                      <a:gd name="connsiteX15" fmla="*/ 2176608 w 4461769"/>
                      <a:gd name="connsiteY15" fmla="*/ 545385 h 2110523"/>
                      <a:gd name="connsiteX16" fmla="*/ 2210267 w 4461769"/>
                      <a:gd name="connsiteY16" fmla="*/ 506116 h 2110523"/>
                      <a:gd name="connsiteX17" fmla="*/ 2199047 w 4461769"/>
                      <a:gd name="connsiteY17" fmla="*/ 416359 h 2110523"/>
                      <a:gd name="connsiteX18" fmla="*/ 2221487 w 4461769"/>
                      <a:gd name="connsiteY18" fmla="*/ 326602 h 2110523"/>
                      <a:gd name="connsiteX19" fmla="*/ 2232706 w 4461769"/>
                      <a:gd name="connsiteY19" fmla="*/ 259284 h 2110523"/>
                      <a:gd name="connsiteX20" fmla="*/ 2266365 w 4461769"/>
                      <a:gd name="connsiteY20" fmla="*/ 231235 h 2110523"/>
                      <a:gd name="connsiteX21" fmla="*/ 2384171 w 4461769"/>
                      <a:gd name="connsiteY21" fmla="*/ 214406 h 2110523"/>
                      <a:gd name="connsiteX22" fmla="*/ 2440269 w 4461769"/>
                      <a:gd name="connsiteY22" fmla="*/ 186356 h 2110523"/>
                      <a:gd name="connsiteX23" fmla="*/ 2462709 w 4461769"/>
                      <a:gd name="connsiteY23" fmla="*/ 158307 h 2110523"/>
                      <a:gd name="connsiteX24" fmla="*/ 2479538 w 4461769"/>
                      <a:gd name="connsiteY24" fmla="*/ 68550 h 2110523"/>
                      <a:gd name="connsiteX25" fmla="*/ 2490758 w 4461769"/>
                      <a:gd name="connsiteY25" fmla="*/ 23672 h 2110523"/>
                      <a:gd name="connsiteX26" fmla="*/ 2546856 w 4461769"/>
                      <a:gd name="connsiteY26" fmla="*/ 6842 h 2110523"/>
                      <a:gd name="connsiteX27" fmla="*/ 2636613 w 4461769"/>
                      <a:gd name="connsiteY27" fmla="*/ 1233 h 2110523"/>
                      <a:gd name="connsiteX28" fmla="*/ 2687101 w 4461769"/>
                      <a:gd name="connsiteY28" fmla="*/ 29282 h 2110523"/>
                      <a:gd name="connsiteX29" fmla="*/ 2743200 w 4461769"/>
                      <a:gd name="connsiteY29" fmla="*/ 163917 h 2110523"/>
                      <a:gd name="connsiteX30" fmla="*/ 2782468 w 4461769"/>
                      <a:gd name="connsiteY30" fmla="*/ 309772 h 2110523"/>
                      <a:gd name="connsiteX31" fmla="*/ 2788078 w 4461769"/>
                      <a:gd name="connsiteY31" fmla="*/ 377090 h 2110523"/>
                      <a:gd name="connsiteX32" fmla="*/ 2816127 w 4461769"/>
                      <a:gd name="connsiteY32" fmla="*/ 405139 h 2110523"/>
                      <a:gd name="connsiteX33" fmla="*/ 2922714 w 4461769"/>
                      <a:gd name="connsiteY33" fmla="*/ 461237 h 2110523"/>
                      <a:gd name="connsiteX34" fmla="*/ 2956373 w 4461769"/>
                      <a:gd name="connsiteY34" fmla="*/ 517336 h 2110523"/>
                      <a:gd name="connsiteX35" fmla="*/ 3135887 w 4461769"/>
                      <a:gd name="connsiteY35" fmla="*/ 562214 h 2110523"/>
                      <a:gd name="connsiteX36" fmla="*/ 3276132 w 4461769"/>
                      <a:gd name="connsiteY36" fmla="*/ 556604 h 2110523"/>
                      <a:gd name="connsiteX37" fmla="*/ 3876382 w 4461769"/>
                      <a:gd name="connsiteY37" fmla="*/ 337822 h 2110523"/>
                      <a:gd name="connsiteX38" fmla="*/ 3993769 w 4461769"/>
                      <a:gd name="connsiteY38" fmla="*/ 339985 h 2110523"/>
                      <a:gd name="connsiteX39" fmla="*/ 4050334 w 4461769"/>
                      <a:gd name="connsiteY39" fmla="*/ 371098 h 2110523"/>
                      <a:gd name="connsiteX40" fmla="*/ 4156873 w 4461769"/>
                      <a:gd name="connsiteY40" fmla="*/ 382700 h 2110523"/>
                      <a:gd name="connsiteX41" fmla="*/ 4368049 w 4461769"/>
                      <a:gd name="connsiteY41" fmla="*/ 391646 h 2110523"/>
                      <a:gd name="connsiteX42" fmla="*/ 4461769 w 4461769"/>
                      <a:gd name="connsiteY42" fmla="*/ 441693 h 2110523"/>
                      <a:gd name="connsiteX0" fmla="*/ 0 w 4461769"/>
                      <a:gd name="connsiteY0" fmla="*/ 2110523 h 2110523"/>
                      <a:gd name="connsiteX1" fmla="*/ 151465 w 4461769"/>
                      <a:gd name="connsiteY1" fmla="*/ 2015156 h 2110523"/>
                      <a:gd name="connsiteX2" fmla="*/ 230002 w 4461769"/>
                      <a:gd name="connsiteY2" fmla="*/ 1858082 h 2110523"/>
                      <a:gd name="connsiteX3" fmla="*/ 403906 w 4461769"/>
                      <a:gd name="connsiteY3" fmla="*/ 1801983 h 2110523"/>
                      <a:gd name="connsiteX4" fmla="*/ 460004 w 4461769"/>
                      <a:gd name="connsiteY4" fmla="*/ 1717836 h 2110523"/>
                      <a:gd name="connsiteX5" fmla="*/ 729276 w 4461769"/>
                      <a:gd name="connsiteY5" fmla="*/ 1471004 h 2110523"/>
                      <a:gd name="connsiteX6" fmla="*/ 835862 w 4461769"/>
                      <a:gd name="connsiteY6" fmla="*/ 1313929 h 2110523"/>
                      <a:gd name="connsiteX7" fmla="*/ 1138792 w 4461769"/>
                      <a:gd name="connsiteY7" fmla="*/ 1274661 h 2110523"/>
                      <a:gd name="connsiteX8" fmla="*/ 1284647 w 4461769"/>
                      <a:gd name="connsiteY8" fmla="*/ 1269051 h 2110523"/>
                      <a:gd name="connsiteX9" fmla="*/ 1363185 w 4461769"/>
                      <a:gd name="connsiteY9" fmla="*/ 1207343 h 2110523"/>
                      <a:gd name="connsiteX10" fmla="*/ 1514650 w 4461769"/>
                      <a:gd name="connsiteY10" fmla="*/ 1201733 h 2110523"/>
                      <a:gd name="connsiteX11" fmla="*/ 1739042 w 4461769"/>
                      <a:gd name="connsiteY11" fmla="*/ 1078317 h 2110523"/>
                      <a:gd name="connsiteX12" fmla="*/ 1963435 w 4461769"/>
                      <a:gd name="connsiteY12" fmla="*/ 803436 h 2110523"/>
                      <a:gd name="connsiteX13" fmla="*/ 2013923 w 4461769"/>
                      <a:gd name="connsiteY13" fmla="*/ 764168 h 2110523"/>
                      <a:gd name="connsiteX14" fmla="*/ 2036363 w 4461769"/>
                      <a:gd name="connsiteY14" fmla="*/ 651971 h 2110523"/>
                      <a:gd name="connsiteX15" fmla="*/ 2176608 w 4461769"/>
                      <a:gd name="connsiteY15" fmla="*/ 545385 h 2110523"/>
                      <a:gd name="connsiteX16" fmla="*/ 2210267 w 4461769"/>
                      <a:gd name="connsiteY16" fmla="*/ 506116 h 2110523"/>
                      <a:gd name="connsiteX17" fmla="*/ 2199047 w 4461769"/>
                      <a:gd name="connsiteY17" fmla="*/ 416359 h 2110523"/>
                      <a:gd name="connsiteX18" fmla="*/ 2221487 w 4461769"/>
                      <a:gd name="connsiteY18" fmla="*/ 326602 h 2110523"/>
                      <a:gd name="connsiteX19" fmla="*/ 2232706 w 4461769"/>
                      <a:gd name="connsiteY19" fmla="*/ 259284 h 2110523"/>
                      <a:gd name="connsiteX20" fmla="*/ 2266365 w 4461769"/>
                      <a:gd name="connsiteY20" fmla="*/ 231235 h 2110523"/>
                      <a:gd name="connsiteX21" fmla="*/ 2384171 w 4461769"/>
                      <a:gd name="connsiteY21" fmla="*/ 214406 h 2110523"/>
                      <a:gd name="connsiteX22" fmla="*/ 2440269 w 4461769"/>
                      <a:gd name="connsiteY22" fmla="*/ 186356 h 2110523"/>
                      <a:gd name="connsiteX23" fmla="*/ 2462709 w 4461769"/>
                      <a:gd name="connsiteY23" fmla="*/ 158307 h 2110523"/>
                      <a:gd name="connsiteX24" fmla="*/ 2479538 w 4461769"/>
                      <a:gd name="connsiteY24" fmla="*/ 68550 h 2110523"/>
                      <a:gd name="connsiteX25" fmla="*/ 2490758 w 4461769"/>
                      <a:gd name="connsiteY25" fmla="*/ 23672 h 2110523"/>
                      <a:gd name="connsiteX26" fmla="*/ 2546856 w 4461769"/>
                      <a:gd name="connsiteY26" fmla="*/ 6842 h 2110523"/>
                      <a:gd name="connsiteX27" fmla="*/ 2636613 w 4461769"/>
                      <a:gd name="connsiteY27" fmla="*/ 1233 h 2110523"/>
                      <a:gd name="connsiteX28" fmla="*/ 2687101 w 4461769"/>
                      <a:gd name="connsiteY28" fmla="*/ 29282 h 2110523"/>
                      <a:gd name="connsiteX29" fmla="*/ 2743200 w 4461769"/>
                      <a:gd name="connsiteY29" fmla="*/ 163917 h 2110523"/>
                      <a:gd name="connsiteX30" fmla="*/ 2782468 w 4461769"/>
                      <a:gd name="connsiteY30" fmla="*/ 309772 h 2110523"/>
                      <a:gd name="connsiteX31" fmla="*/ 2788078 w 4461769"/>
                      <a:gd name="connsiteY31" fmla="*/ 377090 h 2110523"/>
                      <a:gd name="connsiteX32" fmla="*/ 2816127 w 4461769"/>
                      <a:gd name="connsiteY32" fmla="*/ 405139 h 2110523"/>
                      <a:gd name="connsiteX33" fmla="*/ 2922714 w 4461769"/>
                      <a:gd name="connsiteY33" fmla="*/ 461237 h 2110523"/>
                      <a:gd name="connsiteX34" fmla="*/ 2956373 w 4461769"/>
                      <a:gd name="connsiteY34" fmla="*/ 517336 h 2110523"/>
                      <a:gd name="connsiteX35" fmla="*/ 3135887 w 4461769"/>
                      <a:gd name="connsiteY35" fmla="*/ 562214 h 2110523"/>
                      <a:gd name="connsiteX36" fmla="*/ 3276132 w 4461769"/>
                      <a:gd name="connsiteY36" fmla="*/ 556604 h 2110523"/>
                      <a:gd name="connsiteX37" fmla="*/ 3890080 w 4461769"/>
                      <a:gd name="connsiteY37" fmla="*/ 344672 h 2110523"/>
                      <a:gd name="connsiteX38" fmla="*/ 3993769 w 4461769"/>
                      <a:gd name="connsiteY38" fmla="*/ 339985 h 2110523"/>
                      <a:gd name="connsiteX39" fmla="*/ 4050334 w 4461769"/>
                      <a:gd name="connsiteY39" fmla="*/ 371098 h 2110523"/>
                      <a:gd name="connsiteX40" fmla="*/ 4156873 w 4461769"/>
                      <a:gd name="connsiteY40" fmla="*/ 382700 h 2110523"/>
                      <a:gd name="connsiteX41" fmla="*/ 4368049 w 4461769"/>
                      <a:gd name="connsiteY41" fmla="*/ 391646 h 2110523"/>
                      <a:gd name="connsiteX42" fmla="*/ 4461769 w 4461769"/>
                      <a:gd name="connsiteY42" fmla="*/ 441693 h 2110523"/>
                      <a:gd name="connsiteX0" fmla="*/ 0 w 4461769"/>
                      <a:gd name="connsiteY0" fmla="*/ 2110523 h 2110523"/>
                      <a:gd name="connsiteX1" fmla="*/ 151465 w 4461769"/>
                      <a:gd name="connsiteY1" fmla="*/ 2015156 h 2110523"/>
                      <a:gd name="connsiteX2" fmla="*/ 230002 w 4461769"/>
                      <a:gd name="connsiteY2" fmla="*/ 1858082 h 2110523"/>
                      <a:gd name="connsiteX3" fmla="*/ 403906 w 4461769"/>
                      <a:gd name="connsiteY3" fmla="*/ 1801983 h 2110523"/>
                      <a:gd name="connsiteX4" fmla="*/ 460004 w 4461769"/>
                      <a:gd name="connsiteY4" fmla="*/ 1717836 h 2110523"/>
                      <a:gd name="connsiteX5" fmla="*/ 729276 w 4461769"/>
                      <a:gd name="connsiteY5" fmla="*/ 1471004 h 2110523"/>
                      <a:gd name="connsiteX6" fmla="*/ 835862 w 4461769"/>
                      <a:gd name="connsiteY6" fmla="*/ 1313929 h 2110523"/>
                      <a:gd name="connsiteX7" fmla="*/ 1138792 w 4461769"/>
                      <a:gd name="connsiteY7" fmla="*/ 1274661 h 2110523"/>
                      <a:gd name="connsiteX8" fmla="*/ 1284647 w 4461769"/>
                      <a:gd name="connsiteY8" fmla="*/ 1269051 h 2110523"/>
                      <a:gd name="connsiteX9" fmla="*/ 1363185 w 4461769"/>
                      <a:gd name="connsiteY9" fmla="*/ 1207343 h 2110523"/>
                      <a:gd name="connsiteX10" fmla="*/ 1514650 w 4461769"/>
                      <a:gd name="connsiteY10" fmla="*/ 1201733 h 2110523"/>
                      <a:gd name="connsiteX11" fmla="*/ 1739042 w 4461769"/>
                      <a:gd name="connsiteY11" fmla="*/ 1078317 h 2110523"/>
                      <a:gd name="connsiteX12" fmla="*/ 1963435 w 4461769"/>
                      <a:gd name="connsiteY12" fmla="*/ 803436 h 2110523"/>
                      <a:gd name="connsiteX13" fmla="*/ 2013923 w 4461769"/>
                      <a:gd name="connsiteY13" fmla="*/ 764168 h 2110523"/>
                      <a:gd name="connsiteX14" fmla="*/ 2036363 w 4461769"/>
                      <a:gd name="connsiteY14" fmla="*/ 651971 h 2110523"/>
                      <a:gd name="connsiteX15" fmla="*/ 2176608 w 4461769"/>
                      <a:gd name="connsiteY15" fmla="*/ 545385 h 2110523"/>
                      <a:gd name="connsiteX16" fmla="*/ 2210267 w 4461769"/>
                      <a:gd name="connsiteY16" fmla="*/ 506116 h 2110523"/>
                      <a:gd name="connsiteX17" fmla="*/ 2199047 w 4461769"/>
                      <a:gd name="connsiteY17" fmla="*/ 416359 h 2110523"/>
                      <a:gd name="connsiteX18" fmla="*/ 2221487 w 4461769"/>
                      <a:gd name="connsiteY18" fmla="*/ 326602 h 2110523"/>
                      <a:gd name="connsiteX19" fmla="*/ 2232706 w 4461769"/>
                      <a:gd name="connsiteY19" fmla="*/ 259284 h 2110523"/>
                      <a:gd name="connsiteX20" fmla="*/ 2266365 w 4461769"/>
                      <a:gd name="connsiteY20" fmla="*/ 231235 h 2110523"/>
                      <a:gd name="connsiteX21" fmla="*/ 2384171 w 4461769"/>
                      <a:gd name="connsiteY21" fmla="*/ 214406 h 2110523"/>
                      <a:gd name="connsiteX22" fmla="*/ 2440269 w 4461769"/>
                      <a:gd name="connsiteY22" fmla="*/ 186356 h 2110523"/>
                      <a:gd name="connsiteX23" fmla="*/ 2462709 w 4461769"/>
                      <a:gd name="connsiteY23" fmla="*/ 158307 h 2110523"/>
                      <a:gd name="connsiteX24" fmla="*/ 2479538 w 4461769"/>
                      <a:gd name="connsiteY24" fmla="*/ 68550 h 2110523"/>
                      <a:gd name="connsiteX25" fmla="*/ 2490758 w 4461769"/>
                      <a:gd name="connsiteY25" fmla="*/ 23672 h 2110523"/>
                      <a:gd name="connsiteX26" fmla="*/ 2546856 w 4461769"/>
                      <a:gd name="connsiteY26" fmla="*/ 6842 h 2110523"/>
                      <a:gd name="connsiteX27" fmla="*/ 2636613 w 4461769"/>
                      <a:gd name="connsiteY27" fmla="*/ 1233 h 2110523"/>
                      <a:gd name="connsiteX28" fmla="*/ 2687101 w 4461769"/>
                      <a:gd name="connsiteY28" fmla="*/ 29282 h 2110523"/>
                      <a:gd name="connsiteX29" fmla="*/ 2743200 w 4461769"/>
                      <a:gd name="connsiteY29" fmla="*/ 163917 h 2110523"/>
                      <a:gd name="connsiteX30" fmla="*/ 2782468 w 4461769"/>
                      <a:gd name="connsiteY30" fmla="*/ 309772 h 2110523"/>
                      <a:gd name="connsiteX31" fmla="*/ 2788078 w 4461769"/>
                      <a:gd name="connsiteY31" fmla="*/ 377090 h 2110523"/>
                      <a:gd name="connsiteX32" fmla="*/ 2816127 w 4461769"/>
                      <a:gd name="connsiteY32" fmla="*/ 405139 h 2110523"/>
                      <a:gd name="connsiteX33" fmla="*/ 2922714 w 4461769"/>
                      <a:gd name="connsiteY33" fmla="*/ 461237 h 2110523"/>
                      <a:gd name="connsiteX34" fmla="*/ 2956373 w 4461769"/>
                      <a:gd name="connsiteY34" fmla="*/ 517336 h 2110523"/>
                      <a:gd name="connsiteX35" fmla="*/ 3135887 w 4461769"/>
                      <a:gd name="connsiteY35" fmla="*/ 562214 h 2110523"/>
                      <a:gd name="connsiteX36" fmla="*/ 3276132 w 4461769"/>
                      <a:gd name="connsiteY36" fmla="*/ 556604 h 2110523"/>
                      <a:gd name="connsiteX37" fmla="*/ 3869532 w 4461769"/>
                      <a:gd name="connsiteY37" fmla="*/ 344672 h 2110523"/>
                      <a:gd name="connsiteX38" fmla="*/ 3993769 w 4461769"/>
                      <a:gd name="connsiteY38" fmla="*/ 339985 h 2110523"/>
                      <a:gd name="connsiteX39" fmla="*/ 4050334 w 4461769"/>
                      <a:gd name="connsiteY39" fmla="*/ 371098 h 2110523"/>
                      <a:gd name="connsiteX40" fmla="*/ 4156873 w 4461769"/>
                      <a:gd name="connsiteY40" fmla="*/ 382700 h 2110523"/>
                      <a:gd name="connsiteX41" fmla="*/ 4368049 w 4461769"/>
                      <a:gd name="connsiteY41" fmla="*/ 391646 h 2110523"/>
                      <a:gd name="connsiteX42" fmla="*/ 4461769 w 4461769"/>
                      <a:gd name="connsiteY42" fmla="*/ 441693 h 2110523"/>
                      <a:gd name="connsiteX0" fmla="*/ 0 w 4461769"/>
                      <a:gd name="connsiteY0" fmla="*/ 2110523 h 2110523"/>
                      <a:gd name="connsiteX1" fmla="*/ 151465 w 4461769"/>
                      <a:gd name="connsiteY1" fmla="*/ 2015156 h 2110523"/>
                      <a:gd name="connsiteX2" fmla="*/ 230002 w 4461769"/>
                      <a:gd name="connsiteY2" fmla="*/ 1858082 h 2110523"/>
                      <a:gd name="connsiteX3" fmla="*/ 403906 w 4461769"/>
                      <a:gd name="connsiteY3" fmla="*/ 1801983 h 2110523"/>
                      <a:gd name="connsiteX4" fmla="*/ 460004 w 4461769"/>
                      <a:gd name="connsiteY4" fmla="*/ 1717836 h 2110523"/>
                      <a:gd name="connsiteX5" fmla="*/ 729276 w 4461769"/>
                      <a:gd name="connsiteY5" fmla="*/ 1471004 h 2110523"/>
                      <a:gd name="connsiteX6" fmla="*/ 835862 w 4461769"/>
                      <a:gd name="connsiteY6" fmla="*/ 1313929 h 2110523"/>
                      <a:gd name="connsiteX7" fmla="*/ 1138792 w 4461769"/>
                      <a:gd name="connsiteY7" fmla="*/ 1274661 h 2110523"/>
                      <a:gd name="connsiteX8" fmla="*/ 1284647 w 4461769"/>
                      <a:gd name="connsiteY8" fmla="*/ 1269051 h 2110523"/>
                      <a:gd name="connsiteX9" fmla="*/ 1363185 w 4461769"/>
                      <a:gd name="connsiteY9" fmla="*/ 1207343 h 2110523"/>
                      <a:gd name="connsiteX10" fmla="*/ 1514650 w 4461769"/>
                      <a:gd name="connsiteY10" fmla="*/ 1201733 h 2110523"/>
                      <a:gd name="connsiteX11" fmla="*/ 1739042 w 4461769"/>
                      <a:gd name="connsiteY11" fmla="*/ 1078317 h 2110523"/>
                      <a:gd name="connsiteX12" fmla="*/ 1963435 w 4461769"/>
                      <a:gd name="connsiteY12" fmla="*/ 803436 h 2110523"/>
                      <a:gd name="connsiteX13" fmla="*/ 2013923 w 4461769"/>
                      <a:gd name="connsiteY13" fmla="*/ 764168 h 2110523"/>
                      <a:gd name="connsiteX14" fmla="*/ 2036363 w 4461769"/>
                      <a:gd name="connsiteY14" fmla="*/ 651971 h 2110523"/>
                      <a:gd name="connsiteX15" fmla="*/ 2176608 w 4461769"/>
                      <a:gd name="connsiteY15" fmla="*/ 545385 h 2110523"/>
                      <a:gd name="connsiteX16" fmla="*/ 2210267 w 4461769"/>
                      <a:gd name="connsiteY16" fmla="*/ 506116 h 2110523"/>
                      <a:gd name="connsiteX17" fmla="*/ 2199047 w 4461769"/>
                      <a:gd name="connsiteY17" fmla="*/ 416359 h 2110523"/>
                      <a:gd name="connsiteX18" fmla="*/ 2221487 w 4461769"/>
                      <a:gd name="connsiteY18" fmla="*/ 326602 h 2110523"/>
                      <a:gd name="connsiteX19" fmla="*/ 2232706 w 4461769"/>
                      <a:gd name="connsiteY19" fmla="*/ 259284 h 2110523"/>
                      <a:gd name="connsiteX20" fmla="*/ 2266365 w 4461769"/>
                      <a:gd name="connsiteY20" fmla="*/ 231235 h 2110523"/>
                      <a:gd name="connsiteX21" fmla="*/ 2384171 w 4461769"/>
                      <a:gd name="connsiteY21" fmla="*/ 214406 h 2110523"/>
                      <a:gd name="connsiteX22" fmla="*/ 2440269 w 4461769"/>
                      <a:gd name="connsiteY22" fmla="*/ 186356 h 2110523"/>
                      <a:gd name="connsiteX23" fmla="*/ 2462709 w 4461769"/>
                      <a:gd name="connsiteY23" fmla="*/ 158307 h 2110523"/>
                      <a:gd name="connsiteX24" fmla="*/ 2479538 w 4461769"/>
                      <a:gd name="connsiteY24" fmla="*/ 68550 h 2110523"/>
                      <a:gd name="connsiteX25" fmla="*/ 2490758 w 4461769"/>
                      <a:gd name="connsiteY25" fmla="*/ 23672 h 2110523"/>
                      <a:gd name="connsiteX26" fmla="*/ 2546856 w 4461769"/>
                      <a:gd name="connsiteY26" fmla="*/ 6842 h 2110523"/>
                      <a:gd name="connsiteX27" fmla="*/ 2636613 w 4461769"/>
                      <a:gd name="connsiteY27" fmla="*/ 1233 h 2110523"/>
                      <a:gd name="connsiteX28" fmla="*/ 2687101 w 4461769"/>
                      <a:gd name="connsiteY28" fmla="*/ 29282 h 2110523"/>
                      <a:gd name="connsiteX29" fmla="*/ 2743200 w 4461769"/>
                      <a:gd name="connsiteY29" fmla="*/ 163917 h 2110523"/>
                      <a:gd name="connsiteX30" fmla="*/ 2782468 w 4461769"/>
                      <a:gd name="connsiteY30" fmla="*/ 309772 h 2110523"/>
                      <a:gd name="connsiteX31" fmla="*/ 2788078 w 4461769"/>
                      <a:gd name="connsiteY31" fmla="*/ 377090 h 2110523"/>
                      <a:gd name="connsiteX32" fmla="*/ 2816127 w 4461769"/>
                      <a:gd name="connsiteY32" fmla="*/ 405139 h 2110523"/>
                      <a:gd name="connsiteX33" fmla="*/ 2922714 w 4461769"/>
                      <a:gd name="connsiteY33" fmla="*/ 461237 h 2110523"/>
                      <a:gd name="connsiteX34" fmla="*/ 2956373 w 4461769"/>
                      <a:gd name="connsiteY34" fmla="*/ 517336 h 2110523"/>
                      <a:gd name="connsiteX35" fmla="*/ 3135887 w 4461769"/>
                      <a:gd name="connsiteY35" fmla="*/ 562214 h 2110523"/>
                      <a:gd name="connsiteX36" fmla="*/ 3199233 w 4461769"/>
                      <a:gd name="connsiteY36" fmla="*/ 566017 h 2110523"/>
                      <a:gd name="connsiteX37" fmla="*/ 3276132 w 4461769"/>
                      <a:gd name="connsiteY37" fmla="*/ 556604 h 2110523"/>
                      <a:gd name="connsiteX38" fmla="*/ 3869532 w 4461769"/>
                      <a:gd name="connsiteY38" fmla="*/ 344672 h 2110523"/>
                      <a:gd name="connsiteX39" fmla="*/ 3993769 w 4461769"/>
                      <a:gd name="connsiteY39" fmla="*/ 339985 h 2110523"/>
                      <a:gd name="connsiteX40" fmla="*/ 4050334 w 4461769"/>
                      <a:gd name="connsiteY40" fmla="*/ 371098 h 2110523"/>
                      <a:gd name="connsiteX41" fmla="*/ 4156873 w 4461769"/>
                      <a:gd name="connsiteY41" fmla="*/ 382700 h 2110523"/>
                      <a:gd name="connsiteX42" fmla="*/ 4368049 w 4461769"/>
                      <a:gd name="connsiteY42" fmla="*/ 391646 h 2110523"/>
                      <a:gd name="connsiteX43" fmla="*/ 4461769 w 4461769"/>
                      <a:gd name="connsiteY43" fmla="*/ 441693 h 2110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</a:cxnLst>
                    <a:rect l="l" t="t" r="r" b="b"/>
                    <a:pathLst>
                      <a:path w="4461769" h="2110523">
                        <a:moveTo>
                          <a:pt x="0" y="2110523"/>
                        </a:moveTo>
                        <a:cubicBezTo>
                          <a:pt x="56565" y="2083876"/>
                          <a:pt x="113131" y="2057229"/>
                          <a:pt x="151465" y="2015156"/>
                        </a:cubicBezTo>
                        <a:cubicBezTo>
                          <a:pt x="189799" y="1973083"/>
                          <a:pt x="187929" y="1893611"/>
                          <a:pt x="230002" y="1858082"/>
                        </a:cubicBezTo>
                        <a:cubicBezTo>
                          <a:pt x="272076" y="1822553"/>
                          <a:pt x="365572" y="1825357"/>
                          <a:pt x="403906" y="1801983"/>
                        </a:cubicBezTo>
                        <a:cubicBezTo>
                          <a:pt x="442240" y="1778609"/>
                          <a:pt x="405776" y="1772999"/>
                          <a:pt x="460004" y="1717836"/>
                        </a:cubicBezTo>
                        <a:cubicBezTo>
                          <a:pt x="514232" y="1662673"/>
                          <a:pt x="666633" y="1538322"/>
                          <a:pt x="729276" y="1471004"/>
                        </a:cubicBezTo>
                        <a:cubicBezTo>
                          <a:pt x="791919" y="1403686"/>
                          <a:pt x="767609" y="1346653"/>
                          <a:pt x="835862" y="1313929"/>
                        </a:cubicBezTo>
                        <a:cubicBezTo>
                          <a:pt x="904115" y="1281205"/>
                          <a:pt x="1063995" y="1282141"/>
                          <a:pt x="1138792" y="1274661"/>
                        </a:cubicBezTo>
                        <a:cubicBezTo>
                          <a:pt x="1213589" y="1267181"/>
                          <a:pt x="1247248" y="1280271"/>
                          <a:pt x="1284647" y="1269051"/>
                        </a:cubicBezTo>
                        <a:cubicBezTo>
                          <a:pt x="1322046" y="1257831"/>
                          <a:pt x="1324851" y="1218563"/>
                          <a:pt x="1363185" y="1207343"/>
                        </a:cubicBezTo>
                        <a:cubicBezTo>
                          <a:pt x="1401519" y="1196123"/>
                          <a:pt x="1452007" y="1223237"/>
                          <a:pt x="1514650" y="1201733"/>
                        </a:cubicBezTo>
                        <a:cubicBezTo>
                          <a:pt x="1577293" y="1180229"/>
                          <a:pt x="1664245" y="1144700"/>
                          <a:pt x="1739042" y="1078317"/>
                        </a:cubicBezTo>
                        <a:cubicBezTo>
                          <a:pt x="1813839" y="1011934"/>
                          <a:pt x="1917622" y="855794"/>
                          <a:pt x="1963435" y="803436"/>
                        </a:cubicBezTo>
                        <a:cubicBezTo>
                          <a:pt x="2009249" y="751078"/>
                          <a:pt x="2001768" y="789412"/>
                          <a:pt x="2013923" y="764168"/>
                        </a:cubicBezTo>
                        <a:cubicBezTo>
                          <a:pt x="2026078" y="738924"/>
                          <a:pt x="2009249" y="688435"/>
                          <a:pt x="2036363" y="651971"/>
                        </a:cubicBezTo>
                        <a:cubicBezTo>
                          <a:pt x="2063477" y="615507"/>
                          <a:pt x="2147624" y="569694"/>
                          <a:pt x="2176608" y="545385"/>
                        </a:cubicBezTo>
                        <a:cubicBezTo>
                          <a:pt x="2205592" y="521076"/>
                          <a:pt x="2206527" y="527620"/>
                          <a:pt x="2210267" y="506116"/>
                        </a:cubicBezTo>
                        <a:cubicBezTo>
                          <a:pt x="2214007" y="484612"/>
                          <a:pt x="2197177" y="446278"/>
                          <a:pt x="2199047" y="416359"/>
                        </a:cubicBezTo>
                        <a:cubicBezTo>
                          <a:pt x="2200917" y="386440"/>
                          <a:pt x="2215877" y="352781"/>
                          <a:pt x="2221487" y="326602"/>
                        </a:cubicBezTo>
                        <a:cubicBezTo>
                          <a:pt x="2227097" y="300423"/>
                          <a:pt x="2225226" y="275178"/>
                          <a:pt x="2232706" y="259284"/>
                        </a:cubicBezTo>
                        <a:cubicBezTo>
                          <a:pt x="2240186" y="243390"/>
                          <a:pt x="2241121" y="238715"/>
                          <a:pt x="2266365" y="231235"/>
                        </a:cubicBezTo>
                        <a:cubicBezTo>
                          <a:pt x="2291609" y="223755"/>
                          <a:pt x="2355187" y="221886"/>
                          <a:pt x="2384171" y="214406"/>
                        </a:cubicBezTo>
                        <a:cubicBezTo>
                          <a:pt x="2413155" y="206926"/>
                          <a:pt x="2427179" y="195706"/>
                          <a:pt x="2440269" y="186356"/>
                        </a:cubicBezTo>
                        <a:cubicBezTo>
                          <a:pt x="2453359" y="177006"/>
                          <a:pt x="2456164" y="177941"/>
                          <a:pt x="2462709" y="158307"/>
                        </a:cubicBezTo>
                        <a:cubicBezTo>
                          <a:pt x="2469254" y="138673"/>
                          <a:pt x="2474863" y="90989"/>
                          <a:pt x="2479538" y="68550"/>
                        </a:cubicBezTo>
                        <a:cubicBezTo>
                          <a:pt x="2484213" y="46111"/>
                          <a:pt x="2479538" y="33957"/>
                          <a:pt x="2490758" y="23672"/>
                        </a:cubicBezTo>
                        <a:cubicBezTo>
                          <a:pt x="2501978" y="13387"/>
                          <a:pt x="2522547" y="10582"/>
                          <a:pt x="2546856" y="6842"/>
                        </a:cubicBezTo>
                        <a:cubicBezTo>
                          <a:pt x="2571165" y="3102"/>
                          <a:pt x="2613239" y="-2507"/>
                          <a:pt x="2636613" y="1233"/>
                        </a:cubicBezTo>
                        <a:cubicBezTo>
                          <a:pt x="2659987" y="4973"/>
                          <a:pt x="2669336" y="2168"/>
                          <a:pt x="2687101" y="29282"/>
                        </a:cubicBezTo>
                        <a:cubicBezTo>
                          <a:pt x="2704866" y="56396"/>
                          <a:pt x="2727306" y="117169"/>
                          <a:pt x="2743200" y="163917"/>
                        </a:cubicBezTo>
                        <a:cubicBezTo>
                          <a:pt x="2759095" y="210665"/>
                          <a:pt x="2774988" y="274243"/>
                          <a:pt x="2782468" y="309772"/>
                        </a:cubicBezTo>
                        <a:cubicBezTo>
                          <a:pt x="2789948" y="345301"/>
                          <a:pt x="2782468" y="361195"/>
                          <a:pt x="2788078" y="377090"/>
                        </a:cubicBezTo>
                        <a:cubicBezTo>
                          <a:pt x="2793688" y="392984"/>
                          <a:pt x="2793688" y="391114"/>
                          <a:pt x="2816127" y="405139"/>
                        </a:cubicBezTo>
                        <a:cubicBezTo>
                          <a:pt x="2838566" y="419163"/>
                          <a:pt x="2899340" y="442538"/>
                          <a:pt x="2922714" y="461237"/>
                        </a:cubicBezTo>
                        <a:cubicBezTo>
                          <a:pt x="2946088" y="479936"/>
                          <a:pt x="2920844" y="500507"/>
                          <a:pt x="2956373" y="517336"/>
                        </a:cubicBezTo>
                        <a:cubicBezTo>
                          <a:pt x="2991902" y="534165"/>
                          <a:pt x="3095410" y="554101"/>
                          <a:pt x="3135887" y="562214"/>
                        </a:cubicBezTo>
                        <a:cubicBezTo>
                          <a:pt x="3176364" y="570327"/>
                          <a:pt x="3175859" y="566952"/>
                          <a:pt x="3199233" y="566017"/>
                        </a:cubicBezTo>
                        <a:cubicBezTo>
                          <a:pt x="3222607" y="565082"/>
                          <a:pt x="3164416" y="593495"/>
                          <a:pt x="3276132" y="556604"/>
                        </a:cubicBezTo>
                        <a:cubicBezTo>
                          <a:pt x="3387848" y="519713"/>
                          <a:pt x="3749926" y="380775"/>
                          <a:pt x="3869532" y="344672"/>
                        </a:cubicBezTo>
                        <a:cubicBezTo>
                          <a:pt x="3989138" y="308569"/>
                          <a:pt x="3964777" y="333868"/>
                          <a:pt x="3993769" y="339985"/>
                        </a:cubicBezTo>
                        <a:cubicBezTo>
                          <a:pt x="4012487" y="363226"/>
                          <a:pt x="4020296" y="363408"/>
                          <a:pt x="4050334" y="371098"/>
                        </a:cubicBezTo>
                        <a:cubicBezTo>
                          <a:pt x="4080372" y="378788"/>
                          <a:pt x="4103921" y="379275"/>
                          <a:pt x="4156873" y="382700"/>
                        </a:cubicBezTo>
                        <a:cubicBezTo>
                          <a:pt x="4209825" y="386125"/>
                          <a:pt x="4321079" y="401400"/>
                          <a:pt x="4368049" y="391646"/>
                        </a:cubicBezTo>
                        <a:cubicBezTo>
                          <a:pt x="4418444" y="402440"/>
                          <a:pt x="4435788" y="443626"/>
                          <a:pt x="4461769" y="441693"/>
                        </a:cubicBezTo>
                      </a:path>
                    </a:pathLst>
                  </a:custGeom>
                  <a:noFill/>
                  <a:ln w="38100">
                    <a:solidFill>
                      <a:srgbClr val="7DB354"/>
                    </a:solidFill>
                    <a:headEnd type="oval" w="med" len="med"/>
                    <a:tailEnd type="oval" w="med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grpSp>
                <p:nvGrpSpPr>
                  <p:cNvPr id="74" name="Группа 73">
                    <a:extLst>
                      <a:ext uri="{FF2B5EF4-FFF2-40B4-BE49-F238E27FC236}">
                        <a16:creationId xmlns:a16="http://schemas.microsoft.com/office/drawing/2014/main" id="{284572DC-19B8-2447-8D49-294405D276D3}"/>
                      </a:ext>
                    </a:extLst>
                  </p:cNvPr>
                  <p:cNvGrpSpPr/>
                  <p:nvPr/>
                </p:nvGrpSpPr>
                <p:grpSpPr>
                  <a:xfrm>
                    <a:off x="4725954" y="4994834"/>
                    <a:ext cx="941342" cy="395119"/>
                    <a:chOff x="4725954" y="4994834"/>
                    <a:chExt cx="941342" cy="395119"/>
                  </a:xfrm>
                </p:grpSpPr>
                <p:sp>
                  <p:nvSpPr>
                    <p:cNvPr id="20" name="TextBox 19">
                      <a:extLst>
                        <a:ext uri="{FF2B5EF4-FFF2-40B4-BE49-F238E27FC236}">
                          <a16:creationId xmlns:a16="http://schemas.microsoft.com/office/drawing/2014/main" id="{04540E84-F585-1E4A-9DB0-3E7DD461019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725954" y="4994834"/>
                      <a:ext cx="941342" cy="33471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ru-RU" sz="1400" dirty="0">
                          <a:latin typeface="+mj-lt"/>
                        </a:rPr>
                        <a:t>Раменское</a:t>
                      </a:r>
                    </a:p>
                  </p:txBody>
                </p:sp>
                <p:pic>
                  <p:nvPicPr>
                    <p:cNvPr id="61" name="Рисунок 60">
                      <a:extLst>
                        <a:ext uri="{FF2B5EF4-FFF2-40B4-BE49-F238E27FC236}">
                          <a16:creationId xmlns:a16="http://schemas.microsoft.com/office/drawing/2014/main" id="{77D468B5-1CEE-1C41-8D72-102959C80F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3" cstate="hq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1182" t="17968" r="40653" b="36014"/>
                    <a:stretch/>
                  </p:blipFill>
                  <p:spPr>
                    <a:xfrm>
                      <a:off x="5376977" y="5249265"/>
                      <a:ext cx="246925" cy="140688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73" name="Группа 72">
                    <a:extLst>
                      <a:ext uri="{FF2B5EF4-FFF2-40B4-BE49-F238E27FC236}">
                        <a16:creationId xmlns:a16="http://schemas.microsoft.com/office/drawing/2014/main" id="{81BF64BC-F11A-504B-B79B-5988FBA95339}"/>
                      </a:ext>
                    </a:extLst>
                  </p:cNvPr>
                  <p:cNvGrpSpPr/>
                  <p:nvPr/>
                </p:nvGrpSpPr>
                <p:grpSpPr>
                  <a:xfrm>
                    <a:off x="4230730" y="3542383"/>
                    <a:ext cx="1408028" cy="530704"/>
                    <a:chOff x="4230730" y="3542383"/>
                    <a:chExt cx="1408028" cy="530704"/>
                  </a:xfrm>
                </p:grpSpPr>
                <p:sp>
                  <p:nvSpPr>
                    <p:cNvPr id="21" name="TextBox 20">
                      <a:extLst>
                        <a:ext uri="{FF2B5EF4-FFF2-40B4-BE49-F238E27FC236}">
                          <a16:creationId xmlns:a16="http://schemas.microsoft.com/office/drawing/2014/main" id="{00B97169-6AC3-5B48-B46E-118B48EB820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230730" y="3542383"/>
                      <a:ext cx="1408028" cy="42242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>
                        <a:lnSpc>
                          <a:spcPct val="75000"/>
                        </a:lnSpc>
                      </a:pPr>
                      <a:r>
                        <a:rPr lang="ru-RU" sz="1400" dirty="0">
                          <a:latin typeface="+mj-lt"/>
                        </a:rPr>
                        <a:t>Железно-</a:t>
                      </a:r>
                    </a:p>
                    <a:p>
                      <a:pPr>
                        <a:lnSpc>
                          <a:spcPct val="75000"/>
                        </a:lnSpc>
                      </a:pPr>
                      <a:r>
                        <a:rPr lang="ru-RU" sz="1400" dirty="0">
                          <a:latin typeface="+mj-lt"/>
                        </a:rPr>
                        <a:t>дорожная</a:t>
                      </a:r>
                    </a:p>
                  </p:txBody>
                </p:sp>
                <p:pic>
                  <p:nvPicPr>
                    <p:cNvPr id="64" name="Рисунок 63">
                      <a:extLst>
                        <a:ext uri="{FF2B5EF4-FFF2-40B4-BE49-F238E27FC236}">
                          <a16:creationId xmlns:a16="http://schemas.microsoft.com/office/drawing/2014/main" id="{02982853-CDEE-044F-8606-875405278C90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3" cstate="hq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59609" t="17968" r="22226" b="36014"/>
                    <a:stretch/>
                  </p:blipFill>
                  <p:spPr>
                    <a:xfrm>
                      <a:off x="4772254" y="3934725"/>
                      <a:ext cx="246925" cy="138362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71" name="Группа 70">
                    <a:extLst>
                      <a:ext uri="{FF2B5EF4-FFF2-40B4-BE49-F238E27FC236}">
                        <a16:creationId xmlns:a16="http://schemas.microsoft.com/office/drawing/2014/main" id="{9447888C-000A-A74F-852C-509C47B10E8B}"/>
                      </a:ext>
                    </a:extLst>
                  </p:cNvPr>
                  <p:cNvGrpSpPr/>
                  <p:nvPr/>
                </p:nvGrpSpPr>
                <p:grpSpPr>
                  <a:xfrm>
                    <a:off x="2583139" y="941025"/>
                    <a:ext cx="620121" cy="392333"/>
                    <a:chOff x="2583139" y="941025"/>
                    <a:chExt cx="620121" cy="392333"/>
                  </a:xfrm>
                </p:grpSpPr>
                <p:sp>
                  <p:nvSpPr>
                    <p:cNvPr id="30" name="TextBox 29">
                      <a:extLst>
                        <a:ext uri="{FF2B5EF4-FFF2-40B4-BE49-F238E27FC236}">
                          <a16:creationId xmlns:a16="http://schemas.microsoft.com/office/drawing/2014/main" id="{25B44289-55A3-6444-8E8E-F32FC2AF522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583139" y="941025"/>
                      <a:ext cx="620121" cy="33471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ru-RU" sz="1400" dirty="0">
                          <a:latin typeface="+mj-lt"/>
                        </a:rPr>
                        <a:t>Лобня</a:t>
                      </a:r>
                    </a:p>
                  </p:txBody>
                </p:sp>
                <p:pic>
                  <p:nvPicPr>
                    <p:cNvPr id="45" name="Рисунок 44">
                      <a:extLst>
                        <a:ext uri="{FF2B5EF4-FFF2-40B4-BE49-F238E27FC236}">
                          <a16:creationId xmlns:a16="http://schemas.microsoft.com/office/drawing/2014/main" id="{A50656E2-7A80-DA4A-91C4-2C9BE81D76D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3" cstate="hq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3257" t="17968" r="78578" b="36014"/>
                    <a:stretch/>
                  </p:blipFill>
                  <p:spPr>
                    <a:xfrm>
                      <a:off x="2669840" y="1193377"/>
                      <a:ext cx="246925" cy="139981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70" name="Группа 69">
                    <a:extLst>
                      <a:ext uri="{FF2B5EF4-FFF2-40B4-BE49-F238E27FC236}">
                        <a16:creationId xmlns:a16="http://schemas.microsoft.com/office/drawing/2014/main" id="{CCFC775C-2D58-1647-B5A6-6ECC1BBB1CE7}"/>
                      </a:ext>
                    </a:extLst>
                  </p:cNvPr>
                  <p:cNvGrpSpPr/>
                  <p:nvPr/>
                </p:nvGrpSpPr>
                <p:grpSpPr>
                  <a:xfrm>
                    <a:off x="1240607" y="978062"/>
                    <a:ext cx="801090" cy="410678"/>
                    <a:chOff x="1240607" y="978062"/>
                    <a:chExt cx="801090" cy="410678"/>
                  </a:xfrm>
                </p:grpSpPr>
                <p:sp>
                  <p:nvSpPr>
                    <p:cNvPr id="31" name="TextBox 30">
                      <a:extLst>
                        <a:ext uri="{FF2B5EF4-FFF2-40B4-BE49-F238E27FC236}">
                          <a16:creationId xmlns:a16="http://schemas.microsoft.com/office/drawing/2014/main" id="{ECC61956-359A-F04C-A5C5-CF0721C36D6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240607" y="978062"/>
                      <a:ext cx="801090" cy="33471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ru-RU" sz="1400" dirty="0">
                          <a:latin typeface="+mj-lt"/>
                        </a:rPr>
                        <a:t>Крюково</a:t>
                      </a:r>
                    </a:p>
                  </p:txBody>
                </p:sp>
                <p:pic>
                  <p:nvPicPr>
                    <p:cNvPr id="60" name="Рисунок 59">
                      <a:extLst>
                        <a:ext uri="{FF2B5EF4-FFF2-40B4-BE49-F238E27FC236}">
                          <a16:creationId xmlns:a16="http://schemas.microsoft.com/office/drawing/2014/main" id="{C5BFA244-2ECC-5A4C-B584-900797055A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3" cstate="hq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1182" t="17968" r="40653" b="36014"/>
                    <a:stretch/>
                  </p:blipFill>
                  <p:spPr>
                    <a:xfrm>
                      <a:off x="1343628" y="1246238"/>
                      <a:ext cx="246925" cy="142502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72" name="Группа 71">
                    <a:extLst>
                      <a:ext uri="{FF2B5EF4-FFF2-40B4-BE49-F238E27FC236}">
                        <a16:creationId xmlns:a16="http://schemas.microsoft.com/office/drawing/2014/main" id="{4F8E776D-F122-854A-ACCE-31B78C8C81B3}"/>
                      </a:ext>
                    </a:extLst>
                  </p:cNvPr>
                  <p:cNvGrpSpPr/>
                  <p:nvPr/>
                </p:nvGrpSpPr>
                <p:grpSpPr>
                  <a:xfrm>
                    <a:off x="4069274" y="919388"/>
                    <a:ext cx="865943" cy="394490"/>
                    <a:chOff x="4069274" y="919388"/>
                    <a:chExt cx="865943" cy="394490"/>
                  </a:xfrm>
                </p:grpSpPr>
                <p:sp>
                  <p:nvSpPr>
                    <p:cNvPr id="52" name="TextBox 51">
                      <a:extLst>
                        <a:ext uri="{FF2B5EF4-FFF2-40B4-BE49-F238E27FC236}">
                          <a16:creationId xmlns:a16="http://schemas.microsoft.com/office/drawing/2014/main" id="{FFC6BAB0-5793-8D46-9092-28C3FC46C89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069274" y="919388"/>
                      <a:ext cx="865943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ru-RU" sz="1400" dirty="0">
                          <a:latin typeface="+mj-lt"/>
                        </a:rPr>
                        <a:t>Пушкино</a:t>
                      </a:r>
                    </a:p>
                  </p:txBody>
                </p:sp>
                <p:pic>
                  <p:nvPicPr>
                    <p:cNvPr id="63" name="Рисунок 62">
                      <a:extLst>
                        <a:ext uri="{FF2B5EF4-FFF2-40B4-BE49-F238E27FC236}">
                          <a16:creationId xmlns:a16="http://schemas.microsoft.com/office/drawing/2014/main" id="{925A0456-3F47-4F4A-9EA8-412518A0CD2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3" cstate="hq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78703" t="17968" r="3132" b="36014"/>
                    <a:stretch/>
                  </p:blipFill>
                  <p:spPr>
                    <a:xfrm>
                      <a:off x="4146847" y="1175875"/>
                      <a:ext cx="246925" cy="138003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32" name="Полилиния 31">
                    <a:extLst>
                      <a:ext uri="{FF2B5EF4-FFF2-40B4-BE49-F238E27FC236}">
                        <a16:creationId xmlns:a16="http://schemas.microsoft.com/office/drawing/2014/main" id="{62D1A37E-CF0D-AF47-88A6-6DBE3D821EB1}"/>
                      </a:ext>
                    </a:extLst>
                  </p:cNvPr>
                  <p:cNvSpPr/>
                  <p:nvPr/>
                </p:nvSpPr>
                <p:spPr>
                  <a:xfrm>
                    <a:off x="1602073" y="1117337"/>
                    <a:ext cx="1362662" cy="3005963"/>
                  </a:xfrm>
                  <a:custGeom>
                    <a:avLst/>
                    <a:gdLst>
                      <a:gd name="connsiteX0" fmla="*/ 0 w 1417437"/>
                      <a:gd name="connsiteY0" fmla="*/ 2810518 h 2810518"/>
                      <a:gd name="connsiteX1" fmla="*/ 78538 w 1417437"/>
                      <a:gd name="connsiteY1" fmla="*/ 2743200 h 2810518"/>
                      <a:gd name="connsiteX2" fmla="*/ 173904 w 1417437"/>
                      <a:gd name="connsiteY2" fmla="*/ 2715151 h 2810518"/>
                      <a:gd name="connsiteX3" fmla="*/ 297320 w 1417437"/>
                      <a:gd name="connsiteY3" fmla="*/ 2546856 h 2810518"/>
                      <a:gd name="connsiteX4" fmla="*/ 476834 w 1417437"/>
                      <a:gd name="connsiteY4" fmla="*/ 2412221 h 2810518"/>
                      <a:gd name="connsiteX5" fmla="*/ 560982 w 1417437"/>
                      <a:gd name="connsiteY5" fmla="*/ 2367342 h 2810518"/>
                      <a:gd name="connsiteX6" fmla="*/ 622690 w 1417437"/>
                      <a:gd name="connsiteY6" fmla="*/ 2344903 h 2810518"/>
                      <a:gd name="connsiteX7" fmla="*/ 740496 w 1417437"/>
                      <a:gd name="connsiteY7" fmla="*/ 2350513 h 2810518"/>
                      <a:gd name="connsiteX8" fmla="*/ 948059 w 1417437"/>
                      <a:gd name="connsiteY8" fmla="*/ 2294415 h 2810518"/>
                      <a:gd name="connsiteX9" fmla="*/ 1121963 w 1417437"/>
                      <a:gd name="connsiteY9" fmla="*/ 2176608 h 2810518"/>
                      <a:gd name="connsiteX10" fmla="*/ 1172452 w 1417437"/>
                      <a:gd name="connsiteY10" fmla="*/ 2002704 h 2810518"/>
                      <a:gd name="connsiteX11" fmla="*/ 1217330 w 1417437"/>
                      <a:gd name="connsiteY11" fmla="*/ 1963435 h 2810518"/>
                      <a:gd name="connsiteX12" fmla="*/ 1335136 w 1417437"/>
                      <a:gd name="connsiteY12" fmla="*/ 1946606 h 2810518"/>
                      <a:gd name="connsiteX13" fmla="*/ 1402454 w 1417437"/>
                      <a:gd name="connsiteY13" fmla="*/ 1890508 h 2810518"/>
                      <a:gd name="connsiteX14" fmla="*/ 1413674 w 1417437"/>
                      <a:gd name="connsiteY14" fmla="*/ 1716603 h 2810518"/>
                      <a:gd name="connsiteX15" fmla="*/ 1351966 w 1417437"/>
                      <a:gd name="connsiteY15" fmla="*/ 1565138 h 2810518"/>
                      <a:gd name="connsiteX16" fmla="*/ 1357576 w 1417437"/>
                      <a:gd name="connsiteY16" fmla="*/ 1413673 h 2810518"/>
                      <a:gd name="connsiteX17" fmla="*/ 1340746 w 1417437"/>
                      <a:gd name="connsiteY17" fmla="*/ 1138792 h 2810518"/>
                      <a:gd name="connsiteX18" fmla="*/ 1312697 w 1417437"/>
                      <a:gd name="connsiteY18" fmla="*/ 976108 h 2810518"/>
                      <a:gd name="connsiteX19" fmla="*/ 1245379 w 1417437"/>
                      <a:gd name="connsiteY19" fmla="*/ 920010 h 2810518"/>
                      <a:gd name="connsiteX20" fmla="*/ 1189281 w 1417437"/>
                      <a:gd name="connsiteY20" fmla="*/ 847082 h 2810518"/>
                      <a:gd name="connsiteX21" fmla="*/ 1054646 w 1417437"/>
                      <a:gd name="connsiteY21" fmla="*/ 426346 h 2810518"/>
                      <a:gd name="connsiteX22" fmla="*/ 953669 w 1417437"/>
                      <a:gd name="connsiteY22" fmla="*/ 0 h 2810518"/>
                      <a:gd name="connsiteX0" fmla="*/ 0 w 1440685"/>
                      <a:gd name="connsiteY0" fmla="*/ 2771772 h 2771772"/>
                      <a:gd name="connsiteX1" fmla="*/ 101786 w 1440685"/>
                      <a:gd name="connsiteY1" fmla="*/ 2743200 h 2771772"/>
                      <a:gd name="connsiteX2" fmla="*/ 197152 w 1440685"/>
                      <a:gd name="connsiteY2" fmla="*/ 2715151 h 2771772"/>
                      <a:gd name="connsiteX3" fmla="*/ 320568 w 1440685"/>
                      <a:gd name="connsiteY3" fmla="*/ 2546856 h 2771772"/>
                      <a:gd name="connsiteX4" fmla="*/ 500082 w 1440685"/>
                      <a:gd name="connsiteY4" fmla="*/ 2412221 h 2771772"/>
                      <a:gd name="connsiteX5" fmla="*/ 584230 w 1440685"/>
                      <a:gd name="connsiteY5" fmla="*/ 2367342 h 2771772"/>
                      <a:gd name="connsiteX6" fmla="*/ 645938 w 1440685"/>
                      <a:gd name="connsiteY6" fmla="*/ 2344903 h 2771772"/>
                      <a:gd name="connsiteX7" fmla="*/ 763744 w 1440685"/>
                      <a:gd name="connsiteY7" fmla="*/ 2350513 h 2771772"/>
                      <a:gd name="connsiteX8" fmla="*/ 971307 w 1440685"/>
                      <a:gd name="connsiteY8" fmla="*/ 2294415 h 2771772"/>
                      <a:gd name="connsiteX9" fmla="*/ 1145211 w 1440685"/>
                      <a:gd name="connsiteY9" fmla="*/ 2176608 h 2771772"/>
                      <a:gd name="connsiteX10" fmla="*/ 1195700 w 1440685"/>
                      <a:gd name="connsiteY10" fmla="*/ 2002704 h 2771772"/>
                      <a:gd name="connsiteX11" fmla="*/ 1240578 w 1440685"/>
                      <a:gd name="connsiteY11" fmla="*/ 1963435 h 2771772"/>
                      <a:gd name="connsiteX12" fmla="*/ 1358384 w 1440685"/>
                      <a:gd name="connsiteY12" fmla="*/ 1946606 h 2771772"/>
                      <a:gd name="connsiteX13" fmla="*/ 1425702 w 1440685"/>
                      <a:gd name="connsiteY13" fmla="*/ 1890508 h 2771772"/>
                      <a:gd name="connsiteX14" fmla="*/ 1436922 w 1440685"/>
                      <a:gd name="connsiteY14" fmla="*/ 1716603 h 2771772"/>
                      <a:gd name="connsiteX15" fmla="*/ 1375214 w 1440685"/>
                      <a:gd name="connsiteY15" fmla="*/ 1565138 h 2771772"/>
                      <a:gd name="connsiteX16" fmla="*/ 1380824 w 1440685"/>
                      <a:gd name="connsiteY16" fmla="*/ 1413673 h 2771772"/>
                      <a:gd name="connsiteX17" fmla="*/ 1363994 w 1440685"/>
                      <a:gd name="connsiteY17" fmla="*/ 1138792 h 2771772"/>
                      <a:gd name="connsiteX18" fmla="*/ 1335945 w 1440685"/>
                      <a:gd name="connsiteY18" fmla="*/ 976108 h 2771772"/>
                      <a:gd name="connsiteX19" fmla="*/ 1268627 w 1440685"/>
                      <a:gd name="connsiteY19" fmla="*/ 920010 h 2771772"/>
                      <a:gd name="connsiteX20" fmla="*/ 1212529 w 1440685"/>
                      <a:gd name="connsiteY20" fmla="*/ 847082 h 2771772"/>
                      <a:gd name="connsiteX21" fmla="*/ 1077894 w 1440685"/>
                      <a:gd name="connsiteY21" fmla="*/ 426346 h 2771772"/>
                      <a:gd name="connsiteX22" fmla="*/ 976917 w 1440685"/>
                      <a:gd name="connsiteY22" fmla="*/ 0 h 2771772"/>
                      <a:gd name="connsiteX0" fmla="*/ 0 w 1448435"/>
                      <a:gd name="connsiteY0" fmla="*/ 2764023 h 2764023"/>
                      <a:gd name="connsiteX1" fmla="*/ 109536 w 1448435"/>
                      <a:gd name="connsiteY1" fmla="*/ 2743200 h 2764023"/>
                      <a:gd name="connsiteX2" fmla="*/ 204902 w 1448435"/>
                      <a:gd name="connsiteY2" fmla="*/ 2715151 h 2764023"/>
                      <a:gd name="connsiteX3" fmla="*/ 328318 w 1448435"/>
                      <a:gd name="connsiteY3" fmla="*/ 2546856 h 2764023"/>
                      <a:gd name="connsiteX4" fmla="*/ 507832 w 1448435"/>
                      <a:gd name="connsiteY4" fmla="*/ 2412221 h 2764023"/>
                      <a:gd name="connsiteX5" fmla="*/ 591980 w 1448435"/>
                      <a:gd name="connsiteY5" fmla="*/ 2367342 h 2764023"/>
                      <a:gd name="connsiteX6" fmla="*/ 653688 w 1448435"/>
                      <a:gd name="connsiteY6" fmla="*/ 2344903 h 2764023"/>
                      <a:gd name="connsiteX7" fmla="*/ 771494 w 1448435"/>
                      <a:gd name="connsiteY7" fmla="*/ 2350513 h 2764023"/>
                      <a:gd name="connsiteX8" fmla="*/ 979057 w 1448435"/>
                      <a:gd name="connsiteY8" fmla="*/ 2294415 h 2764023"/>
                      <a:gd name="connsiteX9" fmla="*/ 1152961 w 1448435"/>
                      <a:gd name="connsiteY9" fmla="*/ 2176608 h 2764023"/>
                      <a:gd name="connsiteX10" fmla="*/ 1203450 w 1448435"/>
                      <a:gd name="connsiteY10" fmla="*/ 2002704 h 2764023"/>
                      <a:gd name="connsiteX11" fmla="*/ 1248328 w 1448435"/>
                      <a:gd name="connsiteY11" fmla="*/ 1963435 h 2764023"/>
                      <a:gd name="connsiteX12" fmla="*/ 1366134 w 1448435"/>
                      <a:gd name="connsiteY12" fmla="*/ 1946606 h 2764023"/>
                      <a:gd name="connsiteX13" fmla="*/ 1433452 w 1448435"/>
                      <a:gd name="connsiteY13" fmla="*/ 1890508 h 2764023"/>
                      <a:gd name="connsiteX14" fmla="*/ 1444672 w 1448435"/>
                      <a:gd name="connsiteY14" fmla="*/ 1716603 h 2764023"/>
                      <a:gd name="connsiteX15" fmla="*/ 1382964 w 1448435"/>
                      <a:gd name="connsiteY15" fmla="*/ 1565138 h 2764023"/>
                      <a:gd name="connsiteX16" fmla="*/ 1388574 w 1448435"/>
                      <a:gd name="connsiteY16" fmla="*/ 1413673 h 2764023"/>
                      <a:gd name="connsiteX17" fmla="*/ 1371744 w 1448435"/>
                      <a:gd name="connsiteY17" fmla="*/ 1138792 h 2764023"/>
                      <a:gd name="connsiteX18" fmla="*/ 1343695 w 1448435"/>
                      <a:gd name="connsiteY18" fmla="*/ 976108 h 2764023"/>
                      <a:gd name="connsiteX19" fmla="*/ 1276377 w 1448435"/>
                      <a:gd name="connsiteY19" fmla="*/ 920010 h 2764023"/>
                      <a:gd name="connsiteX20" fmla="*/ 1220279 w 1448435"/>
                      <a:gd name="connsiteY20" fmla="*/ 847082 h 2764023"/>
                      <a:gd name="connsiteX21" fmla="*/ 1085644 w 1448435"/>
                      <a:gd name="connsiteY21" fmla="*/ 426346 h 2764023"/>
                      <a:gd name="connsiteX22" fmla="*/ 984667 w 1448435"/>
                      <a:gd name="connsiteY22" fmla="*/ 0 h 27640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1448435" h="2764023">
                        <a:moveTo>
                          <a:pt x="0" y="2764023"/>
                        </a:moveTo>
                        <a:cubicBezTo>
                          <a:pt x="24777" y="2738311"/>
                          <a:pt x="75386" y="2751345"/>
                          <a:pt x="109536" y="2743200"/>
                        </a:cubicBezTo>
                        <a:cubicBezTo>
                          <a:pt x="143686" y="2735055"/>
                          <a:pt x="168438" y="2747875"/>
                          <a:pt x="204902" y="2715151"/>
                        </a:cubicBezTo>
                        <a:cubicBezTo>
                          <a:pt x="241366" y="2682427"/>
                          <a:pt x="277830" y="2597344"/>
                          <a:pt x="328318" y="2546856"/>
                        </a:cubicBezTo>
                        <a:cubicBezTo>
                          <a:pt x="378806" y="2496368"/>
                          <a:pt x="463888" y="2442140"/>
                          <a:pt x="507832" y="2412221"/>
                        </a:cubicBezTo>
                        <a:cubicBezTo>
                          <a:pt x="551776" y="2382302"/>
                          <a:pt x="567671" y="2378562"/>
                          <a:pt x="591980" y="2367342"/>
                        </a:cubicBezTo>
                        <a:cubicBezTo>
                          <a:pt x="616289" y="2356122"/>
                          <a:pt x="623769" y="2347708"/>
                          <a:pt x="653688" y="2344903"/>
                        </a:cubicBezTo>
                        <a:cubicBezTo>
                          <a:pt x="683607" y="2342098"/>
                          <a:pt x="717266" y="2358928"/>
                          <a:pt x="771494" y="2350513"/>
                        </a:cubicBezTo>
                        <a:cubicBezTo>
                          <a:pt x="825722" y="2342098"/>
                          <a:pt x="915479" y="2323399"/>
                          <a:pt x="979057" y="2294415"/>
                        </a:cubicBezTo>
                        <a:cubicBezTo>
                          <a:pt x="1042635" y="2265431"/>
                          <a:pt x="1115562" y="2225226"/>
                          <a:pt x="1152961" y="2176608"/>
                        </a:cubicBezTo>
                        <a:cubicBezTo>
                          <a:pt x="1190360" y="2127990"/>
                          <a:pt x="1187556" y="2038233"/>
                          <a:pt x="1203450" y="2002704"/>
                        </a:cubicBezTo>
                        <a:cubicBezTo>
                          <a:pt x="1219344" y="1967175"/>
                          <a:pt x="1221214" y="1972785"/>
                          <a:pt x="1248328" y="1963435"/>
                        </a:cubicBezTo>
                        <a:cubicBezTo>
                          <a:pt x="1275442" y="1954085"/>
                          <a:pt x="1335280" y="1958760"/>
                          <a:pt x="1366134" y="1946606"/>
                        </a:cubicBezTo>
                        <a:cubicBezTo>
                          <a:pt x="1396988" y="1934451"/>
                          <a:pt x="1420362" y="1928842"/>
                          <a:pt x="1433452" y="1890508"/>
                        </a:cubicBezTo>
                        <a:cubicBezTo>
                          <a:pt x="1446542" y="1852174"/>
                          <a:pt x="1453087" y="1770831"/>
                          <a:pt x="1444672" y="1716603"/>
                        </a:cubicBezTo>
                        <a:cubicBezTo>
                          <a:pt x="1436257" y="1662375"/>
                          <a:pt x="1392314" y="1615626"/>
                          <a:pt x="1382964" y="1565138"/>
                        </a:cubicBezTo>
                        <a:cubicBezTo>
                          <a:pt x="1373614" y="1514650"/>
                          <a:pt x="1390444" y="1484731"/>
                          <a:pt x="1388574" y="1413673"/>
                        </a:cubicBezTo>
                        <a:cubicBezTo>
                          <a:pt x="1386704" y="1342615"/>
                          <a:pt x="1379224" y="1211719"/>
                          <a:pt x="1371744" y="1138792"/>
                        </a:cubicBezTo>
                        <a:cubicBezTo>
                          <a:pt x="1364264" y="1065865"/>
                          <a:pt x="1359589" y="1012572"/>
                          <a:pt x="1343695" y="976108"/>
                        </a:cubicBezTo>
                        <a:cubicBezTo>
                          <a:pt x="1327801" y="939644"/>
                          <a:pt x="1296946" y="941514"/>
                          <a:pt x="1276377" y="920010"/>
                        </a:cubicBezTo>
                        <a:cubicBezTo>
                          <a:pt x="1255808" y="898506"/>
                          <a:pt x="1252068" y="929359"/>
                          <a:pt x="1220279" y="847082"/>
                        </a:cubicBezTo>
                        <a:cubicBezTo>
                          <a:pt x="1188490" y="764805"/>
                          <a:pt x="1124913" y="567526"/>
                          <a:pt x="1085644" y="426346"/>
                        </a:cubicBezTo>
                        <a:cubicBezTo>
                          <a:pt x="1046375" y="285166"/>
                          <a:pt x="1015521" y="142583"/>
                          <a:pt x="984667" y="0"/>
                        </a:cubicBezTo>
                      </a:path>
                    </a:pathLst>
                  </a:custGeom>
                  <a:noFill/>
                  <a:ln w="38100">
                    <a:solidFill>
                      <a:srgbClr val="E1A147"/>
                    </a:solidFill>
                    <a:headEnd type="oval" w="med" len="med"/>
                    <a:tailEnd type="oval" w="med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grpSp>
                <p:nvGrpSpPr>
                  <p:cNvPr id="47" name="Группа 46">
                    <a:extLst>
                      <a:ext uri="{FF2B5EF4-FFF2-40B4-BE49-F238E27FC236}">
                        <a16:creationId xmlns:a16="http://schemas.microsoft.com/office/drawing/2014/main" id="{75E15FF9-0725-214F-B850-031AFFAA0EAE}"/>
                      </a:ext>
                    </a:extLst>
                  </p:cNvPr>
                  <p:cNvGrpSpPr/>
                  <p:nvPr/>
                </p:nvGrpSpPr>
                <p:grpSpPr>
                  <a:xfrm>
                    <a:off x="3213342" y="1072529"/>
                    <a:ext cx="929710" cy="2051655"/>
                    <a:chOff x="-917211" y="1072529"/>
                    <a:chExt cx="929710" cy="2051655"/>
                  </a:xfrm>
                </p:grpSpPr>
                <p:sp>
                  <p:nvSpPr>
                    <p:cNvPr id="44" name="Полилиния 43">
                      <a:extLst>
                        <a:ext uri="{FF2B5EF4-FFF2-40B4-BE49-F238E27FC236}">
                          <a16:creationId xmlns:a16="http://schemas.microsoft.com/office/drawing/2014/main" id="{9AB90EF0-36A7-0E4F-9E0F-21CC88DA9C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917211" y="1072529"/>
                      <a:ext cx="833504" cy="2051655"/>
                    </a:xfrm>
                    <a:custGeom>
                      <a:avLst/>
                      <a:gdLst>
                        <a:gd name="connsiteX0" fmla="*/ 29939 w 820586"/>
                        <a:gd name="connsiteY0" fmla="*/ 2096933 h 2096933"/>
                        <a:gd name="connsiteX1" fmla="*/ 2438 w 820586"/>
                        <a:gd name="connsiteY1" fmla="*/ 1952554 h 2096933"/>
                        <a:gd name="connsiteX2" fmla="*/ 84941 w 820586"/>
                        <a:gd name="connsiteY2" fmla="*/ 1760048 h 2096933"/>
                        <a:gd name="connsiteX3" fmla="*/ 91816 w 820586"/>
                        <a:gd name="connsiteY3" fmla="*/ 1430039 h 2096933"/>
                        <a:gd name="connsiteX4" fmla="*/ 545578 w 820586"/>
                        <a:gd name="connsiteY4" fmla="*/ 818148 h 2096933"/>
                        <a:gd name="connsiteX5" fmla="*/ 820586 w 820586"/>
                        <a:gd name="connsiteY5" fmla="*/ 0 h 2096933"/>
                        <a:gd name="connsiteX0" fmla="*/ 29939 w 820586"/>
                        <a:gd name="connsiteY0" fmla="*/ 2096933 h 2096933"/>
                        <a:gd name="connsiteX1" fmla="*/ 2438 w 820586"/>
                        <a:gd name="connsiteY1" fmla="*/ 1952554 h 2096933"/>
                        <a:gd name="connsiteX2" fmla="*/ 84941 w 820586"/>
                        <a:gd name="connsiteY2" fmla="*/ 1760048 h 2096933"/>
                        <a:gd name="connsiteX3" fmla="*/ 98692 w 820586"/>
                        <a:gd name="connsiteY3" fmla="*/ 1423164 h 2096933"/>
                        <a:gd name="connsiteX4" fmla="*/ 545578 w 820586"/>
                        <a:gd name="connsiteY4" fmla="*/ 818148 h 2096933"/>
                        <a:gd name="connsiteX5" fmla="*/ 820586 w 820586"/>
                        <a:gd name="connsiteY5" fmla="*/ 0 h 2096933"/>
                        <a:gd name="connsiteX0" fmla="*/ 30365 w 821012"/>
                        <a:gd name="connsiteY0" fmla="*/ 2096933 h 2096933"/>
                        <a:gd name="connsiteX1" fmla="*/ 2864 w 821012"/>
                        <a:gd name="connsiteY1" fmla="*/ 1952554 h 2096933"/>
                        <a:gd name="connsiteX2" fmla="*/ 92243 w 821012"/>
                        <a:gd name="connsiteY2" fmla="*/ 1760048 h 2096933"/>
                        <a:gd name="connsiteX3" fmla="*/ 99118 w 821012"/>
                        <a:gd name="connsiteY3" fmla="*/ 1423164 h 2096933"/>
                        <a:gd name="connsiteX4" fmla="*/ 546004 w 821012"/>
                        <a:gd name="connsiteY4" fmla="*/ 818148 h 2096933"/>
                        <a:gd name="connsiteX5" fmla="*/ 821012 w 821012"/>
                        <a:gd name="connsiteY5" fmla="*/ 0 h 2096933"/>
                        <a:gd name="connsiteX0" fmla="*/ 30365 w 821012"/>
                        <a:gd name="connsiteY0" fmla="*/ 2096933 h 2096933"/>
                        <a:gd name="connsiteX1" fmla="*/ 2864 w 821012"/>
                        <a:gd name="connsiteY1" fmla="*/ 1952554 h 2096933"/>
                        <a:gd name="connsiteX2" fmla="*/ 92243 w 821012"/>
                        <a:gd name="connsiteY2" fmla="*/ 1760048 h 2096933"/>
                        <a:gd name="connsiteX3" fmla="*/ 119744 w 821012"/>
                        <a:gd name="connsiteY3" fmla="*/ 1395663 h 2096933"/>
                        <a:gd name="connsiteX4" fmla="*/ 546004 w 821012"/>
                        <a:gd name="connsiteY4" fmla="*/ 818148 h 2096933"/>
                        <a:gd name="connsiteX5" fmla="*/ 821012 w 821012"/>
                        <a:gd name="connsiteY5" fmla="*/ 0 h 20969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21012" h="2096933">
                          <a:moveTo>
                            <a:pt x="30365" y="2096933"/>
                          </a:moveTo>
                          <a:cubicBezTo>
                            <a:pt x="12031" y="2052817"/>
                            <a:pt x="-7449" y="2008701"/>
                            <a:pt x="2864" y="1952554"/>
                          </a:cubicBezTo>
                          <a:cubicBezTo>
                            <a:pt x="13177" y="1896407"/>
                            <a:pt x="72763" y="1852863"/>
                            <a:pt x="92243" y="1760048"/>
                          </a:cubicBezTo>
                          <a:cubicBezTo>
                            <a:pt x="111723" y="1667233"/>
                            <a:pt x="44117" y="1552646"/>
                            <a:pt x="119744" y="1395663"/>
                          </a:cubicBezTo>
                          <a:cubicBezTo>
                            <a:pt x="195371" y="1238680"/>
                            <a:pt x="429126" y="1050758"/>
                            <a:pt x="546004" y="818148"/>
                          </a:cubicBezTo>
                          <a:cubicBezTo>
                            <a:pt x="662882" y="585538"/>
                            <a:pt x="744239" y="289904"/>
                            <a:pt x="821012" y="0"/>
                          </a:cubicBezTo>
                        </a:path>
                      </a:pathLst>
                    </a:custGeom>
                    <a:noFill/>
                    <a:ln w="38100">
                      <a:solidFill>
                        <a:srgbClr val="5FAE87"/>
                      </a:solidFill>
                      <a:headEnd type="none" w="med" len="med"/>
                      <a:tailEnd type="oval" w="med" len="me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ru-RU" dirty="0"/>
                    </a:p>
                  </p:txBody>
                </p:sp>
                <p:sp>
                  <p:nvSpPr>
                    <p:cNvPr id="46" name="Полилиния 45">
                      <a:extLst>
                        <a:ext uri="{FF2B5EF4-FFF2-40B4-BE49-F238E27FC236}">
                          <a16:creationId xmlns:a16="http://schemas.microsoft.com/office/drawing/2014/main" id="{AD3B8BFB-D2D9-3F43-8C00-165D68AF8B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45847" y="1852967"/>
                      <a:ext cx="358346" cy="19082"/>
                    </a:xfrm>
                    <a:custGeom>
                      <a:avLst/>
                      <a:gdLst>
                        <a:gd name="connsiteX0" fmla="*/ 0 w 358346"/>
                        <a:gd name="connsiteY0" fmla="*/ 19082 h 19082"/>
                        <a:gd name="connsiteX1" fmla="*/ 92676 w 358346"/>
                        <a:gd name="connsiteY1" fmla="*/ 547 h 19082"/>
                        <a:gd name="connsiteX2" fmla="*/ 358346 w 358346"/>
                        <a:gd name="connsiteY2" fmla="*/ 6725 h 190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358346" h="19082">
                          <a:moveTo>
                            <a:pt x="0" y="19082"/>
                          </a:moveTo>
                          <a:cubicBezTo>
                            <a:pt x="16476" y="10844"/>
                            <a:pt x="32952" y="2606"/>
                            <a:pt x="92676" y="547"/>
                          </a:cubicBezTo>
                          <a:cubicBezTo>
                            <a:pt x="152400" y="-1512"/>
                            <a:pt x="255373" y="2606"/>
                            <a:pt x="358346" y="6725"/>
                          </a:cubicBezTo>
                        </a:path>
                      </a:pathLst>
                    </a:custGeom>
                    <a:noFill/>
                    <a:ln w="38100">
                      <a:solidFill>
                        <a:srgbClr val="5FAE87"/>
                      </a:solidFill>
                      <a:headEnd type="none" w="med" len="med"/>
                      <a:tailEnd type="oval" w="med" len="me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ru-RU"/>
                    </a:p>
                  </p:txBody>
                </p:sp>
              </p:grpSp>
              <p:sp>
                <p:nvSpPr>
                  <p:cNvPr id="33" name="Полилиния 32">
                    <a:extLst>
                      <a:ext uri="{FF2B5EF4-FFF2-40B4-BE49-F238E27FC236}">
                        <a16:creationId xmlns:a16="http://schemas.microsoft.com/office/drawing/2014/main" id="{15281D3C-90F5-134C-A740-717C7E6F9B32}"/>
                      </a:ext>
                    </a:extLst>
                  </p:cNvPr>
                  <p:cNvSpPr/>
                  <p:nvPr/>
                </p:nvSpPr>
                <p:spPr>
                  <a:xfrm>
                    <a:off x="1261802" y="2660855"/>
                    <a:ext cx="2338721" cy="3672713"/>
                  </a:xfrm>
                  <a:custGeom>
                    <a:avLst/>
                    <a:gdLst>
                      <a:gd name="connsiteX0" fmla="*/ 0 w 2485933"/>
                      <a:gd name="connsiteY0" fmla="*/ 0 h 1856849"/>
                      <a:gd name="connsiteX1" fmla="*/ 179514 w 2485933"/>
                      <a:gd name="connsiteY1" fmla="*/ 89757 h 1856849"/>
                      <a:gd name="connsiteX2" fmla="*/ 263661 w 2485933"/>
                      <a:gd name="connsiteY2" fmla="*/ 140246 h 1856849"/>
                      <a:gd name="connsiteX3" fmla="*/ 302930 w 2485933"/>
                      <a:gd name="connsiteY3" fmla="*/ 196344 h 1856849"/>
                      <a:gd name="connsiteX4" fmla="*/ 330979 w 2485933"/>
                      <a:gd name="connsiteY4" fmla="*/ 201954 h 1856849"/>
                      <a:gd name="connsiteX5" fmla="*/ 420736 w 2485933"/>
                      <a:gd name="connsiteY5" fmla="*/ 157075 h 1856849"/>
                      <a:gd name="connsiteX6" fmla="*/ 482444 w 2485933"/>
                      <a:gd name="connsiteY6" fmla="*/ 179514 h 1856849"/>
                      <a:gd name="connsiteX7" fmla="*/ 521713 w 2485933"/>
                      <a:gd name="connsiteY7" fmla="*/ 224393 h 1856849"/>
                      <a:gd name="connsiteX8" fmla="*/ 650739 w 2485933"/>
                      <a:gd name="connsiteY8" fmla="*/ 190734 h 1856849"/>
                      <a:gd name="connsiteX9" fmla="*/ 746106 w 2485933"/>
                      <a:gd name="connsiteY9" fmla="*/ 151465 h 1856849"/>
                      <a:gd name="connsiteX10" fmla="*/ 774155 w 2485933"/>
                      <a:gd name="connsiteY10" fmla="*/ 72928 h 1856849"/>
                      <a:gd name="connsiteX11" fmla="*/ 891961 w 2485933"/>
                      <a:gd name="connsiteY11" fmla="*/ 33659 h 1856849"/>
                      <a:gd name="connsiteX12" fmla="*/ 998547 w 2485933"/>
                      <a:gd name="connsiteY12" fmla="*/ 61708 h 1856849"/>
                      <a:gd name="connsiteX13" fmla="*/ 1121963 w 2485933"/>
                      <a:gd name="connsiteY13" fmla="*/ 89757 h 1856849"/>
                      <a:gd name="connsiteX14" fmla="*/ 1155622 w 2485933"/>
                      <a:gd name="connsiteY14" fmla="*/ 157075 h 1856849"/>
                      <a:gd name="connsiteX15" fmla="*/ 1161232 w 2485933"/>
                      <a:gd name="connsiteY15" fmla="*/ 207563 h 1856849"/>
                      <a:gd name="connsiteX16" fmla="*/ 1206110 w 2485933"/>
                      <a:gd name="connsiteY16" fmla="*/ 230003 h 1856849"/>
                      <a:gd name="connsiteX17" fmla="*/ 1351966 w 2485933"/>
                      <a:gd name="connsiteY17" fmla="*/ 185124 h 1856849"/>
                      <a:gd name="connsiteX18" fmla="*/ 1570748 w 2485933"/>
                      <a:gd name="connsiteY18" fmla="*/ 196344 h 1856849"/>
                      <a:gd name="connsiteX19" fmla="*/ 1660506 w 2485933"/>
                      <a:gd name="connsiteY19" fmla="*/ 280491 h 1856849"/>
                      <a:gd name="connsiteX20" fmla="*/ 1811971 w 2485933"/>
                      <a:gd name="connsiteY20" fmla="*/ 246832 h 1856849"/>
                      <a:gd name="connsiteX21" fmla="*/ 1890508 w 2485933"/>
                      <a:gd name="connsiteY21" fmla="*/ 319760 h 1856849"/>
                      <a:gd name="connsiteX22" fmla="*/ 2008314 w 2485933"/>
                      <a:gd name="connsiteY22" fmla="*/ 325370 h 1856849"/>
                      <a:gd name="connsiteX23" fmla="*/ 2070022 w 2485933"/>
                      <a:gd name="connsiteY23" fmla="*/ 409517 h 1856849"/>
                      <a:gd name="connsiteX24" fmla="*/ 2137340 w 2485933"/>
                      <a:gd name="connsiteY24" fmla="*/ 611470 h 1856849"/>
                      <a:gd name="connsiteX25" fmla="*/ 2154169 w 2485933"/>
                      <a:gd name="connsiteY25" fmla="*/ 701227 h 1856849"/>
                      <a:gd name="connsiteX26" fmla="*/ 2249536 w 2485933"/>
                      <a:gd name="connsiteY26" fmla="*/ 757325 h 1856849"/>
                      <a:gd name="connsiteX27" fmla="*/ 2316854 w 2485933"/>
                      <a:gd name="connsiteY27" fmla="*/ 807814 h 1856849"/>
                      <a:gd name="connsiteX28" fmla="*/ 2451490 w 2485933"/>
                      <a:gd name="connsiteY28" fmla="*/ 1049036 h 1856849"/>
                      <a:gd name="connsiteX29" fmla="*/ 2485148 w 2485933"/>
                      <a:gd name="connsiteY29" fmla="*/ 1267819 h 1856849"/>
                      <a:gd name="connsiteX30" fmla="*/ 2429050 w 2485933"/>
                      <a:gd name="connsiteY30" fmla="*/ 1452943 h 1856849"/>
                      <a:gd name="connsiteX31" fmla="*/ 2266366 w 2485933"/>
                      <a:gd name="connsiteY31" fmla="*/ 1671725 h 1856849"/>
                      <a:gd name="connsiteX32" fmla="*/ 2243926 w 2485933"/>
                      <a:gd name="connsiteY32" fmla="*/ 1761482 h 1856849"/>
                      <a:gd name="connsiteX33" fmla="*/ 2170999 w 2485933"/>
                      <a:gd name="connsiteY33" fmla="*/ 1856849 h 1856849"/>
                      <a:gd name="connsiteX0" fmla="*/ 0 w 2485933"/>
                      <a:gd name="connsiteY0" fmla="*/ 0 h 1907337"/>
                      <a:gd name="connsiteX1" fmla="*/ 179514 w 2485933"/>
                      <a:gd name="connsiteY1" fmla="*/ 89757 h 1907337"/>
                      <a:gd name="connsiteX2" fmla="*/ 263661 w 2485933"/>
                      <a:gd name="connsiteY2" fmla="*/ 140246 h 1907337"/>
                      <a:gd name="connsiteX3" fmla="*/ 302930 w 2485933"/>
                      <a:gd name="connsiteY3" fmla="*/ 196344 h 1907337"/>
                      <a:gd name="connsiteX4" fmla="*/ 330979 w 2485933"/>
                      <a:gd name="connsiteY4" fmla="*/ 201954 h 1907337"/>
                      <a:gd name="connsiteX5" fmla="*/ 420736 w 2485933"/>
                      <a:gd name="connsiteY5" fmla="*/ 157075 h 1907337"/>
                      <a:gd name="connsiteX6" fmla="*/ 482444 w 2485933"/>
                      <a:gd name="connsiteY6" fmla="*/ 179514 h 1907337"/>
                      <a:gd name="connsiteX7" fmla="*/ 521713 w 2485933"/>
                      <a:gd name="connsiteY7" fmla="*/ 224393 h 1907337"/>
                      <a:gd name="connsiteX8" fmla="*/ 650739 w 2485933"/>
                      <a:gd name="connsiteY8" fmla="*/ 190734 h 1907337"/>
                      <a:gd name="connsiteX9" fmla="*/ 746106 w 2485933"/>
                      <a:gd name="connsiteY9" fmla="*/ 151465 h 1907337"/>
                      <a:gd name="connsiteX10" fmla="*/ 774155 w 2485933"/>
                      <a:gd name="connsiteY10" fmla="*/ 72928 h 1907337"/>
                      <a:gd name="connsiteX11" fmla="*/ 891961 w 2485933"/>
                      <a:gd name="connsiteY11" fmla="*/ 33659 h 1907337"/>
                      <a:gd name="connsiteX12" fmla="*/ 998547 w 2485933"/>
                      <a:gd name="connsiteY12" fmla="*/ 61708 h 1907337"/>
                      <a:gd name="connsiteX13" fmla="*/ 1121963 w 2485933"/>
                      <a:gd name="connsiteY13" fmla="*/ 89757 h 1907337"/>
                      <a:gd name="connsiteX14" fmla="*/ 1155622 w 2485933"/>
                      <a:gd name="connsiteY14" fmla="*/ 157075 h 1907337"/>
                      <a:gd name="connsiteX15" fmla="*/ 1161232 w 2485933"/>
                      <a:gd name="connsiteY15" fmla="*/ 207563 h 1907337"/>
                      <a:gd name="connsiteX16" fmla="*/ 1206110 w 2485933"/>
                      <a:gd name="connsiteY16" fmla="*/ 230003 h 1907337"/>
                      <a:gd name="connsiteX17" fmla="*/ 1351966 w 2485933"/>
                      <a:gd name="connsiteY17" fmla="*/ 185124 h 1907337"/>
                      <a:gd name="connsiteX18" fmla="*/ 1570748 w 2485933"/>
                      <a:gd name="connsiteY18" fmla="*/ 196344 h 1907337"/>
                      <a:gd name="connsiteX19" fmla="*/ 1660506 w 2485933"/>
                      <a:gd name="connsiteY19" fmla="*/ 280491 h 1907337"/>
                      <a:gd name="connsiteX20" fmla="*/ 1811971 w 2485933"/>
                      <a:gd name="connsiteY20" fmla="*/ 246832 h 1907337"/>
                      <a:gd name="connsiteX21" fmla="*/ 1890508 w 2485933"/>
                      <a:gd name="connsiteY21" fmla="*/ 319760 h 1907337"/>
                      <a:gd name="connsiteX22" fmla="*/ 2008314 w 2485933"/>
                      <a:gd name="connsiteY22" fmla="*/ 325370 h 1907337"/>
                      <a:gd name="connsiteX23" fmla="*/ 2070022 w 2485933"/>
                      <a:gd name="connsiteY23" fmla="*/ 409517 h 1907337"/>
                      <a:gd name="connsiteX24" fmla="*/ 2137340 w 2485933"/>
                      <a:gd name="connsiteY24" fmla="*/ 611470 h 1907337"/>
                      <a:gd name="connsiteX25" fmla="*/ 2154169 w 2485933"/>
                      <a:gd name="connsiteY25" fmla="*/ 701227 h 1907337"/>
                      <a:gd name="connsiteX26" fmla="*/ 2249536 w 2485933"/>
                      <a:gd name="connsiteY26" fmla="*/ 757325 h 1907337"/>
                      <a:gd name="connsiteX27" fmla="*/ 2316854 w 2485933"/>
                      <a:gd name="connsiteY27" fmla="*/ 807814 h 1907337"/>
                      <a:gd name="connsiteX28" fmla="*/ 2451490 w 2485933"/>
                      <a:gd name="connsiteY28" fmla="*/ 1049036 h 1907337"/>
                      <a:gd name="connsiteX29" fmla="*/ 2485148 w 2485933"/>
                      <a:gd name="connsiteY29" fmla="*/ 1267819 h 1907337"/>
                      <a:gd name="connsiteX30" fmla="*/ 2429050 w 2485933"/>
                      <a:gd name="connsiteY30" fmla="*/ 1452943 h 1907337"/>
                      <a:gd name="connsiteX31" fmla="*/ 2266366 w 2485933"/>
                      <a:gd name="connsiteY31" fmla="*/ 1671725 h 1907337"/>
                      <a:gd name="connsiteX32" fmla="*/ 2243926 w 2485933"/>
                      <a:gd name="connsiteY32" fmla="*/ 1761482 h 1907337"/>
                      <a:gd name="connsiteX33" fmla="*/ 2041974 w 2485933"/>
                      <a:gd name="connsiteY33" fmla="*/ 1907337 h 1907337"/>
                      <a:gd name="connsiteX0" fmla="*/ 0 w 2485933"/>
                      <a:gd name="connsiteY0" fmla="*/ 0 h 2126120"/>
                      <a:gd name="connsiteX1" fmla="*/ 179514 w 2485933"/>
                      <a:gd name="connsiteY1" fmla="*/ 89757 h 2126120"/>
                      <a:gd name="connsiteX2" fmla="*/ 263661 w 2485933"/>
                      <a:gd name="connsiteY2" fmla="*/ 140246 h 2126120"/>
                      <a:gd name="connsiteX3" fmla="*/ 302930 w 2485933"/>
                      <a:gd name="connsiteY3" fmla="*/ 196344 h 2126120"/>
                      <a:gd name="connsiteX4" fmla="*/ 330979 w 2485933"/>
                      <a:gd name="connsiteY4" fmla="*/ 201954 h 2126120"/>
                      <a:gd name="connsiteX5" fmla="*/ 420736 w 2485933"/>
                      <a:gd name="connsiteY5" fmla="*/ 157075 h 2126120"/>
                      <a:gd name="connsiteX6" fmla="*/ 482444 w 2485933"/>
                      <a:gd name="connsiteY6" fmla="*/ 179514 h 2126120"/>
                      <a:gd name="connsiteX7" fmla="*/ 521713 w 2485933"/>
                      <a:gd name="connsiteY7" fmla="*/ 224393 h 2126120"/>
                      <a:gd name="connsiteX8" fmla="*/ 650739 w 2485933"/>
                      <a:gd name="connsiteY8" fmla="*/ 190734 h 2126120"/>
                      <a:gd name="connsiteX9" fmla="*/ 746106 w 2485933"/>
                      <a:gd name="connsiteY9" fmla="*/ 151465 h 2126120"/>
                      <a:gd name="connsiteX10" fmla="*/ 774155 w 2485933"/>
                      <a:gd name="connsiteY10" fmla="*/ 72928 h 2126120"/>
                      <a:gd name="connsiteX11" fmla="*/ 891961 w 2485933"/>
                      <a:gd name="connsiteY11" fmla="*/ 33659 h 2126120"/>
                      <a:gd name="connsiteX12" fmla="*/ 998547 w 2485933"/>
                      <a:gd name="connsiteY12" fmla="*/ 61708 h 2126120"/>
                      <a:gd name="connsiteX13" fmla="*/ 1121963 w 2485933"/>
                      <a:gd name="connsiteY13" fmla="*/ 89757 h 2126120"/>
                      <a:gd name="connsiteX14" fmla="*/ 1155622 w 2485933"/>
                      <a:gd name="connsiteY14" fmla="*/ 157075 h 2126120"/>
                      <a:gd name="connsiteX15" fmla="*/ 1161232 w 2485933"/>
                      <a:gd name="connsiteY15" fmla="*/ 207563 h 2126120"/>
                      <a:gd name="connsiteX16" fmla="*/ 1206110 w 2485933"/>
                      <a:gd name="connsiteY16" fmla="*/ 230003 h 2126120"/>
                      <a:gd name="connsiteX17" fmla="*/ 1351966 w 2485933"/>
                      <a:gd name="connsiteY17" fmla="*/ 185124 h 2126120"/>
                      <a:gd name="connsiteX18" fmla="*/ 1570748 w 2485933"/>
                      <a:gd name="connsiteY18" fmla="*/ 196344 h 2126120"/>
                      <a:gd name="connsiteX19" fmla="*/ 1660506 w 2485933"/>
                      <a:gd name="connsiteY19" fmla="*/ 280491 h 2126120"/>
                      <a:gd name="connsiteX20" fmla="*/ 1811971 w 2485933"/>
                      <a:gd name="connsiteY20" fmla="*/ 246832 h 2126120"/>
                      <a:gd name="connsiteX21" fmla="*/ 1890508 w 2485933"/>
                      <a:gd name="connsiteY21" fmla="*/ 319760 h 2126120"/>
                      <a:gd name="connsiteX22" fmla="*/ 2008314 w 2485933"/>
                      <a:gd name="connsiteY22" fmla="*/ 325370 h 2126120"/>
                      <a:gd name="connsiteX23" fmla="*/ 2070022 w 2485933"/>
                      <a:gd name="connsiteY23" fmla="*/ 409517 h 2126120"/>
                      <a:gd name="connsiteX24" fmla="*/ 2137340 w 2485933"/>
                      <a:gd name="connsiteY24" fmla="*/ 611470 h 2126120"/>
                      <a:gd name="connsiteX25" fmla="*/ 2154169 w 2485933"/>
                      <a:gd name="connsiteY25" fmla="*/ 701227 h 2126120"/>
                      <a:gd name="connsiteX26" fmla="*/ 2249536 w 2485933"/>
                      <a:gd name="connsiteY26" fmla="*/ 757325 h 2126120"/>
                      <a:gd name="connsiteX27" fmla="*/ 2316854 w 2485933"/>
                      <a:gd name="connsiteY27" fmla="*/ 807814 h 2126120"/>
                      <a:gd name="connsiteX28" fmla="*/ 2451490 w 2485933"/>
                      <a:gd name="connsiteY28" fmla="*/ 1049036 h 2126120"/>
                      <a:gd name="connsiteX29" fmla="*/ 2485148 w 2485933"/>
                      <a:gd name="connsiteY29" fmla="*/ 1267819 h 2126120"/>
                      <a:gd name="connsiteX30" fmla="*/ 2429050 w 2485933"/>
                      <a:gd name="connsiteY30" fmla="*/ 1452943 h 2126120"/>
                      <a:gd name="connsiteX31" fmla="*/ 2266366 w 2485933"/>
                      <a:gd name="connsiteY31" fmla="*/ 1671725 h 2126120"/>
                      <a:gd name="connsiteX32" fmla="*/ 2243926 w 2485933"/>
                      <a:gd name="connsiteY32" fmla="*/ 1761482 h 2126120"/>
                      <a:gd name="connsiteX33" fmla="*/ 1924168 w 2485933"/>
                      <a:gd name="connsiteY33" fmla="*/ 2126120 h 2126120"/>
                      <a:gd name="connsiteX0" fmla="*/ 0 w 2485933"/>
                      <a:gd name="connsiteY0" fmla="*/ 0 h 2126120"/>
                      <a:gd name="connsiteX1" fmla="*/ 179514 w 2485933"/>
                      <a:gd name="connsiteY1" fmla="*/ 89757 h 2126120"/>
                      <a:gd name="connsiteX2" fmla="*/ 263661 w 2485933"/>
                      <a:gd name="connsiteY2" fmla="*/ 140246 h 2126120"/>
                      <a:gd name="connsiteX3" fmla="*/ 302930 w 2485933"/>
                      <a:gd name="connsiteY3" fmla="*/ 196344 h 2126120"/>
                      <a:gd name="connsiteX4" fmla="*/ 330979 w 2485933"/>
                      <a:gd name="connsiteY4" fmla="*/ 201954 h 2126120"/>
                      <a:gd name="connsiteX5" fmla="*/ 420736 w 2485933"/>
                      <a:gd name="connsiteY5" fmla="*/ 157075 h 2126120"/>
                      <a:gd name="connsiteX6" fmla="*/ 482444 w 2485933"/>
                      <a:gd name="connsiteY6" fmla="*/ 179514 h 2126120"/>
                      <a:gd name="connsiteX7" fmla="*/ 521713 w 2485933"/>
                      <a:gd name="connsiteY7" fmla="*/ 224393 h 2126120"/>
                      <a:gd name="connsiteX8" fmla="*/ 650739 w 2485933"/>
                      <a:gd name="connsiteY8" fmla="*/ 190734 h 2126120"/>
                      <a:gd name="connsiteX9" fmla="*/ 746106 w 2485933"/>
                      <a:gd name="connsiteY9" fmla="*/ 151465 h 2126120"/>
                      <a:gd name="connsiteX10" fmla="*/ 774155 w 2485933"/>
                      <a:gd name="connsiteY10" fmla="*/ 72928 h 2126120"/>
                      <a:gd name="connsiteX11" fmla="*/ 891961 w 2485933"/>
                      <a:gd name="connsiteY11" fmla="*/ 33659 h 2126120"/>
                      <a:gd name="connsiteX12" fmla="*/ 998547 w 2485933"/>
                      <a:gd name="connsiteY12" fmla="*/ 61708 h 2126120"/>
                      <a:gd name="connsiteX13" fmla="*/ 1121963 w 2485933"/>
                      <a:gd name="connsiteY13" fmla="*/ 89757 h 2126120"/>
                      <a:gd name="connsiteX14" fmla="*/ 1155622 w 2485933"/>
                      <a:gd name="connsiteY14" fmla="*/ 157075 h 2126120"/>
                      <a:gd name="connsiteX15" fmla="*/ 1161232 w 2485933"/>
                      <a:gd name="connsiteY15" fmla="*/ 207563 h 2126120"/>
                      <a:gd name="connsiteX16" fmla="*/ 1206110 w 2485933"/>
                      <a:gd name="connsiteY16" fmla="*/ 230003 h 2126120"/>
                      <a:gd name="connsiteX17" fmla="*/ 1351966 w 2485933"/>
                      <a:gd name="connsiteY17" fmla="*/ 185124 h 2126120"/>
                      <a:gd name="connsiteX18" fmla="*/ 1570748 w 2485933"/>
                      <a:gd name="connsiteY18" fmla="*/ 196344 h 2126120"/>
                      <a:gd name="connsiteX19" fmla="*/ 1660506 w 2485933"/>
                      <a:gd name="connsiteY19" fmla="*/ 280491 h 2126120"/>
                      <a:gd name="connsiteX20" fmla="*/ 1811971 w 2485933"/>
                      <a:gd name="connsiteY20" fmla="*/ 246832 h 2126120"/>
                      <a:gd name="connsiteX21" fmla="*/ 1890508 w 2485933"/>
                      <a:gd name="connsiteY21" fmla="*/ 319760 h 2126120"/>
                      <a:gd name="connsiteX22" fmla="*/ 2008314 w 2485933"/>
                      <a:gd name="connsiteY22" fmla="*/ 325370 h 2126120"/>
                      <a:gd name="connsiteX23" fmla="*/ 2070022 w 2485933"/>
                      <a:gd name="connsiteY23" fmla="*/ 409517 h 2126120"/>
                      <a:gd name="connsiteX24" fmla="*/ 2137340 w 2485933"/>
                      <a:gd name="connsiteY24" fmla="*/ 611470 h 2126120"/>
                      <a:gd name="connsiteX25" fmla="*/ 2154169 w 2485933"/>
                      <a:gd name="connsiteY25" fmla="*/ 701227 h 2126120"/>
                      <a:gd name="connsiteX26" fmla="*/ 2249536 w 2485933"/>
                      <a:gd name="connsiteY26" fmla="*/ 757325 h 2126120"/>
                      <a:gd name="connsiteX27" fmla="*/ 2316854 w 2485933"/>
                      <a:gd name="connsiteY27" fmla="*/ 807814 h 2126120"/>
                      <a:gd name="connsiteX28" fmla="*/ 2451490 w 2485933"/>
                      <a:gd name="connsiteY28" fmla="*/ 1049036 h 2126120"/>
                      <a:gd name="connsiteX29" fmla="*/ 2485148 w 2485933"/>
                      <a:gd name="connsiteY29" fmla="*/ 1267819 h 2126120"/>
                      <a:gd name="connsiteX30" fmla="*/ 2429050 w 2485933"/>
                      <a:gd name="connsiteY30" fmla="*/ 1452943 h 2126120"/>
                      <a:gd name="connsiteX31" fmla="*/ 2266366 w 2485933"/>
                      <a:gd name="connsiteY31" fmla="*/ 1671725 h 2126120"/>
                      <a:gd name="connsiteX32" fmla="*/ 2243926 w 2485933"/>
                      <a:gd name="connsiteY32" fmla="*/ 1761482 h 2126120"/>
                      <a:gd name="connsiteX33" fmla="*/ 2075632 w 2485933"/>
                      <a:gd name="connsiteY33" fmla="*/ 1901727 h 2126120"/>
                      <a:gd name="connsiteX34" fmla="*/ 1924168 w 2485933"/>
                      <a:gd name="connsiteY34" fmla="*/ 2126120 h 2126120"/>
                      <a:gd name="connsiteX0" fmla="*/ 0 w 2485933"/>
                      <a:gd name="connsiteY0" fmla="*/ 0 h 3377109"/>
                      <a:gd name="connsiteX1" fmla="*/ 179514 w 2485933"/>
                      <a:gd name="connsiteY1" fmla="*/ 89757 h 3377109"/>
                      <a:gd name="connsiteX2" fmla="*/ 263661 w 2485933"/>
                      <a:gd name="connsiteY2" fmla="*/ 140246 h 3377109"/>
                      <a:gd name="connsiteX3" fmla="*/ 302930 w 2485933"/>
                      <a:gd name="connsiteY3" fmla="*/ 196344 h 3377109"/>
                      <a:gd name="connsiteX4" fmla="*/ 330979 w 2485933"/>
                      <a:gd name="connsiteY4" fmla="*/ 201954 h 3377109"/>
                      <a:gd name="connsiteX5" fmla="*/ 420736 w 2485933"/>
                      <a:gd name="connsiteY5" fmla="*/ 157075 h 3377109"/>
                      <a:gd name="connsiteX6" fmla="*/ 482444 w 2485933"/>
                      <a:gd name="connsiteY6" fmla="*/ 179514 h 3377109"/>
                      <a:gd name="connsiteX7" fmla="*/ 521713 w 2485933"/>
                      <a:gd name="connsiteY7" fmla="*/ 224393 h 3377109"/>
                      <a:gd name="connsiteX8" fmla="*/ 650739 w 2485933"/>
                      <a:gd name="connsiteY8" fmla="*/ 190734 h 3377109"/>
                      <a:gd name="connsiteX9" fmla="*/ 746106 w 2485933"/>
                      <a:gd name="connsiteY9" fmla="*/ 151465 h 3377109"/>
                      <a:gd name="connsiteX10" fmla="*/ 774155 w 2485933"/>
                      <a:gd name="connsiteY10" fmla="*/ 72928 h 3377109"/>
                      <a:gd name="connsiteX11" fmla="*/ 891961 w 2485933"/>
                      <a:gd name="connsiteY11" fmla="*/ 33659 h 3377109"/>
                      <a:gd name="connsiteX12" fmla="*/ 998547 w 2485933"/>
                      <a:gd name="connsiteY12" fmla="*/ 61708 h 3377109"/>
                      <a:gd name="connsiteX13" fmla="*/ 1121963 w 2485933"/>
                      <a:gd name="connsiteY13" fmla="*/ 89757 h 3377109"/>
                      <a:gd name="connsiteX14" fmla="*/ 1155622 w 2485933"/>
                      <a:gd name="connsiteY14" fmla="*/ 157075 h 3377109"/>
                      <a:gd name="connsiteX15" fmla="*/ 1161232 w 2485933"/>
                      <a:gd name="connsiteY15" fmla="*/ 207563 h 3377109"/>
                      <a:gd name="connsiteX16" fmla="*/ 1206110 w 2485933"/>
                      <a:gd name="connsiteY16" fmla="*/ 230003 h 3377109"/>
                      <a:gd name="connsiteX17" fmla="*/ 1351966 w 2485933"/>
                      <a:gd name="connsiteY17" fmla="*/ 185124 h 3377109"/>
                      <a:gd name="connsiteX18" fmla="*/ 1570748 w 2485933"/>
                      <a:gd name="connsiteY18" fmla="*/ 196344 h 3377109"/>
                      <a:gd name="connsiteX19" fmla="*/ 1660506 w 2485933"/>
                      <a:gd name="connsiteY19" fmla="*/ 280491 h 3377109"/>
                      <a:gd name="connsiteX20" fmla="*/ 1811971 w 2485933"/>
                      <a:gd name="connsiteY20" fmla="*/ 246832 h 3377109"/>
                      <a:gd name="connsiteX21" fmla="*/ 1890508 w 2485933"/>
                      <a:gd name="connsiteY21" fmla="*/ 319760 h 3377109"/>
                      <a:gd name="connsiteX22" fmla="*/ 2008314 w 2485933"/>
                      <a:gd name="connsiteY22" fmla="*/ 325370 h 3377109"/>
                      <a:gd name="connsiteX23" fmla="*/ 2070022 w 2485933"/>
                      <a:gd name="connsiteY23" fmla="*/ 409517 h 3377109"/>
                      <a:gd name="connsiteX24" fmla="*/ 2137340 w 2485933"/>
                      <a:gd name="connsiteY24" fmla="*/ 611470 h 3377109"/>
                      <a:gd name="connsiteX25" fmla="*/ 2154169 w 2485933"/>
                      <a:gd name="connsiteY25" fmla="*/ 701227 h 3377109"/>
                      <a:gd name="connsiteX26" fmla="*/ 2249536 w 2485933"/>
                      <a:gd name="connsiteY26" fmla="*/ 757325 h 3377109"/>
                      <a:gd name="connsiteX27" fmla="*/ 2316854 w 2485933"/>
                      <a:gd name="connsiteY27" fmla="*/ 807814 h 3377109"/>
                      <a:gd name="connsiteX28" fmla="*/ 2451490 w 2485933"/>
                      <a:gd name="connsiteY28" fmla="*/ 1049036 h 3377109"/>
                      <a:gd name="connsiteX29" fmla="*/ 2485148 w 2485933"/>
                      <a:gd name="connsiteY29" fmla="*/ 1267819 h 3377109"/>
                      <a:gd name="connsiteX30" fmla="*/ 2429050 w 2485933"/>
                      <a:gd name="connsiteY30" fmla="*/ 1452943 h 3377109"/>
                      <a:gd name="connsiteX31" fmla="*/ 2266366 w 2485933"/>
                      <a:gd name="connsiteY31" fmla="*/ 1671725 h 3377109"/>
                      <a:gd name="connsiteX32" fmla="*/ 2243926 w 2485933"/>
                      <a:gd name="connsiteY32" fmla="*/ 1761482 h 3377109"/>
                      <a:gd name="connsiteX33" fmla="*/ 2075632 w 2485933"/>
                      <a:gd name="connsiteY33" fmla="*/ 1901727 h 3377109"/>
                      <a:gd name="connsiteX34" fmla="*/ 1699775 w 2485933"/>
                      <a:gd name="connsiteY34" fmla="*/ 3377109 h 3377109"/>
                      <a:gd name="connsiteX0" fmla="*/ 0 w 2485933"/>
                      <a:gd name="connsiteY0" fmla="*/ 0 h 3377109"/>
                      <a:gd name="connsiteX1" fmla="*/ 179514 w 2485933"/>
                      <a:gd name="connsiteY1" fmla="*/ 89757 h 3377109"/>
                      <a:gd name="connsiteX2" fmla="*/ 263661 w 2485933"/>
                      <a:gd name="connsiteY2" fmla="*/ 140246 h 3377109"/>
                      <a:gd name="connsiteX3" fmla="*/ 302930 w 2485933"/>
                      <a:gd name="connsiteY3" fmla="*/ 196344 h 3377109"/>
                      <a:gd name="connsiteX4" fmla="*/ 330979 w 2485933"/>
                      <a:gd name="connsiteY4" fmla="*/ 201954 h 3377109"/>
                      <a:gd name="connsiteX5" fmla="*/ 420736 w 2485933"/>
                      <a:gd name="connsiteY5" fmla="*/ 157075 h 3377109"/>
                      <a:gd name="connsiteX6" fmla="*/ 482444 w 2485933"/>
                      <a:gd name="connsiteY6" fmla="*/ 179514 h 3377109"/>
                      <a:gd name="connsiteX7" fmla="*/ 521713 w 2485933"/>
                      <a:gd name="connsiteY7" fmla="*/ 224393 h 3377109"/>
                      <a:gd name="connsiteX8" fmla="*/ 650739 w 2485933"/>
                      <a:gd name="connsiteY8" fmla="*/ 190734 h 3377109"/>
                      <a:gd name="connsiteX9" fmla="*/ 746106 w 2485933"/>
                      <a:gd name="connsiteY9" fmla="*/ 151465 h 3377109"/>
                      <a:gd name="connsiteX10" fmla="*/ 774155 w 2485933"/>
                      <a:gd name="connsiteY10" fmla="*/ 72928 h 3377109"/>
                      <a:gd name="connsiteX11" fmla="*/ 891961 w 2485933"/>
                      <a:gd name="connsiteY11" fmla="*/ 33659 h 3377109"/>
                      <a:gd name="connsiteX12" fmla="*/ 998547 w 2485933"/>
                      <a:gd name="connsiteY12" fmla="*/ 61708 h 3377109"/>
                      <a:gd name="connsiteX13" fmla="*/ 1121963 w 2485933"/>
                      <a:gd name="connsiteY13" fmla="*/ 89757 h 3377109"/>
                      <a:gd name="connsiteX14" fmla="*/ 1155622 w 2485933"/>
                      <a:gd name="connsiteY14" fmla="*/ 157075 h 3377109"/>
                      <a:gd name="connsiteX15" fmla="*/ 1161232 w 2485933"/>
                      <a:gd name="connsiteY15" fmla="*/ 207563 h 3377109"/>
                      <a:gd name="connsiteX16" fmla="*/ 1206110 w 2485933"/>
                      <a:gd name="connsiteY16" fmla="*/ 230003 h 3377109"/>
                      <a:gd name="connsiteX17" fmla="*/ 1351966 w 2485933"/>
                      <a:gd name="connsiteY17" fmla="*/ 185124 h 3377109"/>
                      <a:gd name="connsiteX18" fmla="*/ 1570748 w 2485933"/>
                      <a:gd name="connsiteY18" fmla="*/ 196344 h 3377109"/>
                      <a:gd name="connsiteX19" fmla="*/ 1660506 w 2485933"/>
                      <a:gd name="connsiteY19" fmla="*/ 280491 h 3377109"/>
                      <a:gd name="connsiteX20" fmla="*/ 1811971 w 2485933"/>
                      <a:gd name="connsiteY20" fmla="*/ 246832 h 3377109"/>
                      <a:gd name="connsiteX21" fmla="*/ 1890508 w 2485933"/>
                      <a:gd name="connsiteY21" fmla="*/ 319760 h 3377109"/>
                      <a:gd name="connsiteX22" fmla="*/ 2008314 w 2485933"/>
                      <a:gd name="connsiteY22" fmla="*/ 325370 h 3377109"/>
                      <a:gd name="connsiteX23" fmla="*/ 2070022 w 2485933"/>
                      <a:gd name="connsiteY23" fmla="*/ 409517 h 3377109"/>
                      <a:gd name="connsiteX24" fmla="*/ 2137340 w 2485933"/>
                      <a:gd name="connsiteY24" fmla="*/ 611470 h 3377109"/>
                      <a:gd name="connsiteX25" fmla="*/ 2154169 w 2485933"/>
                      <a:gd name="connsiteY25" fmla="*/ 701227 h 3377109"/>
                      <a:gd name="connsiteX26" fmla="*/ 2249536 w 2485933"/>
                      <a:gd name="connsiteY26" fmla="*/ 757325 h 3377109"/>
                      <a:gd name="connsiteX27" fmla="*/ 2316854 w 2485933"/>
                      <a:gd name="connsiteY27" fmla="*/ 807814 h 3377109"/>
                      <a:gd name="connsiteX28" fmla="*/ 2451490 w 2485933"/>
                      <a:gd name="connsiteY28" fmla="*/ 1049036 h 3377109"/>
                      <a:gd name="connsiteX29" fmla="*/ 2485148 w 2485933"/>
                      <a:gd name="connsiteY29" fmla="*/ 1267819 h 3377109"/>
                      <a:gd name="connsiteX30" fmla="*/ 2429050 w 2485933"/>
                      <a:gd name="connsiteY30" fmla="*/ 1452943 h 3377109"/>
                      <a:gd name="connsiteX31" fmla="*/ 2266366 w 2485933"/>
                      <a:gd name="connsiteY31" fmla="*/ 1671725 h 3377109"/>
                      <a:gd name="connsiteX32" fmla="*/ 2243926 w 2485933"/>
                      <a:gd name="connsiteY32" fmla="*/ 1761482 h 3377109"/>
                      <a:gd name="connsiteX33" fmla="*/ 2075632 w 2485933"/>
                      <a:gd name="connsiteY33" fmla="*/ 1901727 h 3377109"/>
                      <a:gd name="connsiteX34" fmla="*/ 1907337 w 2485933"/>
                      <a:gd name="connsiteY34" fmla="*/ 2277585 h 3377109"/>
                      <a:gd name="connsiteX35" fmla="*/ 1699775 w 2485933"/>
                      <a:gd name="connsiteY35" fmla="*/ 3377109 h 3377109"/>
                      <a:gd name="connsiteX0" fmla="*/ 0 w 2485933"/>
                      <a:gd name="connsiteY0" fmla="*/ 0 h 3377109"/>
                      <a:gd name="connsiteX1" fmla="*/ 179514 w 2485933"/>
                      <a:gd name="connsiteY1" fmla="*/ 89757 h 3377109"/>
                      <a:gd name="connsiteX2" fmla="*/ 263661 w 2485933"/>
                      <a:gd name="connsiteY2" fmla="*/ 140246 h 3377109"/>
                      <a:gd name="connsiteX3" fmla="*/ 302930 w 2485933"/>
                      <a:gd name="connsiteY3" fmla="*/ 196344 h 3377109"/>
                      <a:gd name="connsiteX4" fmla="*/ 330979 w 2485933"/>
                      <a:gd name="connsiteY4" fmla="*/ 201954 h 3377109"/>
                      <a:gd name="connsiteX5" fmla="*/ 420736 w 2485933"/>
                      <a:gd name="connsiteY5" fmla="*/ 157075 h 3377109"/>
                      <a:gd name="connsiteX6" fmla="*/ 482444 w 2485933"/>
                      <a:gd name="connsiteY6" fmla="*/ 179514 h 3377109"/>
                      <a:gd name="connsiteX7" fmla="*/ 521713 w 2485933"/>
                      <a:gd name="connsiteY7" fmla="*/ 224393 h 3377109"/>
                      <a:gd name="connsiteX8" fmla="*/ 650739 w 2485933"/>
                      <a:gd name="connsiteY8" fmla="*/ 190734 h 3377109"/>
                      <a:gd name="connsiteX9" fmla="*/ 746106 w 2485933"/>
                      <a:gd name="connsiteY9" fmla="*/ 151465 h 3377109"/>
                      <a:gd name="connsiteX10" fmla="*/ 774155 w 2485933"/>
                      <a:gd name="connsiteY10" fmla="*/ 72928 h 3377109"/>
                      <a:gd name="connsiteX11" fmla="*/ 891961 w 2485933"/>
                      <a:gd name="connsiteY11" fmla="*/ 33659 h 3377109"/>
                      <a:gd name="connsiteX12" fmla="*/ 998547 w 2485933"/>
                      <a:gd name="connsiteY12" fmla="*/ 61708 h 3377109"/>
                      <a:gd name="connsiteX13" fmla="*/ 1121963 w 2485933"/>
                      <a:gd name="connsiteY13" fmla="*/ 89757 h 3377109"/>
                      <a:gd name="connsiteX14" fmla="*/ 1155622 w 2485933"/>
                      <a:gd name="connsiteY14" fmla="*/ 157075 h 3377109"/>
                      <a:gd name="connsiteX15" fmla="*/ 1161232 w 2485933"/>
                      <a:gd name="connsiteY15" fmla="*/ 207563 h 3377109"/>
                      <a:gd name="connsiteX16" fmla="*/ 1206110 w 2485933"/>
                      <a:gd name="connsiteY16" fmla="*/ 230003 h 3377109"/>
                      <a:gd name="connsiteX17" fmla="*/ 1351966 w 2485933"/>
                      <a:gd name="connsiteY17" fmla="*/ 185124 h 3377109"/>
                      <a:gd name="connsiteX18" fmla="*/ 1570748 w 2485933"/>
                      <a:gd name="connsiteY18" fmla="*/ 196344 h 3377109"/>
                      <a:gd name="connsiteX19" fmla="*/ 1660506 w 2485933"/>
                      <a:gd name="connsiteY19" fmla="*/ 280491 h 3377109"/>
                      <a:gd name="connsiteX20" fmla="*/ 1811971 w 2485933"/>
                      <a:gd name="connsiteY20" fmla="*/ 246832 h 3377109"/>
                      <a:gd name="connsiteX21" fmla="*/ 1890508 w 2485933"/>
                      <a:gd name="connsiteY21" fmla="*/ 319760 h 3377109"/>
                      <a:gd name="connsiteX22" fmla="*/ 2008314 w 2485933"/>
                      <a:gd name="connsiteY22" fmla="*/ 325370 h 3377109"/>
                      <a:gd name="connsiteX23" fmla="*/ 2070022 w 2485933"/>
                      <a:gd name="connsiteY23" fmla="*/ 409517 h 3377109"/>
                      <a:gd name="connsiteX24" fmla="*/ 2137340 w 2485933"/>
                      <a:gd name="connsiteY24" fmla="*/ 611470 h 3377109"/>
                      <a:gd name="connsiteX25" fmla="*/ 2154169 w 2485933"/>
                      <a:gd name="connsiteY25" fmla="*/ 701227 h 3377109"/>
                      <a:gd name="connsiteX26" fmla="*/ 2249536 w 2485933"/>
                      <a:gd name="connsiteY26" fmla="*/ 757325 h 3377109"/>
                      <a:gd name="connsiteX27" fmla="*/ 2316854 w 2485933"/>
                      <a:gd name="connsiteY27" fmla="*/ 807814 h 3377109"/>
                      <a:gd name="connsiteX28" fmla="*/ 2451490 w 2485933"/>
                      <a:gd name="connsiteY28" fmla="*/ 1049036 h 3377109"/>
                      <a:gd name="connsiteX29" fmla="*/ 2485148 w 2485933"/>
                      <a:gd name="connsiteY29" fmla="*/ 1267819 h 3377109"/>
                      <a:gd name="connsiteX30" fmla="*/ 2429050 w 2485933"/>
                      <a:gd name="connsiteY30" fmla="*/ 1452943 h 3377109"/>
                      <a:gd name="connsiteX31" fmla="*/ 2266366 w 2485933"/>
                      <a:gd name="connsiteY31" fmla="*/ 1671725 h 3377109"/>
                      <a:gd name="connsiteX32" fmla="*/ 2243926 w 2485933"/>
                      <a:gd name="connsiteY32" fmla="*/ 1761482 h 3377109"/>
                      <a:gd name="connsiteX33" fmla="*/ 2075632 w 2485933"/>
                      <a:gd name="connsiteY33" fmla="*/ 1901727 h 3377109"/>
                      <a:gd name="connsiteX34" fmla="*/ 1940996 w 2485933"/>
                      <a:gd name="connsiteY34" fmla="*/ 2041972 h 3377109"/>
                      <a:gd name="connsiteX35" fmla="*/ 1907337 w 2485933"/>
                      <a:gd name="connsiteY35" fmla="*/ 2277585 h 3377109"/>
                      <a:gd name="connsiteX36" fmla="*/ 1699775 w 2485933"/>
                      <a:gd name="connsiteY36" fmla="*/ 3377109 h 3377109"/>
                      <a:gd name="connsiteX0" fmla="*/ 0 w 2485933"/>
                      <a:gd name="connsiteY0" fmla="*/ 0 h 3377109"/>
                      <a:gd name="connsiteX1" fmla="*/ 179514 w 2485933"/>
                      <a:gd name="connsiteY1" fmla="*/ 89757 h 3377109"/>
                      <a:gd name="connsiteX2" fmla="*/ 263661 w 2485933"/>
                      <a:gd name="connsiteY2" fmla="*/ 140246 h 3377109"/>
                      <a:gd name="connsiteX3" fmla="*/ 302930 w 2485933"/>
                      <a:gd name="connsiteY3" fmla="*/ 196344 h 3377109"/>
                      <a:gd name="connsiteX4" fmla="*/ 330979 w 2485933"/>
                      <a:gd name="connsiteY4" fmla="*/ 201954 h 3377109"/>
                      <a:gd name="connsiteX5" fmla="*/ 420736 w 2485933"/>
                      <a:gd name="connsiteY5" fmla="*/ 157075 h 3377109"/>
                      <a:gd name="connsiteX6" fmla="*/ 482444 w 2485933"/>
                      <a:gd name="connsiteY6" fmla="*/ 179514 h 3377109"/>
                      <a:gd name="connsiteX7" fmla="*/ 521713 w 2485933"/>
                      <a:gd name="connsiteY7" fmla="*/ 224393 h 3377109"/>
                      <a:gd name="connsiteX8" fmla="*/ 650739 w 2485933"/>
                      <a:gd name="connsiteY8" fmla="*/ 190734 h 3377109"/>
                      <a:gd name="connsiteX9" fmla="*/ 746106 w 2485933"/>
                      <a:gd name="connsiteY9" fmla="*/ 151465 h 3377109"/>
                      <a:gd name="connsiteX10" fmla="*/ 774155 w 2485933"/>
                      <a:gd name="connsiteY10" fmla="*/ 72928 h 3377109"/>
                      <a:gd name="connsiteX11" fmla="*/ 891961 w 2485933"/>
                      <a:gd name="connsiteY11" fmla="*/ 33659 h 3377109"/>
                      <a:gd name="connsiteX12" fmla="*/ 998547 w 2485933"/>
                      <a:gd name="connsiteY12" fmla="*/ 61708 h 3377109"/>
                      <a:gd name="connsiteX13" fmla="*/ 1121963 w 2485933"/>
                      <a:gd name="connsiteY13" fmla="*/ 89757 h 3377109"/>
                      <a:gd name="connsiteX14" fmla="*/ 1155622 w 2485933"/>
                      <a:gd name="connsiteY14" fmla="*/ 157075 h 3377109"/>
                      <a:gd name="connsiteX15" fmla="*/ 1161232 w 2485933"/>
                      <a:gd name="connsiteY15" fmla="*/ 207563 h 3377109"/>
                      <a:gd name="connsiteX16" fmla="*/ 1206110 w 2485933"/>
                      <a:gd name="connsiteY16" fmla="*/ 230003 h 3377109"/>
                      <a:gd name="connsiteX17" fmla="*/ 1351966 w 2485933"/>
                      <a:gd name="connsiteY17" fmla="*/ 185124 h 3377109"/>
                      <a:gd name="connsiteX18" fmla="*/ 1570748 w 2485933"/>
                      <a:gd name="connsiteY18" fmla="*/ 196344 h 3377109"/>
                      <a:gd name="connsiteX19" fmla="*/ 1660506 w 2485933"/>
                      <a:gd name="connsiteY19" fmla="*/ 280491 h 3377109"/>
                      <a:gd name="connsiteX20" fmla="*/ 1811971 w 2485933"/>
                      <a:gd name="connsiteY20" fmla="*/ 246832 h 3377109"/>
                      <a:gd name="connsiteX21" fmla="*/ 1890508 w 2485933"/>
                      <a:gd name="connsiteY21" fmla="*/ 319760 h 3377109"/>
                      <a:gd name="connsiteX22" fmla="*/ 2008314 w 2485933"/>
                      <a:gd name="connsiteY22" fmla="*/ 325370 h 3377109"/>
                      <a:gd name="connsiteX23" fmla="*/ 2070022 w 2485933"/>
                      <a:gd name="connsiteY23" fmla="*/ 409517 h 3377109"/>
                      <a:gd name="connsiteX24" fmla="*/ 2137340 w 2485933"/>
                      <a:gd name="connsiteY24" fmla="*/ 611470 h 3377109"/>
                      <a:gd name="connsiteX25" fmla="*/ 2154169 w 2485933"/>
                      <a:gd name="connsiteY25" fmla="*/ 701227 h 3377109"/>
                      <a:gd name="connsiteX26" fmla="*/ 2249536 w 2485933"/>
                      <a:gd name="connsiteY26" fmla="*/ 757325 h 3377109"/>
                      <a:gd name="connsiteX27" fmla="*/ 2316854 w 2485933"/>
                      <a:gd name="connsiteY27" fmla="*/ 807814 h 3377109"/>
                      <a:gd name="connsiteX28" fmla="*/ 2451490 w 2485933"/>
                      <a:gd name="connsiteY28" fmla="*/ 1049036 h 3377109"/>
                      <a:gd name="connsiteX29" fmla="*/ 2485148 w 2485933"/>
                      <a:gd name="connsiteY29" fmla="*/ 1267819 h 3377109"/>
                      <a:gd name="connsiteX30" fmla="*/ 2429050 w 2485933"/>
                      <a:gd name="connsiteY30" fmla="*/ 1452943 h 3377109"/>
                      <a:gd name="connsiteX31" fmla="*/ 2266366 w 2485933"/>
                      <a:gd name="connsiteY31" fmla="*/ 1671725 h 3377109"/>
                      <a:gd name="connsiteX32" fmla="*/ 2243926 w 2485933"/>
                      <a:gd name="connsiteY32" fmla="*/ 1761482 h 3377109"/>
                      <a:gd name="connsiteX33" fmla="*/ 2075632 w 2485933"/>
                      <a:gd name="connsiteY33" fmla="*/ 1901727 h 3377109"/>
                      <a:gd name="connsiteX34" fmla="*/ 1952216 w 2485933"/>
                      <a:gd name="connsiteY34" fmla="*/ 2047582 h 3377109"/>
                      <a:gd name="connsiteX35" fmla="*/ 1907337 w 2485933"/>
                      <a:gd name="connsiteY35" fmla="*/ 2277585 h 3377109"/>
                      <a:gd name="connsiteX36" fmla="*/ 1699775 w 2485933"/>
                      <a:gd name="connsiteY36" fmla="*/ 3377109 h 3377109"/>
                      <a:gd name="connsiteX0" fmla="*/ 0 w 2485933"/>
                      <a:gd name="connsiteY0" fmla="*/ 0 h 3377109"/>
                      <a:gd name="connsiteX1" fmla="*/ 179514 w 2485933"/>
                      <a:gd name="connsiteY1" fmla="*/ 89757 h 3377109"/>
                      <a:gd name="connsiteX2" fmla="*/ 263661 w 2485933"/>
                      <a:gd name="connsiteY2" fmla="*/ 140246 h 3377109"/>
                      <a:gd name="connsiteX3" fmla="*/ 302930 w 2485933"/>
                      <a:gd name="connsiteY3" fmla="*/ 196344 h 3377109"/>
                      <a:gd name="connsiteX4" fmla="*/ 330979 w 2485933"/>
                      <a:gd name="connsiteY4" fmla="*/ 201954 h 3377109"/>
                      <a:gd name="connsiteX5" fmla="*/ 420736 w 2485933"/>
                      <a:gd name="connsiteY5" fmla="*/ 157075 h 3377109"/>
                      <a:gd name="connsiteX6" fmla="*/ 482444 w 2485933"/>
                      <a:gd name="connsiteY6" fmla="*/ 179514 h 3377109"/>
                      <a:gd name="connsiteX7" fmla="*/ 521713 w 2485933"/>
                      <a:gd name="connsiteY7" fmla="*/ 224393 h 3377109"/>
                      <a:gd name="connsiteX8" fmla="*/ 650739 w 2485933"/>
                      <a:gd name="connsiteY8" fmla="*/ 190734 h 3377109"/>
                      <a:gd name="connsiteX9" fmla="*/ 746106 w 2485933"/>
                      <a:gd name="connsiteY9" fmla="*/ 151465 h 3377109"/>
                      <a:gd name="connsiteX10" fmla="*/ 774155 w 2485933"/>
                      <a:gd name="connsiteY10" fmla="*/ 72928 h 3377109"/>
                      <a:gd name="connsiteX11" fmla="*/ 891961 w 2485933"/>
                      <a:gd name="connsiteY11" fmla="*/ 33659 h 3377109"/>
                      <a:gd name="connsiteX12" fmla="*/ 998547 w 2485933"/>
                      <a:gd name="connsiteY12" fmla="*/ 61708 h 3377109"/>
                      <a:gd name="connsiteX13" fmla="*/ 1121963 w 2485933"/>
                      <a:gd name="connsiteY13" fmla="*/ 89757 h 3377109"/>
                      <a:gd name="connsiteX14" fmla="*/ 1155622 w 2485933"/>
                      <a:gd name="connsiteY14" fmla="*/ 157075 h 3377109"/>
                      <a:gd name="connsiteX15" fmla="*/ 1161232 w 2485933"/>
                      <a:gd name="connsiteY15" fmla="*/ 207563 h 3377109"/>
                      <a:gd name="connsiteX16" fmla="*/ 1206110 w 2485933"/>
                      <a:gd name="connsiteY16" fmla="*/ 230003 h 3377109"/>
                      <a:gd name="connsiteX17" fmla="*/ 1351966 w 2485933"/>
                      <a:gd name="connsiteY17" fmla="*/ 185124 h 3377109"/>
                      <a:gd name="connsiteX18" fmla="*/ 1570748 w 2485933"/>
                      <a:gd name="connsiteY18" fmla="*/ 196344 h 3377109"/>
                      <a:gd name="connsiteX19" fmla="*/ 1660506 w 2485933"/>
                      <a:gd name="connsiteY19" fmla="*/ 280491 h 3377109"/>
                      <a:gd name="connsiteX20" fmla="*/ 1811971 w 2485933"/>
                      <a:gd name="connsiteY20" fmla="*/ 246832 h 3377109"/>
                      <a:gd name="connsiteX21" fmla="*/ 1890508 w 2485933"/>
                      <a:gd name="connsiteY21" fmla="*/ 319760 h 3377109"/>
                      <a:gd name="connsiteX22" fmla="*/ 2008314 w 2485933"/>
                      <a:gd name="connsiteY22" fmla="*/ 325370 h 3377109"/>
                      <a:gd name="connsiteX23" fmla="*/ 2070022 w 2485933"/>
                      <a:gd name="connsiteY23" fmla="*/ 409517 h 3377109"/>
                      <a:gd name="connsiteX24" fmla="*/ 2137340 w 2485933"/>
                      <a:gd name="connsiteY24" fmla="*/ 611470 h 3377109"/>
                      <a:gd name="connsiteX25" fmla="*/ 2154169 w 2485933"/>
                      <a:gd name="connsiteY25" fmla="*/ 701227 h 3377109"/>
                      <a:gd name="connsiteX26" fmla="*/ 2249536 w 2485933"/>
                      <a:gd name="connsiteY26" fmla="*/ 757325 h 3377109"/>
                      <a:gd name="connsiteX27" fmla="*/ 2316854 w 2485933"/>
                      <a:gd name="connsiteY27" fmla="*/ 807814 h 3377109"/>
                      <a:gd name="connsiteX28" fmla="*/ 2451490 w 2485933"/>
                      <a:gd name="connsiteY28" fmla="*/ 1049036 h 3377109"/>
                      <a:gd name="connsiteX29" fmla="*/ 2485148 w 2485933"/>
                      <a:gd name="connsiteY29" fmla="*/ 1267819 h 3377109"/>
                      <a:gd name="connsiteX30" fmla="*/ 2429050 w 2485933"/>
                      <a:gd name="connsiteY30" fmla="*/ 1452943 h 3377109"/>
                      <a:gd name="connsiteX31" fmla="*/ 2266366 w 2485933"/>
                      <a:gd name="connsiteY31" fmla="*/ 1671725 h 3377109"/>
                      <a:gd name="connsiteX32" fmla="*/ 2243926 w 2485933"/>
                      <a:gd name="connsiteY32" fmla="*/ 1761482 h 3377109"/>
                      <a:gd name="connsiteX33" fmla="*/ 2075632 w 2485933"/>
                      <a:gd name="connsiteY33" fmla="*/ 1901727 h 3377109"/>
                      <a:gd name="connsiteX34" fmla="*/ 1952216 w 2485933"/>
                      <a:gd name="connsiteY34" fmla="*/ 2047582 h 3377109"/>
                      <a:gd name="connsiteX35" fmla="*/ 1997094 w 2485933"/>
                      <a:gd name="connsiteY35" fmla="*/ 2283194 h 3377109"/>
                      <a:gd name="connsiteX36" fmla="*/ 1699775 w 2485933"/>
                      <a:gd name="connsiteY36" fmla="*/ 3377109 h 3377109"/>
                      <a:gd name="connsiteX0" fmla="*/ 0 w 2485933"/>
                      <a:gd name="connsiteY0" fmla="*/ 0 h 3377109"/>
                      <a:gd name="connsiteX1" fmla="*/ 179514 w 2485933"/>
                      <a:gd name="connsiteY1" fmla="*/ 89757 h 3377109"/>
                      <a:gd name="connsiteX2" fmla="*/ 263661 w 2485933"/>
                      <a:gd name="connsiteY2" fmla="*/ 140246 h 3377109"/>
                      <a:gd name="connsiteX3" fmla="*/ 302930 w 2485933"/>
                      <a:gd name="connsiteY3" fmla="*/ 196344 h 3377109"/>
                      <a:gd name="connsiteX4" fmla="*/ 330979 w 2485933"/>
                      <a:gd name="connsiteY4" fmla="*/ 201954 h 3377109"/>
                      <a:gd name="connsiteX5" fmla="*/ 420736 w 2485933"/>
                      <a:gd name="connsiteY5" fmla="*/ 157075 h 3377109"/>
                      <a:gd name="connsiteX6" fmla="*/ 482444 w 2485933"/>
                      <a:gd name="connsiteY6" fmla="*/ 179514 h 3377109"/>
                      <a:gd name="connsiteX7" fmla="*/ 521713 w 2485933"/>
                      <a:gd name="connsiteY7" fmla="*/ 224393 h 3377109"/>
                      <a:gd name="connsiteX8" fmla="*/ 650739 w 2485933"/>
                      <a:gd name="connsiteY8" fmla="*/ 190734 h 3377109"/>
                      <a:gd name="connsiteX9" fmla="*/ 746106 w 2485933"/>
                      <a:gd name="connsiteY9" fmla="*/ 151465 h 3377109"/>
                      <a:gd name="connsiteX10" fmla="*/ 774155 w 2485933"/>
                      <a:gd name="connsiteY10" fmla="*/ 72928 h 3377109"/>
                      <a:gd name="connsiteX11" fmla="*/ 891961 w 2485933"/>
                      <a:gd name="connsiteY11" fmla="*/ 33659 h 3377109"/>
                      <a:gd name="connsiteX12" fmla="*/ 998547 w 2485933"/>
                      <a:gd name="connsiteY12" fmla="*/ 61708 h 3377109"/>
                      <a:gd name="connsiteX13" fmla="*/ 1121963 w 2485933"/>
                      <a:gd name="connsiteY13" fmla="*/ 89757 h 3377109"/>
                      <a:gd name="connsiteX14" fmla="*/ 1155622 w 2485933"/>
                      <a:gd name="connsiteY14" fmla="*/ 157075 h 3377109"/>
                      <a:gd name="connsiteX15" fmla="*/ 1161232 w 2485933"/>
                      <a:gd name="connsiteY15" fmla="*/ 207563 h 3377109"/>
                      <a:gd name="connsiteX16" fmla="*/ 1206110 w 2485933"/>
                      <a:gd name="connsiteY16" fmla="*/ 230003 h 3377109"/>
                      <a:gd name="connsiteX17" fmla="*/ 1351966 w 2485933"/>
                      <a:gd name="connsiteY17" fmla="*/ 185124 h 3377109"/>
                      <a:gd name="connsiteX18" fmla="*/ 1570748 w 2485933"/>
                      <a:gd name="connsiteY18" fmla="*/ 196344 h 3377109"/>
                      <a:gd name="connsiteX19" fmla="*/ 1660506 w 2485933"/>
                      <a:gd name="connsiteY19" fmla="*/ 280491 h 3377109"/>
                      <a:gd name="connsiteX20" fmla="*/ 1811971 w 2485933"/>
                      <a:gd name="connsiteY20" fmla="*/ 246832 h 3377109"/>
                      <a:gd name="connsiteX21" fmla="*/ 1890508 w 2485933"/>
                      <a:gd name="connsiteY21" fmla="*/ 319760 h 3377109"/>
                      <a:gd name="connsiteX22" fmla="*/ 2008314 w 2485933"/>
                      <a:gd name="connsiteY22" fmla="*/ 325370 h 3377109"/>
                      <a:gd name="connsiteX23" fmla="*/ 2070022 w 2485933"/>
                      <a:gd name="connsiteY23" fmla="*/ 409517 h 3377109"/>
                      <a:gd name="connsiteX24" fmla="*/ 2137340 w 2485933"/>
                      <a:gd name="connsiteY24" fmla="*/ 611470 h 3377109"/>
                      <a:gd name="connsiteX25" fmla="*/ 2154169 w 2485933"/>
                      <a:gd name="connsiteY25" fmla="*/ 701227 h 3377109"/>
                      <a:gd name="connsiteX26" fmla="*/ 2249536 w 2485933"/>
                      <a:gd name="connsiteY26" fmla="*/ 757325 h 3377109"/>
                      <a:gd name="connsiteX27" fmla="*/ 2316854 w 2485933"/>
                      <a:gd name="connsiteY27" fmla="*/ 807814 h 3377109"/>
                      <a:gd name="connsiteX28" fmla="*/ 2451490 w 2485933"/>
                      <a:gd name="connsiteY28" fmla="*/ 1049036 h 3377109"/>
                      <a:gd name="connsiteX29" fmla="*/ 2485148 w 2485933"/>
                      <a:gd name="connsiteY29" fmla="*/ 1267819 h 3377109"/>
                      <a:gd name="connsiteX30" fmla="*/ 2429050 w 2485933"/>
                      <a:gd name="connsiteY30" fmla="*/ 1452943 h 3377109"/>
                      <a:gd name="connsiteX31" fmla="*/ 2266366 w 2485933"/>
                      <a:gd name="connsiteY31" fmla="*/ 1671725 h 3377109"/>
                      <a:gd name="connsiteX32" fmla="*/ 2243926 w 2485933"/>
                      <a:gd name="connsiteY32" fmla="*/ 1761482 h 3377109"/>
                      <a:gd name="connsiteX33" fmla="*/ 2075632 w 2485933"/>
                      <a:gd name="connsiteY33" fmla="*/ 1901727 h 3377109"/>
                      <a:gd name="connsiteX34" fmla="*/ 1952216 w 2485933"/>
                      <a:gd name="connsiteY34" fmla="*/ 2047582 h 3377109"/>
                      <a:gd name="connsiteX35" fmla="*/ 1890508 w 2485933"/>
                      <a:gd name="connsiteY35" fmla="*/ 2283194 h 3377109"/>
                      <a:gd name="connsiteX36" fmla="*/ 1699775 w 2485933"/>
                      <a:gd name="connsiteY36" fmla="*/ 3377109 h 3377109"/>
                      <a:gd name="connsiteX0" fmla="*/ 0 w 2485933"/>
                      <a:gd name="connsiteY0" fmla="*/ 0 h 3377109"/>
                      <a:gd name="connsiteX1" fmla="*/ 179514 w 2485933"/>
                      <a:gd name="connsiteY1" fmla="*/ 89757 h 3377109"/>
                      <a:gd name="connsiteX2" fmla="*/ 263661 w 2485933"/>
                      <a:gd name="connsiteY2" fmla="*/ 140246 h 3377109"/>
                      <a:gd name="connsiteX3" fmla="*/ 302930 w 2485933"/>
                      <a:gd name="connsiteY3" fmla="*/ 196344 h 3377109"/>
                      <a:gd name="connsiteX4" fmla="*/ 330979 w 2485933"/>
                      <a:gd name="connsiteY4" fmla="*/ 201954 h 3377109"/>
                      <a:gd name="connsiteX5" fmla="*/ 420736 w 2485933"/>
                      <a:gd name="connsiteY5" fmla="*/ 157075 h 3377109"/>
                      <a:gd name="connsiteX6" fmla="*/ 482444 w 2485933"/>
                      <a:gd name="connsiteY6" fmla="*/ 179514 h 3377109"/>
                      <a:gd name="connsiteX7" fmla="*/ 521713 w 2485933"/>
                      <a:gd name="connsiteY7" fmla="*/ 224393 h 3377109"/>
                      <a:gd name="connsiteX8" fmla="*/ 650739 w 2485933"/>
                      <a:gd name="connsiteY8" fmla="*/ 190734 h 3377109"/>
                      <a:gd name="connsiteX9" fmla="*/ 746106 w 2485933"/>
                      <a:gd name="connsiteY9" fmla="*/ 151465 h 3377109"/>
                      <a:gd name="connsiteX10" fmla="*/ 774155 w 2485933"/>
                      <a:gd name="connsiteY10" fmla="*/ 72928 h 3377109"/>
                      <a:gd name="connsiteX11" fmla="*/ 891961 w 2485933"/>
                      <a:gd name="connsiteY11" fmla="*/ 33659 h 3377109"/>
                      <a:gd name="connsiteX12" fmla="*/ 998547 w 2485933"/>
                      <a:gd name="connsiteY12" fmla="*/ 61708 h 3377109"/>
                      <a:gd name="connsiteX13" fmla="*/ 1121963 w 2485933"/>
                      <a:gd name="connsiteY13" fmla="*/ 89757 h 3377109"/>
                      <a:gd name="connsiteX14" fmla="*/ 1155622 w 2485933"/>
                      <a:gd name="connsiteY14" fmla="*/ 157075 h 3377109"/>
                      <a:gd name="connsiteX15" fmla="*/ 1161232 w 2485933"/>
                      <a:gd name="connsiteY15" fmla="*/ 207563 h 3377109"/>
                      <a:gd name="connsiteX16" fmla="*/ 1206110 w 2485933"/>
                      <a:gd name="connsiteY16" fmla="*/ 230003 h 3377109"/>
                      <a:gd name="connsiteX17" fmla="*/ 1351966 w 2485933"/>
                      <a:gd name="connsiteY17" fmla="*/ 185124 h 3377109"/>
                      <a:gd name="connsiteX18" fmla="*/ 1570748 w 2485933"/>
                      <a:gd name="connsiteY18" fmla="*/ 196344 h 3377109"/>
                      <a:gd name="connsiteX19" fmla="*/ 1660506 w 2485933"/>
                      <a:gd name="connsiteY19" fmla="*/ 280491 h 3377109"/>
                      <a:gd name="connsiteX20" fmla="*/ 1811971 w 2485933"/>
                      <a:gd name="connsiteY20" fmla="*/ 246832 h 3377109"/>
                      <a:gd name="connsiteX21" fmla="*/ 1890508 w 2485933"/>
                      <a:gd name="connsiteY21" fmla="*/ 319760 h 3377109"/>
                      <a:gd name="connsiteX22" fmla="*/ 2008314 w 2485933"/>
                      <a:gd name="connsiteY22" fmla="*/ 325370 h 3377109"/>
                      <a:gd name="connsiteX23" fmla="*/ 2070022 w 2485933"/>
                      <a:gd name="connsiteY23" fmla="*/ 409517 h 3377109"/>
                      <a:gd name="connsiteX24" fmla="*/ 2137340 w 2485933"/>
                      <a:gd name="connsiteY24" fmla="*/ 611470 h 3377109"/>
                      <a:gd name="connsiteX25" fmla="*/ 2154169 w 2485933"/>
                      <a:gd name="connsiteY25" fmla="*/ 701227 h 3377109"/>
                      <a:gd name="connsiteX26" fmla="*/ 2249536 w 2485933"/>
                      <a:gd name="connsiteY26" fmla="*/ 757325 h 3377109"/>
                      <a:gd name="connsiteX27" fmla="*/ 2316854 w 2485933"/>
                      <a:gd name="connsiteY27" fmla="*/ 807814 h 3377109"/>
                      <a:gd name="connsiteX28" fmla="*/ 2451490 w 2485933"/>
                      <a:gd name="connsiteY28" fmla="*/ 1049036 h 3377109"/>
                      <a:gd name="connsiteX29" fmla="*/ 2485148 w 2485933"/>
                      <a:gd name="connsiteY29" fmla="*/ 1267819 h 3377109"/>
                      <a:gd name="connsiteX30" fmla="*/ 2429050 w 2485933"/>
                      <a:gd name="connsiteY30" fmla="*/ 1452943 h 3377109"/>
                      <a:gd name="connsiteX31" fmla="*/ 2266366 w 2485933"/>
                      <a:gd name="connsiteY31" fmla="*/ 1671725 h 3377109"/>
                      <a:gd name="connsiteX32" fmla="*/ 2243926 w 2485933"/>
                      <a:gd name="connsiteY32" fmla="*/ 1761482 h 3377109"/>
                      <a:gd name="connsiteX33" fmla="*/ 2075632 w 2485933"/>
                      <a:gd name="connsiteY33" fmla="*/ 1901727 h 3377109"/>
                      <a:gd name="connsiteX34" fmla="*/ 1952216 w 2485933"/>
                      <a:gd name="connsiteY34" fmla="*/ 2047582 h 3377109"/>
                      <a:gd name="connsiteX35" fmla="*/ 1890508 w 2485933"/>
                      <a:gd name="connsiteY35" fmla="*/ 2283194 h 3377109"/>
                      <a:gd name="connsiteX36" fmla="*/ 1744653 w 2485933"/>
                      <a:gd name="connsiteY36" fmla="*/ 2468318 h 3377109"/>
                      <a:gd name="connsiteX37" fmla="*/ 1699775 w 2485933"/>
                      <a:gd name="connsiteY37" fmla="*/ 3377109 h 3377109"/>
                      <a:gd name="connsiteX0" fmla="*/ 0 w 2485933"/>
                      <a:gd name="connsiteY0" fmla="*/ 0 h 3377109"/>
                      <a:gd name="connsiteX1" fmla="*/ 179514 w 2485933"/>
                      <a:gd name="connsiteY1" fmla="*/ 89757 h 3377109"/>
                      <a:gd name="connsiteX2" fmla="*/ 263661 w 2485933"/>
                      <a:gd name="connsiteY2" fmla="*/ 140246 h 3377109"/>
                      <a:gd name="connsiteX3" fmla="*/ 302930 w 2485933"/>
                      <a:gd name="connsiteY3" fmla="*/ 196344 h 3377109"/>
                      <a:gd name="connsiteX4" fmla="*/ 330979 w 2485933"/>
                      <a:gd name="connsiteY4" fmla="*/ 201954 h 3377109"/>
                      <a:gd name="connsiteX5" fmla="*/ 420736 w 2485933"/>
                      <a:gd name="connsiteY5" fmla="*/ 157075 h 3377109"/>
                      <a:gd name="connsiteX6" fmla="*/ 482444 w 2485933"/>
                      <a:gd name="connsiteY6" fmla="*/ 179514 h 3377109"/>
                      <a:gd name="connsiteX7" fmla="*/ 521713 w 2485933"/>
                      <a:gd name="connsiteY7" fmla="*/ 224393 h 3377109"/>
                      <a:gd name="connsiteX8" fmla="*/ 650739 w 2485933"/>
                      <a:gd name="connsiteY8" fmla="*/ 190734 h 3377109"/>
                      <a:gd name="connsiteX9" fmla="*/ 746106 w 2485933"/>
                      <a:gd name="connsiteY9" fmla="*/ 151465 h 3377109"/>
                      <a:gd name="connsiteX10" fmla="*/ 774155 w 2485933"/>
                      <a:gd name="connsiteY10" fmla="*/ 72928 h 3377109"/>
                      <a:gd name="connsiteX11" fmla="*/ 891961 w 2485933"/>
                      <a:gd name="connsiteY11" fmla="*/ 33659 h 3377109"/>
                      <a:gd name="connsiteX12" fmla="*/ 998547 w 2485933"/>
                      <a:gd name="connsiteY12" fmla="*/ 61708 h 3377109"/>
                      <a:gd name="connsiteX13" fmla="*/ 1121963 w 2485933"/>
                      <a:gd name="connsiteY13" fmla="*/ 89757 h 3377109"/>
                      <a:gd name="connsiteX14" fmla="*/ 1155622 w 2485933"/>
                      <a:gd name="connsiteY14" fmla="*/ 157075 h 3377109"/>
                      <a:gd name="connsiteX15" fmla="*/ 1161232 w 2485933"/>
                      <a:gd name="connsiteY15" fmla="*/ 207563 h 3377109"/>
                      <a:gd name="connsiteX16" fmla="*/ 1206110 w 2485933"/>
                      <a:gd name="connsiteY16" fmla="*/ 230003 h 3377109"/>
                      <a:gd name="connsiteX17" fmla="*/ 1351966 w 2485933"/>
                      <a:gd name="connsiteY17" fmla="*/ 185124 h 3377109"/>
                      <a:gd name="connsiteX18" fmla="*/ 1570748 w 2485933"/>
                      <a:gd name="connsiteY18" fmla="*/ 196344 h 3377109"/>
                      <a:gd name="connsiteX19" fmla="*/ 1660506 w 2485933"/>
                      <a:gd name="connsiteY19" fmla="*/ 280491 h 3377109"/>
                      <a:gd name="connsiteX20" fmla="*/ 1811971 w 2485933"/>
                      <a:gd name="connsiteY20" fmla="*/ 246832 h 3377109"/>
                      <a:gd name="connsiteX21" fmla="*/ 1890508 w 2485933"/>
                      <a:gd name="connsiteY21" fmla="*/ 319760 h 3377109"/>
                      <a:gd name="connsiteX22" fmla="*/ 2008314 w 2485933"/>
                      <a:gd name="connsiteY22" fmla="*/ 325370 h 3377109"/>
                      <a:gd name="connsiteX23" fmla="*/ 2070022 w 2485933"/>
                      <a:gd name="connsiteY23" fmla="*/ 409517 h 3377109"/>
                      <a:gd name="connsiteX24" fmla="*/ 2137340 w 2485933"/>
                      <a:gd name="connsiteY24" fmla="*/ 611470 h 3377109"/>
                      <a:gd name="connsiteX25" fmla="*/ 2154169 w 2485933"/>
                      <a:gd name="connsiteY25" fmla="*/ 701227 h 3377109"/>
                      <a:gd name="connsiteX26" fmla="*/ 2249536 w 2485933"/>
                      <a:gd name="connsiteY26" fmla="*/ 757325 h 3377109"/>
                      <a:gd name="connsiteX27" fmla="*/ 2316854 w 2485933"/>
                      <a:gd name="connsiteY27" fmla="*/ 807814 h 3377109"/>
                      <a:gd name="connsiteX28" fmla="*/ 2451490 w 2485933"/>
                      <a:gd name="connsiteY28" fmla="*/ 1049036 h 3377109"/>
                      <a:gd name="connsiteX29" fmla="*/ 2485148 w 2485933"/>
                      <a:gd name="connsiteY29" fmla="*/ 1267819 h 3377109"/>
                      <a:gd name="connsiteX30" fmla="*/ 2429050 w 2485933"/>
                      <a:gd name="connsiteY30" fmla="*/ 1452943 h 3377109"/>
                      <a:gd name="connsiteX31" fmla="*/ 2266366 w 2485933"/>
                      <a:gd name="connsiteY31" fmla="*/ 1671725 h 3377109"/>
                      <a:gd name="connsiteX32" fmla="*/ 2243926 w 2485933"/>
                      <a:gd name="connsiteY32" fmla="*/ 1761482 h 3377109"/>
                      <a:gd name="connsiteX33" fmla="*/ 2075632 w 2485933"/>
                      <a:gd name="connsiteY33" fmla="*/ 1901727 h 3377109"/>
                      <a:gd name="connsiteX34" fmla="*/ 1952216 w 2485933"/>
                      <a:gd name="connsiteY34" fmla="*/ 2047582 h 3377109"/>
                      <a:gd name="connsiteX35" fmla="*/ 1890508 w 2485933"/>
                      <a:gd name="connsiteY35" fmla="*/ 2283194 h 3377109"/>
                      <a:gd name="connsiteX36" fmla="*/ 1744653 w 2485933"/>
                      <a:gd name="connsiteY36" fmla="*/ 2468318 h 3377109"/>
                      <a:gd name="connsiteX37" fmla="*/ 1699775 w 2485933"/>
                      <a:gd name="connsiteY37" fmla="*/ 3377109 h 3377109"/>
                      <a:gd name="connsiteX0" fmla="*/ 0 w 2485933"/>
                      <a:gd name="connsiteY0" fmla="*/ 0 h 3377109"/>
                      <a:gd name="connsiteX1" fmla="*/ 179514 w 2485933"/>
                      <a:gd name="connsiteY1" fmla="*/ 89757 h 3377109"/>
                      <a:gd name="connsiteX2" fmla="*/ 263661 w 2485933"/>
                      <a:gd name="connsiteY2" fmla="*/ 140246 h 3377109"/>
                      <a:gd name="connsiteX3" fmla="*/ 302930 w 2485933"/>
                      <a:gd name="connsiteY3" fmla="*/ 196344 h 3377109"/>
                      <a:gd name="connsiteX4" fmla="*/ 330979 w 2485933"/>
                      <a:gd name="connsiteY4" fmla="*/ 201954 h 3377109"/>
                      <a:gd name="connsiteX5" fmla="*/ 420736 w 2485933"/>
                      <a:gd name="connsiteY5" fmla="*/ 157075 h 3377109"/>
                      <a:gd name="connsiteX6" fmla="*/ 482444 w 2485933"/>
                      <a:gd name="connsiteY6" fmla="*/ 179514 h 3377109"/>
                      <a:gd name="connsiteX7" fmla="*/ 521713 w 2485933"/>
                      <a:gd name="connsiteY7" fmla="*/ 224393 h 3377109"/>
                      <a:gd name="connsiteX8" fmla="*/ 650739 w 2485933"/>
                      <a:gd name="connsiteY8" fmla="*/ 190734 h 3377109"/>
                      <a:gd name="connsiteX9" fmla="*/ 746106 w 2485933"/>
                      <a:gd name="connsiteY9" fmla="*/ 151465 h 3377109"/>
                      <a:gd name="connsiteX10" fmla="*/ 774155 w 2485933"/>
                      <a:gd name="connsiteY10" fmla="*/ 72928 h 3377109"/>
                      <a:gd name="connsiteX11" fmla="*/ 891961 w 2485933"/>
                      <a:gd name="connsiteY11" fmla="*/ 33659 h 3377109"/>
                      <a:gd name="connsiteX12" fmla="*/ 998547 w 2485933"/>
                      <a:gd name="connsiteY12" fmla="*/ 61708 h 3377109"/>
                      <a:gd name="connsiteX13" fmla="*/ 1121963 w 2485933"/>
                      <a:gd name="connsiteY13" fmla="*/ 89757 h 3377109"/>
                      <a:gd name="connsiteX14" fmla="*/ 1155622 w 2485933"/>
                      <a:gd name="connsiteY14" fmla="*/ 157075 h 3377109"/>
                      <a:gd name="connsiteX15" fmla="*/ 1161232 w 2485933"/>
                      <a:gd name="connsiteY15" fmla="*/ 207563 h 3377109"/>
                      <a:gd name="connsiteX16" fmla="*/ 1206110 w 2485933"/>
                      <a:gd name="connsiteY16" fmla="*/ 230003 h 3377109"/>
                      <a:gd name="connsiteX17" fmla="*/ 1351966 w 2485933"/>
                      <a:gd name="connsiteY17" fmla="*/ 185124 h 3377109"/>
                      <a:gd name="connsiteX18" fmla="*/ 1570748 w 2485933"/>
                      <a:gd name="connsiteY18" fmla="*/ 196344 h 3377109"/>
                      <a:gd name="connsiteX19" fmla="*/ 1660506 w 2485933"/>
                      <a:gd name="connsiteY19" fmla="*/ 280491 h 3377109"/>
                      <a:gd name="connsiteX20" fmla="*/ 1811971 w 2485933"/>
                      <a:gd name="connsiteY20" fmla="*/ 246832 h 3377109"/>
                      <a:gd name="connsiteX21" fmla="*/ 1890508 w 2485933"/>
                      <a:gd name="connsiteY21" fmla="*/ 319760 h 3377109"/>
                      <a:gd name="connsiteX22" fmla="*/ 2008314 w 2485933"/>
                      <a:gd name="connsiteY22" fmla="*/ 325370 h 3377109"/>
                      <a:gd name="connsiteX23" fmla="*/ 2070022 w 2485933"/>
                      <a:gd name="connsiteY23" fmla="*/ 409517 h 3377109"/>
                      <a:gd name="connsiteX24" fmla="*/ 2137340 w 2485933"/>
                      <a:gd name="connsiteY24" fmla="*/ 611470 h 3377109"/>
                      <a:gd name="connsiteX25" fmla="*/ 2154169 w 2485933"/>
                      <a:gd name="connsiteY25" fmla="*/ 701227 h 3377109"/>
                      <a:gd name="connsiteX26" fmla="*/ 2249536 w 2485933"/>
                      <a:gd name="connsiteY26" fmla="*/ 757325 h 3377109"/>
                      <a:gd name="connsiteX27" fmla="*/ 2316854 w 2485933"/>
                      <a:gd name="connsiteY27" fmla="*/ 807814 h 3377109"/>
                      <a:gd name="connsiteX28" fmla="*/ 2451490 w 2485933"/>
                      <a:gd name="connsiteY28" fmla="*/ 1049036 h 3377109"/>
                      <a:gd name="connsiteX29" fmla="*/ 2485148 w 2485933"/>
                      <a:gd name="connsiteY29" fmla="*/ 1267819 h 3377109"/>
                      <a:gd name="connsiteX30" fmla="*/ 2429050 w 2485933"/>
                      <a:gd name="connsiteY30" fmla="*/ 1452943 h 3377109"/>
                      <a:gd name="connsiteX31" fmla="*/ 2266366 w 2485933"/>
                      <a:gd name="connsiteY31" fmla="*/ 1671725 h 3377109"/>
                      <a:gd name="connsiteX32" fmla="*/ 2243926 w 2485933"/>
                      <a:gd name="connsiteY32" fmla="*/ 1761482 h 3377109"/>
                      <a:gd name="connsiteX33" fmla="*/ 2075632 w 2485933"/>
                      <a:gd name="connsiteY33" fmla="*/ 1901727 h 3377109"/>
                      <a:gd name="connsiteX34" fmla="*/ 1952216 w 2485933"/>
                      <a:gd name="connsiteY34" fmla="*/ 2047582 h 3377109"/>
                      <a:gd name="connsiteX35" fmla="*/ 1890508 w 2485933"/>
                      <a:gd name="connsiteY35" fmla="*/ 2283194 h 3377109"/>
                      <a:gd name="connsiteX36" fmla="*/ 1744653 w 2485933"/>
                      <a:gd name="connsiteY36" fmla="*/ 2468318 h 3377109"/>
                      <a:gd name="connsiteX37" fmla="*/ 1677335 w 2485933"/>
                      <a:gd name="connsiteY37" fmla="*/ 2821737 h 3377109"/>
                      <a:gd name="connsiteX38" fmla="*/ 1699775 w 2485933"/>
                      <a:gd name="connsiteY38" fmla="*/ 3377109 h 3377109"/>
                      <a:gd name="connsiteX0" fmla="*/ 0 w 2485933"/>
                      <a:gd name="connsiteY0" fmla="*/ 0 h 3377109"/>
                      <a:gd name="connsiteX1" fmla="*/ 179514 w 2485933"/>
                      <a:gd name="connsiteY1" fmla="*/ 89757 h 3377109"/>
                      <a:gd name="connsiteX2" fmla="*/ 263661 w 2485933"/>
                      <a:gd name="connsiteY2" fmla="*/ 140246 h 3377109"/>
                      <a:gd name="connsiteX3" fmla="*/ 302930 w 2485933"/>
                      <a:gd name="connsiteY3" fmla="*/ 196344 h 3377109"/>
                      <a:gd name="connsiteX4" fmla="*/ 330979 w 2485933"/>
                      <a:gd name="connsiteY4" fmla="*/ 201954 h 3377109"/>
                      <a:gd name="connsiteX5" fmla="*/ 420736 w 2485933"/>
                      <a:gd name="connsiteY5" fmla="*/ 157075 h 3377109"/>
                      <a:gd name="connsiteX6" fmla="*/ 482444 w 2485933"/>
                      <a:gd name="connsiteY6" fmla="*/ 179514 h 3377109"/>
                      <a:gd name="connsiteX7" fmla="*/ 521713 w 2485933"/>
                      <a:gd name="connsiteY7" fmla="*/ 224393 h 3377109"/>
                      <a:gd name="connsiteX8" fmla="*/ 650739 w 2485933"/>
                      <a:gd name="connsiteY8" fmla="*/ 190734 h 3377109"/>
                      <a:gd name="connsiteX9" fmla="*/ 746106 w 2485933"/>
                      <a:gd name="connsiteY9" fmla="*/ 151465 h 3377109"/>
                      <a:gd name="connsiteX10" fmla="*/ 774155 w 2485933"/>
                      <a:gd name="connsiteY10" fmla="*/ 72928 h 3377109"/>
                      <a:gd name="connsiteX11" fmla="*/ 891961 w 2485933"/>
                      <a:gd name="connsiteY11" fmla="*/ 33659 h 3377109"/>
                      <a:gd name="connsiteX12" fmla="*/ 998547 w 2485933"/>
                      <a:gd name="connsiteY12" fmla="*/ 61708 h 3377109"/>
                      <a:gd name="connsiteX13" fmla="*/ 1121963 w 2485933"/>
                      <a:gd name="connsiteY13" fmla="*/ 89757 h 3377109"/>
                      <a:gd name="connsiteX14" fmla="*/ 1155622 w 2485933"/>
                      <a:gd name="connsiteY14" fmla="*/ 157075 h 3377109"/>
                      <a:gd name="connsiteX15" fmla="*/ 1161232 w 2485933"/>
                      <a:gd name="connsiteY15" fmla="*/ 207563 h 3377109"/>
                      <a:gd name="connsiteX16" fmla="*/ 1206110 w 2485933"/>
                      <a:gd name="connsiteY16" fmla="*/ 230003 h 3377109"/>
                      <a:gd name="connsiteX17" fmla="*/ 1351966 w 2485933"/>
                      <a:gd name="connsiteY17" fmla="*/ 185124 h 3377109"/>
                      <a:gd name="connsiteX18" fmla="*/ 1570748 w 2485933"/>
                      <a:gd name="connsiteY18" fmla="*/ 196344 h 3377109"/>
                      <a:gd name="connsiteX19" fmla="*/ 1660506 w 2485933"/>
                      <a:gd name="connsiteY19" fmla="*/ 280491 h 3377109"/>
                      <a:gd name="connsiteX20" fmla="*/ 1811971 w 2485933"/>
                      <a:gd name="connsiteY20" fmla="*/ 246832 h 3377109"/>
                      <a:gd name="connsiteX21" fmla="*/ 1890508 w 2485933"/>
                      <a:gd name="connsiteY21" fmla="*/ 319760 h 3377109"/>
                      <a:gd name="connsiteX22" fmla="*/ 2008314 w 2485933"/>
                      <a:gd name="connsiteY22" fmla="*/ 325370 h 3377109"/>
                      <a:gd name="connsiteX23" fmla="*/ 2070022 w 2485933"/>
                      <a:gd name="connsiteY23" fmla="*/ 409517 h 3377109"/>
                      <a:gd name="connsiteX24" fmla="*/ 2137340 w 2485933"/>
                      <a:gd name="connsiteY24" fmla="*/ 611470 h 3377109"/>
                      <a:gd name="connsiteX25" fmla="*/ 2154169 w 2485933"/>
                      <a:gd name="connsiteY25" fmla="*/ 701227 h 3377109"/>
                      <a:gd name="connsiteX26" fmla="*/ 2249536 w 2485933"/>
                      <a:gd name="connsiteY26" fmla="*/ 757325 h 3377109"/>
                      <a:gd name="connsiteX27" fmla="*/ 2316854 w 2485933"/>
                      <a:gd name="connsiteY27" fmla="*/ 807814 h 3377109"/>
                      <a:gd name="connsiteX28" fmla="*/ 2451490 w 2485933"/>
                      <a:gd name="connsiteY28" fmla="*/ 1049036 h 3377109"/>
                      <a:gd name="connsiteX29" fmla="*/ 2485148 w 2485933"/>
                      <a:gd name="connsiteY29" fmla="*/ 1267819 h 3377109"/>
                      <a:gd name="connsiteX30" fmla="*/ 2429050 w 2485933"/>
                      <a:gd name="connsiteY30" fmla="*/ 1452943 h 3377109"/>
                      <a:gd name="connsiteX31" fmla="*/ 2266366 w 2485933"/>
                      <a:gd name="connsiteY31" fmla="*/ 1671725 h 3377109"/>
                      <a:gd name="connsiteX32" fmla="*/ 2243926 w 2485933"/>
                      <a:gd name="connsiteY32" fmla="*/ 1761482 h 3377109"/>
                      <a:gd name="connsiteX33" fmla="*/ 2075632 w 2485933"/>
                      <a:gd name="connsiteY33" fmla="*/ 1901727 h 3377109"/>
                      <a:gd name="connsiteX34" fmla="*/ 1952216 w 2485933"/>
                      <a:gd name="connsiteY34" fmla="*/ 2047582 h 3377109"/>
                      <a:gd name="connsiteX35" fmla="*/ 1890508 w 2485933"/>
                      <a:gd name="connsiteY35" fmla="*/ 2283194 h 3377109"/>
                      <a:gd name="connsiteX36" fmla="*/ 1744653 w 2485933"/>
                      <a:gd name="connsiteY36" fmla="*/ 2468318 h 3377109"/>
                      <a:gd name="connsiteX37" fmla="*/ 1677335 w 2485933"/>
                      <a:gd name="connsiteY37" fmla="*/ 2821737 h 3377109"/>
                      <a:gd name="connsiteX38" fmla="*/ 1649286 w 2485933"/>
                      <a:gd name="connsiteY38" fmla="*/ 3079788 h 3377109"/>
                      <a:gd name="connsiteX39" fmla="*/ 1699775 w 2485933"/>
                      <a:gd name="connsiteY39" fmla="*/ 3377109 h 3377109"/>
                      <a:gd name="connsiteX0" fmla="*/ 0 w 2485933"/>
                      <a:gd name="connsiteY0" fmla="*/ 0 h 3377109"/>
                      <a:gd name="connsiteX1" fmla="*/ 179514 w 2485933"/>
                      <a:gd name="connsiteY1" fmla="*/ 89757 h 3377109"/>
                      <a:gd name="connsiteX2" fmla="*/ 263661 w 2485933"/>
                      <a:gd name="connsiteY2" fmla="*/ 140246 h 3377109"/>
                      <a:gd name="connsiteX3" fmla="*/ 302930 w 2485933"/>
                      <a:gd name="connsiteY3" fmla="*/ 196344 h 3377109"/>
                      <a:gd name="connsiteX4" fmla="*/ 330979 w 2485933"/>
                      <a:gd name="connsiteY4" fmla="*/ 201954 h 3377109"/>
                      <a:gd name="connsiteX5" fmla="*/ 420736 w 2485933"/>
                      <a:gd name="connsiteY5" fmla="*/ 157075 h 3377109"/>
                      <a:gd name="connsiteX6" fmla="*/ 482444 w 2485933"/>
                      <a:gd name="connsiteY6" fmla="*/ 179514 h 3377109"/>
                      <a:gd name="connsiteX7" fmla="*/ 521713 w 2485933"/>
                      <a:gd name="connsiteY7" fmla="*/ 224393 h 3377109"/>
                      <a:gd name="connsiteX8" fmla="*/ 650739 w 2485933"/>
                      <a:gd name="connsiteY8" fmla="*/ 190734 h 3377109"/>
                      <a:gd name="connsiteX9" fmla="*/ 746106 w 2485933"/>
                      <a:gd name="connsiteY9" fmla="*/ 151465 h 3377109"/>
                      <a:gd name="connsiteX10" fmla="*/ 774155 w 2485933"/>
                      <a:gd name="connsiteY10" fmla="*/ 72928 h 3377109"/>
                      <a:gd name="connsiteX11" fmla="*/ 891961 w 2485933"/>
                      <a:gd name="connsiteY11" fmla="*/ 33659 h 3377109"/>
                      <a:gd name="connsiteX12" fmla="*/ 998547 w 2485933"/>
                      <a:gd name="connsiteY12" fmla="*/ 61708 h 3377109"/>
                      <a:gd name="connsiteX13" fmla="*/ 1121963 w 2485933"/>
                      <a:gd name="connsiteY13" fmla="*/ 89757 h 3377109"/>
                      <a:gd name="connsiteX14" fmla="*/ 1155622 w 2485933"/>
                      <a:gd name="connsiteY14" fmla="*/ 157075 h 3377109"/>
                      <a:gd name="connsiteX15" fmla="*/ 1161232 w 2485933"/>
                      <a:gd name="connsiteY15" fmla="*/ 207563 h 3377109"/>
                      <a:gd name="connsiteX16" fmla="*/ 1206110 w 2485933"/>
                      <a:gd name="connsiteY16" fmla="*/ 230003 h 3377109"/>
                      <a:gd name="connsiteX17" fmla="*/ 1351966 w 2485933"/>
                      <a:gd name="connsiteY17" fmla="*/ 185124 h 3377109"/>
                      <a:gd name="connsiteX18" fmla="*/ 1570748 w 2485933"/>
                      <a:gd name="connsiteY18" fmla="*/ 196344 h 3377109"/>
                      <a:gd name="connsiteX19" fmla="*/ 1660506 w 2485933"/>
                      <a:gd name="connsiteY19" fmla="*/ 280491 h 3377109"/>
                      <a:gd name="connsiteX20" fmla="*/ 1811971 w 2485933"/>
                      <a:gd name="connsiteY20" fmla="*/ 246832 h 3377109"/>
                      <a:gd name="connsiteX21" fmla="*/ 1890508 w 2485933"/>
                      <a:gd name="connsiteY21" fmla="*/ 319760 h 3377109"/>
                      <a:gd name="connsiteX22" fmla="*/ 2008314 w 2485933"/>
                      <a:gd name="connsiteY22" fmla="*/ 325370 h 3377109"/>
                      <a:gd name="connsiteX23" fmla="*/ 2070022 w 2485933"/>
                      <a:gd name="connsiteY23" fmla="*/ 409517 h 3377109"/>
                      <a:gd name="connsiteX24" fmla="*/ 2137340 w 2485933"/>
                      <a:gd name="connsiteY24" fmla="*/ 611470 h 3377109"/>
                      <a:gd name="connsiteX25" fmla="*/ 2154169 w 2485933"/>
                      <a:gd name="connsiteY25" fmla="*/ 701227 h 3377109"/>
                      <a:gd name="connsiteX26" fmla="*/ 2249536 w 2485933"/>
                      <a:gd name="connsiteY26" fmla="*/ 757325 h 3377109"/>
                      <a:gd name="connsiteX27" fmla="*/ 2316854 w 2485933"/>
                      <a:gd name="connsiteY27" fmla="*/ 807814 h 3377109"/>
                      <a:gd name="connsiteX28" fmla="*/ 2451490 w 2485933"/>
                      <a:gd name="connsiteY28" fmla="*/ 1049036 h 3377109"/>
                      <a:gd name="connsiteX29" fmla="*/ 2485148 w 2485933"/>
                      <a:gd name="connsiteY29" fmla="*/ 1267819 h 3377109"/>
                      <a:gd name="connsiteX30" fmla="*/ 2429050 w 2485933"/>
                      <a:gd name="connsiteY30" fmla="*/ 1452943 h 3377109"/>
                      <a:gd name="connsiteX31" fmla="*/ 2266366 w 2485933"/>
                      <a:gd name="connsiteY31" fmla="*/ 1671725 h 3377109"/>
                      <a:gd name="connsiteX32" fmla="*/ 2243926 w 2485933"/>
                      <a:gd name="connsiteY32" fmla="*/ 1761482 h 3377109"/>
                      <a:gd name="connsiteX33" fmla="*/ 2075632 w 2485933"/>
                      <a:gd name="connsiteY33" fmla="*/ 1901727 h 3377109"/>
                      <a:gd name="connsiteX34" fmla="*/ 1952216 w 2485933"/>
                      <a:gd name="connsiteY34" fmla="*/ 2047582 h 3377109"/>
                      <a:gd name="connsiteX35" fmla="*/ 1890508 w 2485933"/>
                      <a:gd name="connsiteY35" fmla="*/ 2283194 h 3377109"/>
                      <a:gd name="connsiteX36" fmla="*/ 1744653 w 2485933"/>
                      <a:gd name="connsiteY36" fmla="*/ 2468318 h 3377109"/>
                      <a:gd name="connsiteX37" fmla="*/ 1677335 w 2485933"/>
                      <a:gd name="connsiteY37" fmla="*/ 2821737 h 3377109"/>
                      <a:gd name="connsiteX38" fmla="*/ 1649286 w 2485933"/>
                      <a:gd name="connsiteY38" fmla="*/ 3079788 h 3377109"/>
                      <a:gd name="connsiteX39" fmla="*/ 1710994 w 2485933"/>
                      <a:gd name="connsiteY39" fmla="*/ 3264912 h 3377109"/>
                      <a:gd name="connsiteX40" fmla="*/ 1699775 w 2485933"/>
                      <a:gd name="connsiteY40" fmla="*/ 3377109 h 3377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2485933" h="3377109">
                        <a:moveTo>
                          <a:pt x="0" y="0"/>
                        </a:moveTo>
                        <a:cubicBezTo>
                          <a:pt x="67785" y="33191"/>
                          <a:pt x="135571" y="66383"/>
                          <a:pt x="179514" y="89757"/>
                        </a:cubicBezTo>
                        <a:cubicBezTo>
                          <a:pt x="223457" y="113131"/>
                          <a:pt x="243092" y="122482"/>
                          <a:pt x="263661" y="140246"/>
                        </a:cubicBezTo>
                        <a:cubicBezTo>
                          <a:pt x="284230" y="158011"/>
                          <a:pt x="302930" y="196344"/>
                          <a:pt x="302930" y="196344"/>
                        </a:cubicBezTo>
                        <a:cubicBezTo>
                          <a:pt x="314150" y="206629"/>
                          <a:pt x="311345" y="208499"/>
                          <a:pt x="330979" y="201954"/>
                        </a:cubicBezTo>
                        <a:cubicBezTo>
                          <a:pt x="350613" y="195409"/>
                          <a:pt x="395492" y="160815"/>
                          <a:pt x="420736" y="157075"/>
                        </a:cubicBezTo>
                        <a:cubicBezTo>
                          <a:pt x="445980" y="153335"/>
                          <a:pt x="465615" y="168294"/>
                          <a:pt x="482444" y="179514"/>
                        </a:cubicBezTo>
                        <a:cubicBezTo>
                          <a:pt x="499273" y="190734"/>
                          <a:pt x="493664" y="222523"/>
                          <a:pt x="521713" y="224393"/>
                        </a:cubicBezTo>
                        <a:cubicBezTo>
                          <a:pt x="549762" y="226263"/>
                          <a:pt x="613340" y="202889"/>
                          <a:pt x="650739" y="190734"/>
                        </a:cubicBezTo>
                        <a:cubicBezTo>
                          <a:pt x="688138" y="178579"/>
                          <a:pt x="725537" y="171099"/>
                          <a:pt x="746106" y="151465"/>
                        </a:cubicBezTo>
                        <a:cubicBezTo>
                          <a:pt x="766675" y="131831"/>
                          <a:pt x="749846" y="92562"/>
                          <a:pt x="774155" y="72928"/>
                        </a:cubicBezTo>
                        <a:cubicBezTo>
                          <a:pt x="798464" y="53294"/>
                          <a:pt x="854562" y="35529"/>
                          <a:pt x="891961" y="33659"/>
                        </a:cubicBezTo>
                        <a:cubicBezTo>
                          <a:pt x="929360" y="31789"/>
                          <a:pt x="960213" y="52358"/>
                          <a:pt x="998547" y="61708"/>
                        </a:cubicBezTo>
                        <a:cubicBezTo>
                          <a:pt x="1036881" y="71058"/>
                          <a:pt x="1095784" y="73863"/>
                          <a:pt x="1121963" y="89757"/>
                        </a:cubicBezTo>
                        <a:cubicBezTo>
                          <a:pt x="1148142" y="105651"/>
                          <a:pt x="1149077" y="137441"/>
                          <a:pt x="1155622" y="157075"/>
                        </a:cubicBezTo>
                        <a:cubicBezTo>
                          <a:pt x="1162167" y="176709"/>
                          <a:pt x="1152817" y="195408"/>
                          <a:pt x="1161232" y="207563"/>
                        </a:cubicBezTo>
                        <a:cubicBezTo>
                          <a:pt x="1169647" y="219718"/>
                          <a:pt x="1174321" y="233743"/>
                          <a:pt x="1206110" y="230003"/>
                        </a:cubicBezTo>
                        <a:cubicBezTo>
                          <a:pt x="1237899" y="226263"/>
                          <a:pt x="1291193" y="190734"/>
                          <a:pt x="1351966" y="185124"/>
                        </a:cubicBezTo>
                        <a:cubicBezTo>
                          <a:pt x="1412739" y="179514"/>
                          <a:pt x="1519325" y="180450"/>
                          <a:pt x="1570748" y="196344"/>
                        </a:cubicBezTo>
                        <a:cubicBezTo>
                          <a:pt x="1622171" y="212239"/>
                          <a:pt x="1620302" y="272076"/>
                          <a:pt x="1660506" y="280491"/>
                        </a:cubicBezTo>
                        <a:cubicBezTo>
                          <a:pt x="1700710" y="288906"/>
                          <a:pt x="1773637" y="240287"/>
                          <a:pt x="1811971" y="246832"/>
                        </a:cubicBezTo>
                        <a:cubicBezTo>
                          <a:pt x="1850305" y="253377"/>
                          <a:pt x="1857784" y="306670"/>
                          <a:pt x="1890508" y="319760"/>
                        </a:cubicBezTo>
                        <a:cubicBezTo>
                          <a:pt x="1923232" y="332850"/>
                          <a:pt x="1978395" y="310411"/>
                          <a:pt x="2008314" y="325370"/>
                        </a:cubicBezTo>
                        <a:cubicBezTo>
                          <a:pt x="2038233" y="340329"/>
                          <a:pt x="2048518" y="361834"/>
                          <a:pt x="2070022" y="409517"/>
                        </a:cubicBezTo>
                        <a:cubicBezTo>
                          <a:pt x="2091526" y="457200"/>
                          <a:pt x="2123315" y="562852"/>
                          <a:pt x="2137340" y="611470"/>
                        </a:cubicBezTo>
                        <a:cubicBezTo>
                          <a:pt x="2151365" y="660088"/>
                          <a:pt x="2135470" y="676918"/>
                          <a:pt x="2154169" y="701227"/>
                        </a:cubicBezTo>
                        <a:cubicBezTo>
                          <a:pt x="2172868" y="725536"/>
                          <a:pt x="2222422" y="739561"/>
                          <a:pt x="2249536" y="757325"/>
                        </a:cubicBezTo>
                        <a:cubicBezTo>
                          <a:pt x="2276650" y="775090"/>
                          <a:pt x="2283195" y="759196"/>
                          <a:pt x="2316854" y="807814"/>
                        </a:cubicBezTo>
                        <a:cubicBezTo>
                          <a:pt x="2350513" y="856432"/>
                          <a:pt x="2423441" y="972369"/>
                          <a:pt x="2451490" y="1049036"/>
                        </a:cubicBezTo>
                        <a:cubicBezTo>
                          <a:pt x="2479539" y="1125704"/>
                          <a:pt x="2488888" y="1200501"/>
                          <a:pt x="2485148" y="1267819"/>
                        </a:cubicBezTo>
                        <a:cubicBezTo>
                          <a:pt x="2481408" y="1335137"/>
                          <a:pt x="2465514" y="1385625"/>
                          <a:pt x="2429050" y="1452943"/>
                        </a:cubicBezTo>
                        <a:cubicBezTo>
                          <a:pt x="2392586" y="1520261"/>
                          <a:pt x="2297220" y="1620302"/>
                          <a:pt x="2266366" y="1671725"/>
                        </a:cubicBezTo>
                        <a:cubicBezTo>
                          <a:pt x="2235512" y="1723148"/>
                          <a:pt x="2275715" y="1723148"/>
                          <a:pt x="2243926" y="1761482"/>
                        </a:cubicBezTo>
                        <a:cubicBezTo>
                          <a:pt x="2212137" y="1799816"/>
                          <a:pt x="2113966" y="1861523"/>
                          <a:pt x="2075632" y="1901727"/>
                        </a:cubicBezTo>
                        <a:cubicBezTo>
                          <a:pt x="2037298" y="1941931"/>
                          <a:pt x="1980265" y="1984939"/>
                          <a:pt x="1952216" y="2047582"/>
                        </a:cubicBezTo>
                        <a:cubicBezTo>
                          <a:pt x="1924167" y="2110225"/>
                          <a:pt x="1906403" y="2218681"/>
                          <a:pt x="1890508" y="2283194"/>
                        </a:cubicBezTo>
                        <a:cubicBezTo>
                          <a:pt x="1874614" y="2347707"/>
                          <a:pt x="1773637" y="2381366"/>
                          <a:pt x="1744653" y="2468318"/>
                        </a:cubicBezTo>
                        <a:cubicBezTo>
                          <a:pt x="1715669" y="2555270"/>
                          <a:pt x="1688555" y="2722630"/>
                          <a:pt x="1677335" y="2821737"/>
                        </a:cubicBezTo>
                        <a:cubicBezTo>
                          <a:pt x="1666115" y="2920844"/>
                          <a:pt x="1649286" y="3006861"/>
                          <a:pt x="1649286" y="3079788"/>
                        </a:cubicBezTo>
                        <a:cubicBezTo>
                          <a:pt x="1649286" y="3152715"/>
                          <a:pt x="1702579" y="3215359"/>
                          <a:pt x="1710994" y="3264912"/>
                        </a:cubicBezTo>
                        <a:cubicBezTo>
                          <a:pt x="1719409" y="3314466"/>
                          <a:pt x="1696035" y="3357475"/>
                          <a:pt x="1699775" y="3377109"/>
                        </a:cubicBezTo>
                      </a:path>
                    </a:pathLst>
                  </a:custGeom>
                  <a:noFill/>
                  <a:ln w="38100">
                    <a:solidFill>
                      <a:srgbClr val="CE537B"/>
                    </a:solidFill>
                    <a:headEnd type="oval" w="med" len="med"/>
                    <a:tailEnd type="oval" w="med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  <p:sp>
                <p:nvSpPr>
                  <p:cNvPr id="35" name="Полилиния 34">
                    <a:extLst>
                      <a:ext uri="{FF2B5EF4-FFF2-40B4-BE49-F238E27FC236}">
                        <a16:creationId xmlns:a16="http://schemas.microsoft.com/office/drawing/2014/main" id="{AD07DD85-6E90-7F48-808F-4601A4A58013}"/>
                      </a:ext>
                    </a:extLst>
                  </p:cNvPr>
                  <p:cNvSpPr/>
                  <p:nvPr/>
                </p:nvSpPr>
                <p:spPr>
                  <a:xfrm>
                    <a:off x="1242124" y="1326784"/>
                    <a:ext cx="4542595" cy="3853723"/>
                  </a:xfrm>
                  <a:custGeom>
                    <a:avLst/>
                    <a:gdLst>
                      <a:gd name="connsiteX0" fmla="*/ 0 w 4543951"/>
                      <a:gd name="connsiteY0" fmla="*/ 0 h 3225644"/>
                      <a:gd name="connsiteX1" fmla="*/ 785374 w 4543951"/>
                      <a:gd name="connsiteY1" fmla="*/ 325369 h 3225644"/>
                      <a:gd name="connsiteX2" fmla="*/ 1239769 w 4543951"/>
                      <a:gd name="connsiteY2" fmla="*/ 678787 h 3225644"/>
                      <a:gd name="connsiteX3" fmla="*/ 1671725 w 4543951"/>
                      <a:gd name="connsiteY3" fmla="*/ 1020986 h 3225644"/>
                      <a:gd name="connsiteX4" fmla="*/ 2081242 w 4543951"/>
                      <a:gd name="connsiteY4" fmla="*/ 1469771 h 3225644"/>
                      <a:gd name="connsiteX5" fmla="*/ 2356123 w 4543951"/>
                      <a:gd name="connsiteY5" fmla="*/ 1632456 h 3225644"/>
                      <a:gd name="connsiteX6" fmla="*/ 2496368 w 4543951"/>
                      <a:gd name="connsiteY6" fmla="*/ 1727823 h 3225644"/>
                      <a:gd name="connsiteX7" fmla="*/ 2580515 w 4543951"/>
                      <a:gd name="connsiteY7" fmla="*/ 1901727 h 3225644"/>
                      <a:gd name="connsiteX8" fmla="*/ 2743200 w 4543951"/>
                      <a:gd name="connsiteY8" fmla="*/ 2058802 h 3225644"/>
                      <a:gd name="connsiteX9" fmla="*/ 3113448 w 4543951"/>
                      <a:gd name="connsiteY9" fmla="*/ 2294414 h 3225644"/>
                      <a:gd name="connsiteX10" fmla="*/ 3421988 w 4543951"/>
                      <a:gd name="connsiteY10" fmla="*/ 2574905 h 3225644"/>
                      <a:gd name="connsiteX11" fmla="*/ 3522964 w 4543951"/>
                      <a:gd name="connsiteY11" fmla="*/ 2670272 h 3225644"/>
                      <a:gd name="connsiteX12" fmla="*/ 3696869 w 4543951"/>
                      <a:gd name="connsiteY12" fmla="*/ 2748810 h 3225644"/>
                      <a:gd name="connsiteX13" fmla="*/ 3837114 w 4543951"/>
                      <a:gd name="connsiteY13" fmla="*/ 2788078 h 3225644"/>
                      <a:gd name="connsiteX14" fmla="*/ 4190532 w 4543951"/>
                      <a:gd name="connsiteY14" fmla="*/ 2984422 h 3225644"/>
                      <a:gd name="connsiteX15" fmla="*/ 4543951 w 4543951"/>
                      <a:gd name="connsiteY15" fmla="*/ 3225644 h 3225644"/>
                      <a:gd name="connsiteX0" fmla="*/ 0 w 4897369"/>
                      <a:gd name="connsiteY0" fmla="*/ 0 h 3489306"/>
                      <a:gd name="connsiteX1" fmla="*/ 785374 w 4897369"/>
                      <a:gd name="connsiteY1" fmla="*/ 325369 h 3489306"/>
                      <a:gd name="connsiteX2" fmla="*/ 1239769 w 4897369"/>
                      <a:gd name="connsiteY2" fmla="*/ 678787 h 3489306"/>
                      <a:gd name="connsiteX3" fmla="*/ 1671725 w 4897369"/>
                      <a:gd name="connsiteY3" fmla="*/ 1020986 h 3489306"/>
                      <a:gd name="connsiteX4" fmla="*/ 2081242 w 4897369"/>
                      <a:gd name="connsiteY4" fmla="*/ 1469771 h 3489306"/>
                      <a:gd name="connsiteX5" fmla="*/ 2356123 w 4897369"/>
                      <a:gd name="connsiteY5" fmla="*/ 1632456 h 3489306"/>
                      <a:gd name="connsiteX6" fmla="*/ 2496368 w 4897369"/>
                      <a:gd name="connsiteY6" fmla="*/ 1727823 h 3489306"/>
                      <a:gd name="connsiteX7" fmla="*/ 2580515 w 4897369"/>
                      <a:gd name="connsiteY7" fmla="*/ 1901727 h 3489306"/>
                      <a:gd name="connsiteX8" fmla="*/ 2743200 w 4897369"/>
                      <a:gd name="connsiteY8" fmla="*/ 2058802 h 3489306"/>
                      <a:gd name="connsiteX9" fmla="*/ 3113448 w 4897369"/>
                      <a:gd name="connsiteY9" fmla="*/ 2294414 h 3489306"/>
                      <a:gd name="connsiteX10" fmla="*/ 3421988 w 4897369"/>
                      <a:gd name="connsiteY10" fmla="*/ 2574905 h 3489306"/>
                      <a:gd name="connsiteX11" fmla="*/ 3522964 w 4897369"/>
                      <a:gd name="connsiteY11" fmla="*/ 2670272 h 3489306"/>
                      <a:gd name="connsiteX12" fmla="*/ 3696869 w 4897369"/>
                      <a:gd name="connsiteY12" fmla="*/ 2748810 h 3489306"/>
                      <a:gd name="connsiteX13" fmla="*/ 3837114 w 4897369"/>
                      <a:gd name="connsiteY13" fmla="*/ 2788078 h 3489306"/>
                      <a:gd name="connsiteX14" fmla="*/ 4190532 w 4897369"/>
                      <a:gd name="connsiteY14" fmla="*/ 2984422 h 3489306"/>
                      <a:gd name="connsiteX15" fmla="*/ 4897369 w 4897369"/>
                      <a:gd name="connsiteY15" fmla="*/ 3489306 h 3489306"/>
                      <a:gd name="connsiteX0" fmla="*/ 0 w 4897369"/>
                      <a:gd name="connsiteY0" fmla="*/ 0 h 3489306"/>
                      <a:gd name="connsiteX1" fmla="*/ 785374 w 4897369"/>
                      <a:gd name="connsiteY1" fmla="*/ 325369 h 3489306"/>
                      <a:gd name="connsiteX2" fmla="*/ 1239769 w 4897369"/>
                      <a:gd name="connsiteY2" fmla="*/ 678787 h 3489306"/>
                      <a:gd name="connsiteX3" fmla="*/ 1671725 w 4897369"/>
                      <a:gd name="connsiteY3" fmla="*/ 1020986 h 3489306"/>
                      <a:gd name="connsiteX4" fmla="*/ 2081242 w 4897369"/>
                      <a:gd name="connsiteY4" fmla="*/ 1469771 h 3489306"/>
                      <a:gd name="connsiteX5" fmla="*/ 2356123 w 4897369"/>
                      <a:gd name="connsiteY5" fmla="*/ 1632456 h 3489306"/>
                      <a:gd name="connsiteX6" fmla="*/ 2496368 w 4897369"/>
                      <a:gd name="connsiteY6" fmla="*/ 1727823 h 3489306"/>
                      <a:gd name="connsiteX7" fmla="*/ 2524417 w 4897369"/>
                      <a:gd name="connsiteY7" fmla="*/ 1907337 h 3489306"/>
                      <a:gd name="connsiteX8" fmla="*/ 2743200 w 4897369"/>
                      <a:gd name="connsiteY8" fmla="*/ 2058802 h 3489306"/>
                      <a:gd name="connsiteX9" fmla="*/ 3113448 w 4897369"/>
                      <a:gd name="connsiteY9" fmla="*/ 2294414 h 3489306"/>
                      <a:gd name="connsiteX10" fmla="*/ 3421988 w 4897369"/>
                      <a:gd name="connsiteY10" fmla="*/ 2574905 h 3489306"/>
                      <a:gd name="connsiteX11" fmla="*/ 3522964 w 4897369"/>
                      <a:gd name="connsiteY11" fmla="*/ 2670272 h 3489306"/>
                      <a:gd name="connsiteX12" fmla="*/ 3696869 w 4897369"/>
                      <a:gd name="connsiteY12" fmla="*/ 2748810 h 3489306"/>
                      <a:gd name="connsiteX13" fmla="*/ 3837114 w 4897369"/>
                      <a:gd name="connsiteY13" fmla="*/ 2788078 h 3489306"/>
                      <a:gd name="connsiteX14" fmla="*/ 4190532 w 4897369"/>
                      <a:gd name="connsiteY14" fmla="*/ 2984422 h 3489306"/>
                      <a:gd name="connsiteX15" fmla="*/ 4897369 w 4897369"/>
                      <a:gd name="connsiteY15" fmla="*/ 3489306 h 3489306"/>
                      <a:gd name="connsiteX0" fmla="*/ 0 w 4897369"/>
                      <a:gd name="connsiteY0" fmla="*/ 0 h 3489306"/>
                      <a:gd name="connsiteX1" fmla="*/ 785374 w 4897369"/>
                      <a:gd name="connsiteY1" fmla="*/ 325369 h 3489306"/>
                      <a:gd name="connsiteX2" fmla="*/ 1239769 w 4897369"/>
                      <a:gd name="connsiteY2" fmla="*/ 678787 h 3489306"/>
                      <a:gd name="connsiteX3" fmla="*/ 1671725 w 4897369"/>
                      <a:gd name="connsiteY3" fmla="*/ 1020986 h 3489306"/>
                      <a:gd name="connsiteX4" fmla="*/ 2081242 w 4897369"/>
                      <a:gd name="connsiteY4" fmla="*/ 1469771 h 3489306"/>
                      <a:gd name="connsiteX5" fmla="*/ 2356123 w 4897369"/>
                      <a:gd name="connsiteY5" fmla="*/ 1632456 h 3489306"/>
                      <a:gd name="connsiteX6" fmla="*/ 2445880 w 4897369"/>
                      <a:gd name="connsiteY6" fmla="*/ 1649286 h 3489306"/>
                      <a:gd name="connsiteX7" fmla="*/ 2496368 w 4897369"/>
                      <a:gd name="connsiteY7" fmla="*/ 1727823 h 3489306"/>
                      <a:gd name="connsiteX8" fmla="*/ 2524417 w 4897369"/>
                      <a:gd name="connsiteY8" fmla="*/ 1907337 h 3489306"/>
                      <a:gd name="connsiteX9" fmla="*/ 2743200 w 4897369"/>
                      <a:gd name="connsiteY9" fmla="*/ 2058802 h 3489306"/>
                      <a:gd name="connsiteX10" fmla="*/ 3113448 w 4897369"/>
                      <a:gd name="connsiteY10" fmla="*/ 2294414 h 3489306"/>
                      <a:gd name="connsiteX11" fmla="*/ 3421988 w 4897369"/>
                      <a:gd name="connsiteY11" fmla="*/ 2574905 h 3489306"/>
                      <a:gd name="connsiteX12" fmla="*/ 3522964 w 4897369"/>
                      <a:gd name="connsiteY12" fmla="*/ 2670272 h 3489306"/>
                      <a:gd name="connsiteX13" fmla="*/ 3696869 w 4897369"/>
                      <a:gd name="connsiteY13" fmla="*/ 2748810 h 3489306"/>
                      <a:gd name="connsiteX14" fmla="*/ 3837114 w 4897369"/>
                      <a:gd name="connsiteY14" fmla="*/ 2788078 h 3489306"/>
                      <a:gd name="connsiteX15" fmla="*/ 4190532 w 4897369"/>
                      <a:gd name="connsiteY15" fmla="*/ 2984422 h 3489306"/>
                      <a:gd name="connsiteX16" fmla="*/ 4897369 w 4897369"/>
                      <a:gd name="connsiteY16" fmla="*/ 3489306 h 3489306"/>
                      <a:gd name="connsiteX0" fmla="*/ 0 w 4897369"/>
                      <a:gd name="connsiteY0" fmla="*/ 0 h 3489306"/>
                      <a:gd name="connsiteX1" fmla="*/ 785374 w 4897369"/>
                      <a:gd name="connsiteY1" fmla="*/ 325369 h 3489306"/>
                      <a:gd name="connsiteX2" fmla="*/ 1239769 w 4897369"/>
                      <a:gd name="connsiteY2" fmla="*/ 678787 h 3489306"/>
                      <a:gd name="connsiteX3" fmla="*/ 1671725 w 4897369"/>
                      <a:gd name="connsiteY3" fmla="*/ 1020986 h 3489306"/>
                      <a:gd name="connsiteX4" fmla="*/ 2081242 w 4897369"/>
                      <a:gd name="connsiteY4" fmla="*/ 1469771 h 3489306"/>
                      <a:gd name="connsiteX5" fmla="*/ 2210267 w 4897369"/>
                      <a:gd name="connsiteY5" fmla="*/ 1694164 h 3489306"/>
                      <a:gd name="connsiteX6" fmla="*/ 2356123 w 4897369"/>
                      <a:gd name="connsiteY6" fmla="*/ 1632456 h 3489306"/>
                      <a:gd name="connsiteX7" fmla="*/ 2445880 w 4897369"/>
                      <a:gd name="connsiteY7" fmla="*/ 1649286 h 3489306"/>
                      <a:gd name="connsiteX8" fmla="*/ 2496368 w 4897369"/>
                      <a:gd name="connsiteY8" fmla="*/ 1727823 h 3489306"/>
                      <a:gd name="connsiteX9" fmla="*/ 2524417 w 4897369"/>
                      <a:gd name="connsiteY9" fmla="*/ 1907337 h 3489306"/>
                      <a:gd name="connsiteX10" fmla="*/ 2743200 w 4897369"/>
                      <a:gd name="connsiteY10" fmla="*/ 2058802 h 3489306"/>
                      <a:gd name="connsiteX11" fmla="*/ 3113448 w 4897369"/>
                      <a:gd name="connsiteY11" fmla="*/ 2294414 h 3489306"/>
                      <a:gd name="connsiteX12" fmla="*/ 3421988 w 4897369"/>
                      <a:gd name="connsiteY12" fmla="*/ 2574905 h 3489306"/>
                      <a:gd name="connsiteX13" fmla="*/ 3522964 w 4897369"/>
                      <a:gd name="connsiteY13" fmla="*/ 2670272 h 3489306"/>
                      <a:gd name="connsiteX14" fmla="*/ 3696869 w 4897369"/>
                      <a:gd name="connsiteY14" fmla="*/ 2748810 h 3489306"/>
                      <a:gd name="connsiteX15" fmla="*/ 3837114 w 4897369"/>
                      <a:gd name="connsiteY15" fmla="*/ 2788078 h 3489306"/>
                      <a:gd name="connsiteX16" fmla="*/ 4190532 w 4897369"/>
                      <a:gd name="connsiteY16" fmla="*/ 2984422 h 3489306"/>
                      <a:gd name="connsiteX17" fmla="*/ 4897369 w 4897369"/>
                      <a:gd name="connsiteY17" fmla="*/ 3489306 h 3489306"/>
                      <a:gd name="connsiteX0" fmla="*/ 0 w 4897369"/>
                      <a:gd name="connsiteY0" fmla="*/ 0 h 3489306"/>
                      <a:gd name="connsiteX1" fmla="*/ 785374 w 4897369"/>
                      <a:gd name="connsiteY1" fmla="*/ 325369 h 3489306"/>
                      <a:gd name="connsiteX2" fmla="*/ 1239769 w 4897369"/>
                      <a:gd name="connsiteY2" fmla="*/ 678787 h 3489306"/>
                      <a:gd name="connsiteX3" fmla="*/ 1671725 w 4897369"/>
                      <a:gd name="connsiteY3" fmla="*/ 1020986 h 3489306"/>
                      <a:gd name="connsiteX4" fmla="*/ 2081242 w 4897369"/>
                      <a:gd name="connsiteY4" fmla="*/ 1469771 h 3489306"/>
                      <a:gd name="connsiteX5" fmla="*/ 2227096 w 4897369"/>
                      <a:gd name="connsiteY5" fmla="*/ 1598797 h 3489306"/>
                      <a:gd name="connsiteX6" fmla="*/ 2356123 w 4897369"/>
                      <a:gd name="connsiteY6" fmla="*/ 1632456 h 3489306"/>
                      <a:gd name="connsiteX7" fmla="*/ 2445880 w 4897369"/>
                      <a:gd name="connsiteY7" fmla="*/ 1649286 h 3489306"/>
                      <a:gd name="connsiteX8" fmla="*/ 2496368 w 4897369"/>
                      <a:gd name="connsiteY8" fmla="*/ 1727823 h 3489306"/>
                      <a:gd name="connsiteX9" fmla="*/ 2524417 w 4897369"/>
                      <a:gd name="connsiteY9" fmla="*/ 1907337 h 3489306"/>
                      <a:gd name="connsiteX10" fmla="*/ 2743200 w 4897369"/>
                      <a:gd name="connsiteY10" fmla="*/ 2058802 h 3489306"/>
                      <a:gd name="connsiteX11" fmla="*/ 3113448 w 4897369"/>
                      <a:gd name="connsiteY11" fmla="*/ 2294414 h 3489306"/>
                      <a:gd name="connsiteX12" fmla="*/ 3421988 w 4897369"/>
                      <a:gd name="connsiteY12" fmla="*/ 2574905 h 3489306"/>
                      <a:gd name="connsiteX13" fmla="*/ 3522964 w 4897369"/>
                      <a:gd name="connsiteY13" fmla="*/ 2670272 h 3489306"/>
                      <a:gd name="connsiteX14" fmla="*/ 3696869 w 4897369"/>
                      <a:gd name="connsiteY14" fmla="*/ 2748810 h 3489306"/>
                      <a:gd name="connsiteX15" fmla="*/ 3837114 w 4897369"/>
                      <a:gd name="connsiteY15" fmla="*/ 2788078 h 3489306"/>
                      <a:gd name="connsiteX16" fmla="*/ 4190532 w 4897369"/>
                      <a:gd name="connsiteY16" fmla="*/ 2984422 h 3489306"/>
                      <a:gd name="connsiteX17" fmla="*/ 4897369 w 4897369"/>
                      <a:gd name="connsiteY17" fmla="*/ 3489306 h 3489306"/>
                      <a:gd name="connsiteX0" fmla="*/ 0 w 4897369"/>
                      <a:gd name="connsiteY0" fmla="*/ 0 h 3489306"/>
                      <a:gd name="connsiteX1" fmla="*/ 785374 w 4897369"/>
                      <a:gd name="connsiteY1" fmla="*/ 325369 h 3489306"/>
                      <a:gd name="connsiteX2" fmla="*/ 1239769 w 4897369"/>
                      <a:gd name="connsiteY2" fmla="*/ 678787 h 3489306"/>
                      <a:gd name="connsiteX3" fmla="*/ 1671725 w 4897369"/>
                      <a:gd name="connsiteY3" fmla="*/ 1020986 h 3489306"/>
                      <a:gd name="connsiteX4" fmla="*/ 2081242 w 4897369"/>
                      <a:gd name="connsiteY4" fmla="*/ 1469771 h 3489306"/>
                      <a:gd name="connsiteX5" fmla="*/ 2159779 w 4897369"/>
                      <a:gd name="connsiteY5" fmla="*/ 1520260 h 3489306"/>
                      <a:gd name="connsiteX6" fmla="*/ 2227096 w 4897369"/>
                      <a:gd name="connsiteY6" fmla="*/ 1598797 h 3489306"/>
                      <a:gd name="connsiteX7" fmla="*/ 2356123 w 4897369"/>
                      <a:gd name="connsiteY7" fmla="*/ 1632456 h 3489306"/>
                      <a:gd name="connsiteX8" fmla="*/ 2445880 w 4897369"/>
                      <a:gd name="connsiteY8" fmla="*/ 1649286 h 3489306"/>
                      <a:gd name="connsiteX9" fmla="*/ 2496368 w 4897369"/>
                      <a:gd name="connsiteY9" fmla="*/ 1727823 h 3489306"/>
                      <a:gd name="connsiteX10" fmla="*/ 2524417 w 4897369"/>
                      <a:gd name="connsiteY10" fmla="*/ 1907337 h 3489306"/>
                      <a:gd name="connsiteX11" fmla="*/ 2743200 w 4897369"/>
                      <a:gd name="connsiteY11" fmla="*/ 2058802 h 3489306"/>
                      <a:gd name="connsiteX12" fmla="*/ 3113448 w 4897369"/>
                      <a:gd name="connsiteY12" fmla="*/ 2294414 h 3489306"/>
                      <a:gd name="connsiteX13" fmla="*/ 3421988 w 4897369"/>
                      <a:gd name="connsiteY13" fmla="*/ 2574905 h 3489306"/>
                      <a:gd name="connsiteX14" fmla="*/ 3522964 w 4897369"/>
                      <a:gd name="connsiteY14" fmla="*/ 2670272 h 3489306"/>
                      <a:gd name="connsiteX15" fmla="*/ 3696869 w 4897369"/>
                      <a:gd name="connsiteY15" fmla="*/ 2748810 h 3489306"/>
                      <a:gd name="connsiteX16" fmla="*/ 3837114 w 4897369"/>
                      <a:gd name="connsiteY16" fmla="*/ 2788078 h 3489306"/>
                      <a:gd name="connsiteX17" fmla="*/ 4190532 w 4897369"/>
                      <a:gd name="connsiteY17" fmla="*/ 2984422 h 3489306"/>
                      <a:gd name="connsiteX18" fmla="*/ 4897369 w 4897369"/>
                      <a:gd name="connsiteY18" fmla="*/ 3489306 h 3489306"/>
                      <a:gd name="connsiteX0" fmla="*/ 0 w 4897369"/>
                      <a:gd name="connsiteY0" fmla="*/ 0 h 3489306"/>
                      <a:gd name="connsiteX1" fmla="*/ 785374 w 4897369"/>
                      <a:gd name="connsiteY1" fmla="*/ 325369 h 3489306"/>
                      <a:gd name="connsiteX2" fmla="*/ 1239769 w 4897369"/>
                      <a:gd name="connsiteY2" fmla="*/ 678787 h 3489306"/>
                      <a:gd name="connsiteX3" fmla="*/ 1671725 w 4897369"/>
                      <a:gd name="connsiteY3" fmla="*/ 1020986 h 3489306"/>
                      <a:gd name="connsiteX4" fmla="*/ 2081242 w 4897369"/>
                      <a:gd name="connsiteY4" fmla="*/ 1469771 h 3489306"/>
                      <a:gd name="connsiteX5" fmla="*/ 2227096 w 4897369"/>
                      <a:gd name="connsiteY5" fmla="*/ 1598797 h 3489306"/>
                      <a:gd name="connsiteX6" fmla="*/ 2356123 w 4897369"/>
                      <a:gd name="connsiteY6" fmla="*/ 1632456 h 3489306"/>
                      <a:gd name="connsiteX7" fmla="*/ 2445880 w 4897369"/>
                      <a:gd name="connsiteY7" fmla="*/ 1649286 h 3489306"/>
                      <a:gd name="connsiteX8" fmla="*/ 2496368 w 4897369"/>
                      <a:gd name="connsiteY8" fmla="*/ 1727823 h 3489306"/>
                      <a:gd name="connsiteX9" fmla="*/ 2524417 w 4897369"/>
                      <a:gd name="connsiteY9" fmla="*/ 1907337 h 3489306"/>
                      <a:gd name="connsiteX10" fmla="*/ 2743200 w 4897369"/>
                      <a:gd name="connsiteY10" fmla="*/ 2058802 h 3489306"/>
                      <a:gd name="connsiteX11" fmla="*/ 3113448 w 4897369"/>
                      <a:gd name="connsiteY11" fmla="*/ 2294414 h 3489306"/>
                      <a:gd name="connsiteX12" fmla="*/ 3421988 w 4897369"/>
                      <a:gd name="connsiteY12" fmla="*/ 2574905 h 3489306"/>
                      <a:gd name="connsiteX13" fmla="*/ 3522964 w 4897369"/>
                      <a:gd name="connsiteY13" fmla="*/ 2670272 h 3489306"/>
                      <a:gd name="connsiteX14" fmla="*/ 3696869 w 4897369"/>
                      <a:gd name="connsiteY14" fmla="*/ 2748810 h 3489306"/>
                      <a:gd name="connsiteX15" fmla="*/ 3837114 w 4897369"/>
                      <a:gd name="connsiteY15" fmla="*/ 2788078 h 3489306"/>
                      <a:gd name="connsiteX16" fmla="*/ 4190532 w 4897369"/>
                      <a:gd name="connsiteY16" fmla="*/ 2984422 h 3489306"/>
                      <a:gd name="connsiteX17" fmla="*/ 4897369 w 4897369"/>
                      <a:gd name="connsiteY17" fmla="*/ 3489306 h 3489306"/>
                      <a:gd name="connsiteX0" fmla="*/ 0 w 4827626"/>
                      <a:gd name="connsiteY0" fmla="*/ 0 h 3528052"/>
                      <a:gd name="connsiteX1" fmla="*/ 715631 w 4827626"/>
                      <a:gd name="connsiteY1" fmla="*/ 364115 h 3528052"/>
                      <a:gd name="connsiteX2" fmla="*/ 1170026 w 4827626"/>
                      <a:gd name="connsiteY2" fmla="*/ 717533 h 3528052"/>
                      <a:gd name="connsiteX3" fmla="*/ 1601982 w 4827626"/>
                      <a:gd name="connsiteY3" fmla="*/ 1059732 h 3528052"/>
                      <a:gd name="connsiteX4" fmla="*/ 2011499 w 4827626"/>
                      <a:gd name="connsiteY4" fmla="*/ 1508517 h 3528052"/>
                      <a:gd name="connsiteX5" fmla="*/ 2157353 w 4827626"/>
                      <a:gd name="connsiteY5" fmla="*/ 1637543 h 3528052"/>
                      <a:gd name="connsiteX6" fmla="*/ 2286380 w 4827626"/>
                      <a:gd name="connsiteY6" fmla="*/ 1671202 h 3528052"/>
                      <a:gd name="connsiteX7" fmla="*/ 2376137 w 4827626"/>
                      <a:gd name="connsiteY7" fmla="*/ 1688032 h 3528052"/>
                      <a:gd name="connsiteX8" fmla="*/ 2426625 w 4827626"/>
                      <a:gd name="connsiteY8" fmla="*/ 1766569 h 3528052"/>
                      <a:gd name="connsiteX9" fmla="*/ 2454674 w 4827626"/>
                      <a:gd name="connsiteY9" fmla="*/ 1946083 h 3528052"/>
                      <a:gd name="connsiteX10" fmla="*/ 2673457 w 4827626"/>
                      <a:gd name="connsiteY10" fmla="*/ 2097548 h 3528052"/>
                      <a:gd name="connsiteX11" fmla="*/ 3043705 w 4827626"/>
                      <a:gd name="connsiteY11" fmla="*/ 2333160 h 3528052"/>
                      <a:gd name="connsiteX12" fmla="*/ 3352245 w 4827626"/>
                      <a:gd name="connsiteY12" fmla="*/ 2613651 h 3528052"/>
                      <a:gd name="connsiteX13" fmla="*/ 3453221 w 4827626"/>
                      <a:gd name="connsiteY13" fmla="*/ 2709018 h 3528052"/>
                      <a:gd name="connsiteX14" fmla="*/ 3627126 w 4827626"/>
                      <a:gd name="connsiteY14" fmla="*/ 2787556 h 3528052"/>
                      <a:gd name="connsiteX15" fmla="*/ 3767371 w 4827626"/>
                      <a:gd name="connsiteY15" fmla="*/ 2826824 h 3528052"/>
                      <a:gd name="connsiteX16" fmla="*/ 4120789 w 4827626"/>
                      <a:gd name="connsiteY16" fmla="*/ 3023168 h 3528052"/>
                      <a:gd name="connsiteX17" fmla="*/ 4827626 w 4827626"/>
                      <a:gd name="connsiteY17" fmla="*/ 3528052 h 3528052"/>
                      <a:gd name="connsiteX0" fmla="*/ 0 w 4827626"/>
                      <a:gd name="connsiteY0" fmla="*/ 0 h 3528052"/>
                      <a:gd name="connsiteX1" fmla="*/ 715631 w 4827626"/>
                      <a:gd name="connsiteY1" fmla="*/ 364115 h 3528052"/>
                      <a:gd name="connsiteX2" fmla="*/ 1170026 w 4827626"/>
                      <a:gd name="connsiteY2" fmla="*/ 717533 h 3528052"/>
                      <a:gd name="connsiteX3" fmla="*/ 1601982 w 4827626"/>
                      <a:gd name="connsiteY3" fmla="*/ 1059732 h 3528052"/>
                      <a:gd name="connsiteX4" fmla="*/ 2011499 w 4827626"/>
                      <a:gd name="connsiteY4" fmla="*/ 1508517 h 3528052"/>
                      <a:gd name="connsiteX5" fmla="*/ 2157353 w 4827626"/>
                      <a:gd name="connsiteY5" fmla="*/ 1637543 h 3528052"/>
                      <a:gd name="connsiteX6" fmla="*/ 2286380 w 4827626"/>
                      <a:gd name="connsiteY6" fmla="*/ 1671202 h 3528052"/>
                      <a:gd name="connsiteX7" fmla="*/ 2376137 w 4827626"/>
                      <a:gd name="connsiteY7" fmla="*/ 1688032 h 3528052"/>
                      <a:gd name="connsiteX8" fmla="*/ 2426625 w 4827626"/>
                      <a:gd name="connsiteY8" fmla="*/ 1766569 h 3528052"/>
                      <a:gd name="connsiteX9" fmla="*/ 2454674 w 4827626"/>
                      <a:gd name="connsiteY9" fmla="*/ 1946083 h 3528052"/>
                      <a:gd name="connsiteX10" fmla="*/ 2673457 w 4827626"/>
                      <a:gd name="connsiteY10" fmla="*/ 2097548 h 3528052"/>
                      <a:gd name="connsiteX11" fmla="*/ 3043705 w 4827626"/>
                      <a:gd name="connsiteY11" fmla="*/ 2333160 h 3528052"/>
                      <a:gd name="connsiteX12" fmla="*/ 3352245 w 4827626"/>
                      <a:gd name="connsiteY12" fmla="*/ 2613651 h 3528052"/>
                      <a:gd name="connsiteX13" fmla="*/ 3453221 w 4827626"/>
                      <a:gd name="connsiteY13" fmla="*/ 2709018 h 3528052"/>
                      <a:gd name="connsiteX14" fmla="*/ 3627126 w 4827626"/>
                      <a:gd name="connsiteY14" fmla="*/ 2787556 h 3528052"/>
                      <a:gd name="connsiteX15" fmla="*/ 3767371 w 4827626"/>
                      <a:gd name="connsiteY15" fmla="*/ 2826824 h 3528052"/>
                      <a:gd name="connsiteX16" fmla="*/ 4120789 w 4827626"/>
                      <a:gd name="connsiteY16" fmla="*/ 3023168 h 3528052"/>
                      <a:gd name="connsiteX17" fmla="*/ 4827626 w 4827626"/>
                      <a:gd name="connsiteY17" fmla="*/ 3528052 h 3528052"/>
                      <a:gd name="connsiteX0" fmla="*/ 0 w 4819877"/>
                      <a:gd name="connsiteY0" fmla="*/ 0 h 3543550"/>
                      <a:gd name="connsiteX1" fmla="*/ 707882 w 4819877"/>
                      <a:gd name="connsiteY1" fmla="*/ 379613 h 3543550"/>
                      <a:gd name="connsiteX2" fmla="*/ 1162277 w 4819877"/>
                      <a:gd name="connsiteY2" fmla="*/ 733031 h 3543550"/>
                      <a:gd name="connsiteX3" fmla="*/ 1594233 w 4819877"/>
                      <a:gd name="connsiteY3" fmla="*/ 1075230 h 3543550"/>
                      <a:gd name="connsiteX4" fmla="*/ 2003750 w 4819877"/>
                      <a:gd name="connsiteY4" fmla="*/ 1524015 h 3543550"/>
                      <a:gd name="connsiteX5" fmla="*/ 2149604 w 4819877"/>
                      <a:gd name="connsiteY5" fmla="*/ 1653041 h 3543550"/>
                      <a:gd name="connsiteX6" fmla="*/ 2278631 w 4819877"/>
                      <a:gd name="connsiteY6" fmla="*/ 1686700 h 3543550"/>
                      <a:gd name="connsiteX7" fmla="*/ 2368388 w 4819877"/>
                      <a:gd name="connsiteY7" fmla="*/ 1703530 h 3543550"/>
                      <a:gd name="connsiteX8" fmla="*/ 2418876 w 4819877"/>
                      <a:gd name="connsiteY8" fmla="*/ 1782067 h 3543550"/>
                      <a:gd name="connsiteX9" fmla="*/ 2446925 w 4819877"/>
                      <a:gd name="connsiteY9" fmla="*/ 1961581 h 3543550"/>
                      <a:gd name="connsiteX10" fmla="*/ 2665708 w 4819877"/>
                      <a:gd name="connsiteY10" fmla="*/ 2113046 h 3543550"/>
                      <a:gd name="connsiteX11" fmla="*/ 3035956 w 4819877"/>
                      <a:gd name="connsiteY11" fmla="*/ 2348658 h 3543550"/>
                      <a:gd name="connsiteX12" fmla="*/ 3344496 w 4819877"/>
                      <a:gd name="connsiteY12" fmla="*/ 2629149 h 3543550"/>
                      <a:gd name="connsiteX13" fmla="*/ 3445472 w 4819877"/>
                      <a:gd name="connsiteY13" fmla="*/ 2724516 h 3543550"/>
                      <a:gd name="connsiteX14" fmla="*/ 3619377 w 4819877"/>
                      <a:gd name="connsiteY14" fmla="*/ 2803054 h 3543550"/>
                      <a:gd name="connsiteX15" fmla="*/ 3759622 w 4819877"/>
                      <a:gd name="connsiteY15" fmla="*/ 2842322 h 3543550"/>
                      <a:gd name="connsiteX16" fmla="*/ 4113040 w 4819877"/>
                      <a:gd name="connsiteY16" fmla="*/ 3038666 h 3543550"/>
                      <a:gd name="connsiteX17" fmla="*/ 4819877 w 4819877"/>
                      <a:gd name="connsiteY17" fmla="*/ 3543550 h 3543550"/>
                      <a:gd name="connsiteX0" fmla="*/ 8653 w 4828530"/>
                      <a:gd name="connsiteY0" fmla="*/ 0 h 3543550"/>
                      <a:gd name="connsiteX1" fmla="*/ 67269 w 4828530"/>
                      <a:gd name="connsiteY1" fmla="*/ 81057 h 3543550"/>
                      <a:gd name="connsiteX2" fmla="*/ 716535 w 4828530"/>
                      <a:gd name="connsiteY2" fmla="*/ 379613 h 3543550"/>
                      <a:gd name="connsiteX3" fmla="*/ 1170930 w 4828530"/>
                      <a:gd name="connsiteY3" fmla="*/ 733031 h 3543550"/>
                      <a:gd name="connsiteX4" fmla="*/ 1602886 w 4828530"/>
                      <a:gd name="connsiteY4" fmla="*/ 1075230 h 3543550"/>
                      <a:gd name="connsiteX5" fmla="*/ 2012403 w 4828530"/>
                      <a:gd name="connsiteY5" fmla="*/ 1524015 h 3543550"/>
                      <a:gd name="connsiteX6" fmla="*/ 2158257 w 4828530"/>
                      <a:gd name="connsiteY6" fmla="*/ 1653041 h 3543550"/>
                      <a:gd name="connsiteX7" fmla="*/ 2287284 w 4828530"/>
                      <a:gd name="connsiteY7" fmla="*/ 1686700 h 3543550"/>
                      <a:gd name="connsiteX8" fmla="*/ 2377041 w 4828530"/>
                      <a:gd name="connsiteY8" fmla="*/ 1703530 h 3543550"/>
                      <a:gd name="connsiteX9" fmla="*/ 2427529 w 4828530"/>
                      <a:gd name="connsiteY9" fmla="*/ 1782067 h 3543550"/>
                      <a:gd name="connsiteX10" fmla="*/ 2455578 w 4828530"/>
                      <a:gd name="connsiteY10" fmla="*/ 1961581 h 3543550"/>
                      <a:gd name="connsiteX11" fmla="*/ 2674361 w 4828530"/>
                      <a:gd name="connsiteY11" fmla="*/ 2113046 h 3543550"/>
                      <a:gd name="connsiteX12" fmla="*/ 3044609 w 4828530"/>
                      <a:gd name="connsiteY12" fmla="*/ 2348658 h 3543550"/>
                      <a:gd name="connsiteX13" fmla="*/ 3353149 w 4828530"/>
                      <a:gd name="connsiteY13" fmla="*/ 2629149 h 3543550"/>
                      <a:gd name="connsiteX14" fmla="*/ 3454125 w 4828530"/>
                      <a:gd name="connsiteY14" fmla="*/ 2724516 h 3543550"/>
                      <a:gd name="connsiteX15" fmla="*/ 3628030 w 4828530"/>
                      <a:gd name="connsiteY15" fmla="*/ 2803054 h 3543550"/>
                      <a:gd name="connsiteX16" fmla="*/ 3768275 w 4828530"/>
                      <a:gd name="connsiteY16" fmla="*/ 2842322 h 3543550"/>
                      <a:gd name="connsiteX17" fmla="*/ 4121693 w 4828530"/>
                      <a:gd name="connsiteY17" fmla="*/ 3038666 h 3543550"/>
                      <a:gd name="connsiteX18" fmla="*/ 4828530 w 4828530"/>
                      <a:gd name="connsiteY18" fmla="*/ 3543550 h 3543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4828530" h="3543550">
                        <a:moveTo>
                          <a:pt x="8653" y="0"/>
                        </a:moveTo>
                        <a:cubicBezTo>
                          <a:pt x="26171" y="10926"/>
                          <a:pt x="-50711" y="17788"/>
                          <a:pt x="67269" y="81057"/>
                        </a:cubicBezTo>
                        <a:cubicBezTo>
                          <a:pt x="185249" y="144326"/>
                          <a:pt x="532592" y="270951"/>
                          <a:pt x="716535" y="379613"/>
                        </a:cubicBezTo>
                        <a:cubicBezTo>
                          <a:pt x="900478" y="488275"/>
                          <a:pt x="1170930" y="733031"/>
                          <a:pt x="1170930" y="733031"/>
                        </a:cubicBezTo>
                        <a:cubicBezTo>
                          <a:pt x="1318655" y="848967"/>
                          <a:pt x="1462641" y="943399"/>
                          <a:pt x="1602886" y="1075230"/>
                        </a:cubicBezTo>
                        <a:cubicBezTo>
                          <a:pt x="1743132" y="1207061"/>
                          <a:pt x="1919841" y="1427713"/>
                          <a:pt x="2012403" y="1524015"/>
                        </a:cubicBezTo>
                        <a:cubicBezTo>
                          <a:pt x="2104965" y="1620317"/>
                          <a:pt x="2112444" y="1625927"/>
                          <a:pt x="2158257" y="1653041"/>
                        </a:cubicBezTo>
                        <a:cubicBezTo>
                          <a:pt x="2204070" y="1680155"/>
                          <a:pt x="2250820" y="1678285"/>
                          <a:pt x="2287284" y="1686700"/>
                        </a:cubicBezTo>
                        <a:cubicBezTo>
                          <a:pt x="2323748" y="1695115"/>
                          <a:pt x="2353667" y="1687636"/>
                          <a:pt x="2377041" y="1703530"/>
                        </a:cubicBezTo>
                        <a:cubicBezTo>
                          <a:pt x="2400415" y="1719424"/>
                          <a:pt x="2414440" y="1739059"/>
                          <a:pt x="2427529" y="1782067"/>
                        </a:cubicBezTo>
                        <a:cubicBezTo>
                          <a:pt x="2440618" y="1825075"/>
                          <a:pt x="2414439" y="1906418"/>
                          <a:pt x="2455578" y="1961581"/>
                        </a:cubicBezTo>
                        <a:cubicBezTo>
                          <a:pt x="2496717" y="2016744"/>
                          <a:pt x="2576189" y="2048533"/>
                          <a:pt x="2674361" y="2113046"/>
                        </a:cubicBezTo>
                        <a:cubicBezTo>
                          <a:pt x="2772533" y="2177559"/>
                          <a:pt x="2931478" y="2262641"/>
                          <a:pt x="3044609" y="2348658"/>
                        </a:cubicBezTo>
                        <a:cubicBezTo>
                          <a:pt x="3157740" y="2434675"/>
                          <a:pt x="3284896" y="2566506"/>
                          <a:pt x="3353149" y="2629149"/>
                        </a:cubicBezTo>
                        <a:cubicBezTo>
                          <a:pt x="3421402" y="2691792"/>
                          <a:pt x="3408312" y="2695532"/>
                          <a:pt x="3454125" y="2724516"/>
                        </a:cubicBezTo>
                        <a:cubicBezTo>
                          <a:pt x="3499939" y="2753500"/>
                          <a:pt x="3575672" y="2783420"/>
                          <a:pt x="3628030" y="2803054"/>
                        </a:cubicBezTo>
                        <a:cubicBezTo>
                          <a:pt x="3680388" y="2822688"/>
                          <a:pt x="3685998" y="2803053"/>
                          <a:pt x="3768275" y="2842322"/>
                        </a:cubicBezTo>
                        <a:cubicBezTo>
                          <a:pt x="3850552" y="2881591"/>
                          <a:pt x="3944984" y="2921795"/>
                          <a:pt x="4121693" y="3038666"/>
                        </a:cubicBezTo>
                        <a:cubicBezTo>
                          <a:pt x="4298402" y="3155537"/>
                          <a:pt x="4710723" y="3459403"/>
                          <a:pt x="4828530" y="3543550"/>
                        </a:cubicBezTo>
                      </a:path>
                    </a:pathLst>
                  </a:custGeom>
                  <a:noFill/>
                  <a:ln w="38100">
                    <a:solidFill>
                      <a:srgbClr val="D06539"/>
                    </a:solidFill>
                    <a:headEnd type="oval" w="med" len="med"/>
                    <a:tailEnd type="oval" w="med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</p:grpSp>
        </p:grpSp>
        <p:sp>
          <p:nvSpPr>
            <p:cNvPr id="112" name="Треугольник 111">
              <a:extLst>
                <a:ext uri="{FF2B5EF4-FFF2-40B4-BE49-F238E27FC236}">
                  <a16:creationId xmlns:a16="http://schemas.microsoft.com/office/drawing/2014/main" id="{54880192-E389-7B4F-AD92-EDCAC22659FB}"/>
                </a:ext>
              </a:extLst>
            </p:cNvPr>
            <p:cNvSpPr/>
            <p:nvPr/>
          </p:nvSpPr>
          <p:spPr>
            <a:xfrm>
              <a:off x="2648192" y="2434388"/>
              <a:ext cx="126742" cy="109261"/>
            </a:xfrm>
            <a:prstGeom prst="triangl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00AC274D-E008-4345-91A2-3ED403389AEC}"/>
                </a:ext>
              </a:extLst>
            </p:cNvPr>
            <p:cNvSpPr txBox="1"/>
            <p:nvPr/>
          </p:nvSpPr>
          <p:spPr>
            <a:xfrm>
              <a:off x="1828070" y="2329757"/>
              <a:ext cx="859530" cy="3281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lnSpc>
                  <a:spcPct val="75000"/>
                </a:lnSpc>
              </a:pPr>
              <a:r>
                <a:rPr lang="ru-RU" sz="1000" b="1" dirty="0" err="1">
                  <a:latin typeface="+mj-lt"/>
                </a:rPr>
                <a:t>Ховрино</a:t>
              </a:r>
              <a:r>
                <a:rPr lang="ru-RU" sz="1000" b="1" dirty="0">
                  <a:latin typeface="+mj-lt"/>
                </a:rPr>
                <a:t> </a:t>
              </a:r>
            </a:p>
            <a:p>
              <a:pPr algn="r">
                <a:lnSpc>
                  <a:spcPct val="75000"/>
                </a:lnSpc>
              </a:pPr>
              <a:r>
                <a:rPr lang="ru-RU" sz="1000" dirty="0">
                  <a:latin typeface="+mj-lt"/>
                </a:rPr>
                <a:t>(146 ваг</a:t>
              </a:r>
              <a:r>
                <a:rPr lang="en-US" sz="1000" dirty="0">
                  <a:latin typeface="+mj-lt"/>
                </a:rPr>
                <a:t>/</a:t>
              </a:r>
              <a:r>
                <a:rPr lang="ru-RU" sz="1000" dirty="0" err="1">
                  <a:latin typeface="+mj-lt"/>
                </a:rPr>
                <a:t>сут</a:t>
              </a:r>
              <a:r>
                <a:rPr lang="ru-RU" sz="1000" dirty="0">
                  <a:latin typeface="+mj-lt"/>
                </a:rPr>
                <a:t>)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725B1533-9A34-B840-ADCB-0F17EC99AF30}"/>
                </a:ext>
              </a:extLst>
            </p:cNvPr>
            <p:cNvSpPr txBox="1"/>
            <p:nvPr/>
          </p:nvSpPr>
          <p:spPr>
            <a:xfrm>
              <a:off x="1166448" y="3374768"/>
              <a:ext cx="859531" cy="3281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lnSpc>
                  <a:spcPct val="75000"/>
                </a:lnSpc>
              </a:pPr>
              <a:r>
                <a:rPr lang="ru-RU" sz="1000" b="1" dirty="0">
                  <a:latin typeface="+mj-lt"/>
                </a:rPr>
                <a:t>Кунцево-2 </a:t>
              </a:r>
            </a:p>
            <a:p>
              <a:pPr algn="r">
                <a:lnSpc>
                  <a:spcPct val="75000"/>
                </a:lnSpc>
              </a:pPr>
              <a:r>
                <a:rPr lang="ru-RU" sz="1000" dirty="0">
                  <a:latin typeface="+mj-lt"/>
                </a:rPr>
                <a:t>(393 ваг</a:t>
              </a:r>
              <a:r>
                <a:rPr lang="en-US" sz="1000" dirty="0">
                  <a:latin typeface="+mj-lt"/>
                </a:rPr>
                <a:t>/</a:t>
              </a:r>
              <a:r>
                <a:rPr lang="ru-RU" sz="1000" dirty="0" err="1">
                  <a:latin typeface="+mj-lt"/>
                </a:rPr>
                <a:t>сут</a:t>
              </a:r>
              <a:r>
                <a:rPr lang="ru-RU" sz="1000" dirty="0">
                  <a:latin typeface="+mj-lt"/>
                </a:rPr>
                <a:t>)</a:t>
              </a:r>
            </a:p>
          </p:txBody>
        </p:sp>
        <p:sp>
          <p:nvSpPr>
            <p:cNvPr id="115" name="Треугольник 114">
              <a:extLst>
                <a:ext uri="{FF2B5EF4-FFF2-40B4-BE49-F238E27FC236}">
                  <a16:creationId xmlns:a16="http://schemas.microsoft.com/office/drawing/2014/main" id="{814A9A43-C770-ED45-B76F-62A00F79FC7C}"/>
                </a:ext>
              </a:extLst>
            </p:cNvPr>
            <p:cNvSpPr/>
            <p:nvPr/>
          </p:nvSpPr>
          <p:spPr>
            <a:xfrm>
              <a:off x="1971523" y="3571129"/>
              <a:ext cx="126742" cy="109261"/>
            </a:xfrm>
            <a:prstGeom prst="triangl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6" name="Треугольник 115">
              <a:extLst>
                <a:ext uri="{FF2B5EF4-FFF2-40B4-BE49-F238E27FC236}">
                  <a16:creationId xmlns:a16="http://schemas.microsoft.com/office/drawing/2014/main" id="{8E47BCA5-45D2-8F40-808F-6359B61117AB}"/>
                </a:ext>
              </a:extLst>
            </p:cNvPr>
            <p:cNvSpPr/>
            <p:nvPr/>
          </p:nvSpPr>
          <p:spPr>
            <a:xfrm>
              <a:off x="3604290" y="1949771"/>
              <a:ext cx="126742" cy="109261"/>
            </a:xfrm>
            <a:prstGeom prst="triangl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C6AD5BD2-84BF-A648-AC85-A7CDB6B82D8D}"/>
                </a:ext>
              </a:extLst>
            </p:cNvPr>
            <p:cNvSpPr txBox="1"/>
            <p:nvPr/>
          </p:nvSpPr>
          <p:spPr>
            <a:xfrm>
              <a:off x="2809962" y="1857196"/>
              <a:ext cx="859531" cy="3281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lnSpc>
                  <a:spcPct val="75000"/>
                </a:lnSpc>
              </a:pPr>
              <a:r>
                <a:rPr lang="ru-RU" sz="1000" b="1" dirty="0">
                  <a:latin typeface="+mj-lt"/>
                </a:rPr>
                <a:t>Мытищи </a:t>
              </a:r>
            </a:p>
            <a:p>
              <a:pPr algn="r">
                <a:lnSpc>
                  <a:spcPct val="75000"/>
                </a:lnSpc>
              </a:pPr>
              <a:r>
                <a:rPr lang="ru-RU" sz="1000" dirty="0">
                  <a:latin typeface="+mj-lt"/>
                </a:rPr>
                <a:t>(180 ваг</a:t>
              </a:r>
              <a:r>
                <a:rPr lang="en-US" sz="1000" dirty="0">
                  <a:latin typeface="+mj-lt"/>
                </a:rPr>
                <a:t>/</a:t>
              </a:r>
              <a:r>
                <a:rPr lang="ru-RU" sz="1000" dirty="0" err="1">
                  <a:latin typeface="+mj-lt"/>
                </a:rPr>
                <a:t>сут</a:t>
              </a:r>
              <a:r>
                <a:rPr lang="ru-RU" sz="1000" dirty="0">
                  <a:latin typeface="+mj-lt"/>
                </a:rPr>
                <a:t>)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70794222-4015-6040-A627-483A6A9A0891}"/>
                </a:ext>
              </a:extLst>
            </p:cNvPr>
            <p:cNvSpPr txBox="1"/>
            <p:nvPr/>
          </p:nvSpPr>
          <p:spPr>
            <a:xfrm>
              <a:off x="4868723" y="3219637"/>
              <a:ext cx="859531" cy="3281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lnSpc>
                  <a:spcPct val="75000"/>
                </a:lnSpc>
              </a:pPr>
              <a:r>
                <a:rPr lang="ru-RU" sz="1000" b="1" dirty="0">
                  <a:latin typeface="+mj-lt"/>
                </a:rPr>
                <a:t>Электроугли</a:t>
              </a:r>
            </a:p>
            <a:p>
              <a:pPr algn="r">
                <a:lnSpc>
                  <a:spcPct val="75000"/>
                </a:lnSpc>
              </a:pPr>
              <a:r>
                <a:rPr lang="ru-RU" sz="1000" dirty="0">
                  <a:latin typeface="+mj-lt"/>
                </a:rPr>
                <a:t>(221 ваг</a:t>
              </a:r>
              <a:r>
                <a:rPr lang="en-US" sz="1000" dirty="0">
                  <a:latin typeface="+mj-lt"/>
                </a:rPr>
                <a:t>/</a:t>
              </a:r>
              <a:r>
                <a:rPr lang="ru-RU" sz="1000" dirty="0" err="1">
                  <a:latin typeface="+mj-lt"/>
                </a:rPr>
                <a:t>сут</a:t>
              </a:r>
              <a:r>
                <a:rPr lang="ru-RU" sz="1000" dirty="0">
                  <a:latin typeface="+mj-lt"/>
                </a:rPr>
                <a:t>)</a:t>
              </a:r>
            </a:p>
          </p:txBody>
        </p:sp>
        <p:sp>
          <p:nvSpPr>
            <p:cNvPr id="119" name="Треугольник 118">
              <a:extLst>
                <a:ext uri="{FF2B5EF4-FFF2-40B4-BE49-F238E27FC236}">
                  <a16:creationId xmlns:a16="http://schemas.microsoft.com/office/drawing/2014/main" id="{D9DB316B-68E9-AA47-AE34-29470AE2EA50}"/>
                </a:ext>
              </a:extLst>
            </p:cNvPr>
            <p:cNvSpPr/>
            <p:nvPr/>
          </p:nvSpPr>
          <p:spPr>
            <a:xfrm>
              <a:off x="5507327" y="3553779"/>
              <a:ext cx="126742" cy="109261"/>
            </a:xfrm>
            <a:prstGeom prst="triangl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0" name="Треугольник 119">
              <a:extLst>
                <a:ext uri="{FF2B5EF4-FFF2-40B4-BE49-F238E27FC236}">
                  <a16:creationId xmlns:a16="http://schemas.microsoft.com/office/drawing/2014/main" id="{0CF41752-44E7-DB4A-B113-AEA128494063}"/>
                </a:ext>
              </a:extLst>
            </p:cNvPr>
            <p:cNvSpPr/>
            <p:nvPr/>
          </p:nvSpPr>
          <p:spPr>
            <a:xfrm>
              <a:off x="4063011" y="4287002"/>
              <a:ext cx="126742" cy="109261"/>
            </a:xfrm>
            <a:prstGeom prst="triangl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B710D895-33B8-D540-9B82-39C87EE0D9C5}"/>
                </a:ext>
              </a:extLst>
            </p:cNvPr>
            <p:cNvSpPr txBox="1"/>
            <p:nvPr/>
          </p:nvSpPr>
          <p:spPr>
            <a:xfrm>
              <a:off x="3450405" y="4374609"/>
              <a:ext cx="859531" cy="3281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lnSpc>
                  <a:spcPct val="75000"/>
                </a:lnSpc>
              </a:pPr>
              <a:r>
                <a:rPr lang="ru-RU" sz="1000" b="1" dirty="0" err="1">
                  <a:latin typeface="+mj-lt"/>
                </a:rPr>
                <a:t>Яничкино</a:t>
              </a:r>
              <a:endParaRPr lang="ru-RU" sz="1000" b="1" dirty="0">
                <a:latin typeface="+mj-lt"/>
              </a:endParaRPr>
            </a:p>
            <a:p>
              <a:pPr algn="r">
                <a:lnSpc>
                  <a:spcPct val="75000"/>
                </a:lnSpc>
              </a:pPr>
              <a:r>
                <a:rPr lang="ru-RU" sz="1000" dirty="0">
                  <a:latin typeface="+mj-lt"/>
                </a:rPr>
                <a:t>(278 ваг</a:t>
              </a:r>
              <a:r>
                <a:rPr lang="en-US" sz="1000" dirty="0">
                  <a:latin typeface="+mj-lt"/>
                </a:rPr>
                <a:t>/</a:t>
              </a:r>
              <a:r>
                <a:rPr lang="ru-RU" sz="1000" dirty="0" err="1">
                  <a:latin typeface="+mj-lt"/>
                </a:rPr>
                <a:t>сут</a:t>
              </a:r>
              <a:r>
                <a:rPr lang="ru-RU" sz="1000" dirty="0">
                  <a:latin typeface="+mj-lt"/>
                </a:rPr>
                <a:t>)</a:t>
              </a:r>
            </a:p>
          </p:txBody>
        </p:sp>
        <p:sp>
          <p:nvSpPr>
            <p:cNvPr id="122" name="Треугольник 121">
              <a:extLst>
                <a:ext uri="{FF2B5EF4-FFF2-40B4-BE49-F238E27FC236}">
                  <a16:creationId xmlns:a16="http://schemas.microsoft.com/office/drawing/2014/main" id="{8AC56A6B-154F-474B-A7A1-A4092BC7ADD5}"/>
                </a:ext>
              </a:extLst>
            </p:cNvPr>
            <p:cNvSpPr/>
            <p:nvPr/>
          </p:nvSpPr>
          <p:spPr>
            <a:xfrm>
              <a:off x="4488297" y="4127037"/>
              <a:ext cx="126742" cy="109261"/>
            </a:xfrm>
            <a:prstGeom prst="triangl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EA11F00B-F9D0-144A-98D3-6B7CE227D296}"/>
                </a:ext>
              </a:extLst>
            </p:cNvPr>
            <p:cNvSpPr txBox="1"/>
            <p:nvPr/>
          </p:nvSpPr>
          <p:spPr>
            <a:xfrm>
              <a:off x="3659794" y="4018165"/>
              <a:ext cx="859531" cy="3281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lnSpc>
                  <a:spcPct val="75000"/>
                </a:lnSpc>
              </a:pPr>
              <a:r>
                <a:rPr lang="ru-RU" sz="1000" b="1" dirty="0">
                  <a:latin typeface="+mj-lt"/>
                </a:rPr>
                <a:t>Люберцы-2</a:t>
              </a:r>
            </a:p>
            <a:p>
              <a:pPr algn="r">
                <a:lnSpc>
                  <a:spcPct val="75000"/>
                </a:lnSpc>
              </a:pPr>
              <a:r>
                <a:rPr lang="ru-RU" sz="1000" dirty="0">
                  <a:latin typeface="+mj-lt"/>
                </a:rPr>
                <a:t>(224 ваг</a:t>
              </a:r>
              <a:r>
                <a:rPr lang="en-US" sz="1000" dirty="0">
                  <a:latin typeface="+mj-lt"/>
                </a:rPr>
                <a:t>/</a:t>
              </a:r>
              <a:r>
                <a:rPr lang="ru-RU" sz="1000" dirty="0" err="1">
                  <a:latin typeface="+mj-lt"/>
                </a:rPr>
                <a:t>сут</a:t>
              </a:r>
              <a:r>
                <a:rPr lang="ru-RU" sz="1000" dirty="0">
                  <a:latin typeface="+mj-lt"/>
                </a:rPr>
                <a:t>)</a:t>
              </a:r>
            </a:p>
          </p:txBody>
        </p:sp>
        <p:sp>
          <p:nvSpPr>
            <p:cNvPr id="124" name="Треугольник 123">
              <a:extLst>
                <a:ext uri="{FF2B5EF4-FFF2-40B4-BE49-F238E27FC236}">
                  <a16:creationId xmlns:a16="http://schemas.microsoft.com/office/drawing/2014/main" id="{EE4F7ACE-8DD3-124A-9AC4-09F271A72E16}"/>
                </a:ext>
              </a:extLst>
            </p:cNvPr>
            <p:cNvSpPr/>
            <p:nvPr/>
          </p:nvSpPr>
          <p:spPr>
            <a:xfrm>
              <a:off x="2762782" y="5961166"/>
              <a:ext cx="126742" cy="109261"/>
            </a:xfrm>
            <a:prstGeom prst="triangl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0DA70329-3D13-E340-9187-6F1F84DDD71A}"/>
                </a:ext>
              </a:extLst>
            </p:cNvPr>
            <p:cNvSpPr txBox="1"/>
            <p:nvPr/>
          </p:nvSpPr>
          <p:spPr>
            <a:xfrm>
              <a:off x="1967947" y="5797082"/>
              <a:ext cx="859531" cy="3281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lnSpc>
                  <a:spcPct val="75000"/>
                </a:lnSpc>
              </a:pPr>
              <a:r>
                <a:rPr lang="ru-RU" sz="1000" b="1" dirty="0">
                  <a:latin typeface="+mj-lt"/>
                </a:rPr>
                <a:t>Силикатная</a:t>
              </a:r>
            </a:p>
            <a:p>
              <a:pPr algn="r">
                <a:lnSpc>
                  <a:spcPct val="75000"/>
                </a:lnSpc>
              </a:pPr>
              <a:r>
                <a:rPr lang="ru-RU" sz="1000" dirty="0">
                  <a:latin typeface="+mj-lt"/>
                </a:rPr>
                <a:t>(222 ваг</a:t>
              </a:r>
              <a:r>
                <a:rPr lang="en-US" sz="1000" dirty="0">
                  <a:latin typeface="+mj-lt"/>
                </a:rPr>
                <a:t>/</a:t>
              </a:r>
              <a:r>
                <a:rPr lang="ru-RU" sz="1000" dirty="0" err="1">
                  <a:latin typeface="+mj-lt"/>
                </a:rPr>
                <a:t>сут</a:t>
              </a:r>
              <a:r>
                <a:rPr lang="ru-RU" sz="1000" dirty="0">
                  <a:latin typeface="+mj-lt"/>
                </a:rPr>
                <a:t>)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3B74734A-B252-7243-9AE4-74BC0F939D5C}"/>
                </a:ext>
              </a:extLst>
            </p:cNvPr>
            <p:cNvSpPr txBox="1"/>
            <p:nvPr/>
          </p:nvSpPr>
          <p:spPr>
            <a:xfrm>
              <a:off x="1815520" y="676473"/>
              <a:ext cx="859531" cy="3281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lnSpc>
                  <a:spcPct val="75000"/>
                </a:lnSpc>
              </a:pPr>
              <a:r>
                <a:rPr lang="ru-RU" sz="1000" b="1" dirty="0">
                  <a:latin typeface="+mj-lt"/>
                </a:rPr>
                <a:t>Белый </a:t>
              </a:r>
              <a:r>
                <a:rPr lang="ru-RU" sz="1000" b="1" dirty="0" err="1">
                  <a:latin typeface="+mj-lt"/>
                </a:rPr>
                <a:t>Раст</a:t>
              </a:r>
              <a:endParaRPr lang="ru-RU" sz="1000" b="1" dirty="0">
                <a:latin typeface="+mj-lt"/>
              </a:endParaRPr>
            </a:p>
            <a:p>
              <a:pPr algn="r">
                <a:lnSpc>
                  <a:spcPct val="75000"/>
                </a:lnSpc>
              </a:pPr>
              <a:r>
                <a:rPr lang="ru-RU" sz="1000" dirty="0">
                  <a:latin typeface="+mj-lt"/>
                </a:rPr>
                <a:t>(354 ваг</a:t>
              </a:r>
              <a:r>
                <a:rPr lang="en-US" sz="1000" dirty="0">
                  <a:latin typeface="+mj-lt"/>
                </a:rPr>
                <a:t>/</a:t>
              </a:r>
              <a:r>
                <a:rPr lang="ru-RU" sz="1000" dirty="0" err="1">
                  <a:latin typeface="+mj-lt"/>
                </a:rPr>
                <a:t>сут</a:t>
              </a:r>
              <a:r>
                <a:rPr lang="ru-RU" sz="1000" dirty="0">
                  <a:latin typeface="+mj-lt"/>
                </a:rPr>
                <a:t>)</a:t>
              </a:r>
            </a:p>
          </p:txBody>
        </p:sp>
        <p:sp>
          <p:nvSpPr>
            <p:cNvPr id="127" name="Треугольник 126">
              <a:extLst>
                <a:ext uri="{FF2B5EF4-FFF2-40B4-BE49-F238E27FC236}">
                  <a16:creationId xmlns:a16="http://schemas.microsoft.com/office/drawing/2014/main" id="{48DA0AA1-6687-1547-95E2-5C2FF53E7480}"/>
                </a:ext>
              </a:extLst>
            </p:cNvPr>
            <p:cNvSpPr/>
            <p:nvPr/>
          </p:nvSpPr>
          <p:spPr>
            <a:xfrm>
              <a:off x="1765363" y="679418"/>
              <a:ext cx="126742" cy="109261"/>
            </a:xfrm>
            <a:prstGeom prst="triangl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9" name="Треугольник 128">
              <a:extLst>
                <a:ext uri="{FF2B5EF4-FFF2-40B4-BE49-F238E27FC236}">
                  <a16:creationId xmlns:a16="http://schemas.microsoft.com/office/drawing/2014/main" id="{B15FB7BF-E09E-2343-B98F-24A79BEAE107}"/>
                </a:ext>
              </a:extLst>
            </p:cNvPr>
            <p:cNvSpPr/>
            <p:nvPr/>
          </p:nvSpPr>
          <p:spPr>
            <a:xfrm>
              <a:off x="85601" y="6316346"/>
              <a:ext cx="126742" cy="109261"/>
            </a:xfrm>
            <a:prstGeom prst="triangl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912D82C4-C808-1041-9252-A3023D603D7E}"/>
                </a:ext>
              </a:extLst>
            </p:cNvPr>
            <p:cNvSpPr txBox="1"/>
            <p:nvPr/>
          </p:nvSpPr>
          <p:spPr>
            <a:xfrm>
              <a:off x="170125" y="6275766"/>
              <a:ext cx="1810974" cy="2573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75000"/>
                </a:lnSpc>
              </a:pPr>
              <a:r>
                <a:rPr lang="ru-RU" sz="700" dirty="0">
                  <a:latin typeface="+mj-lt"/>
                </a:rPr>
                <a:t>— крупнейшие станции с грузовой работой и перспективные объемы</a:t>
              </a:r>
            </a:p>
          </p:txBody>
        </p:sp>
        <p:sp>
          <p:nvSpPr>
            <p:cNvPr id="132" name="Прямоугольник 131">
              <a:extLst>
                <a:ext uri="{FF2B5EF4-FFF2-40B4-BE49-F238E27FC236}">
                  <a16:creationId xmlns:a16="http://schemas.microsoft.com/office/drawing/2014/main" id="{38301EE8-A3CC-FC43-9208-01F3ED449D27}"/>
                </a:ext>
              </a:extLst>
            </p:cNvPr>
            <p:cNvSpPr/>
            <p:nvPr/>
          </p:nvSpPr>
          <p:spPr>
            <a:xfrm>
              <a:off x="3138806" y="2829978"/>
              <a:ext cx="182078" cy="182078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3" name="Прямоугольник 132">
              <a:extLst>
                <a:ext uri="{FF2B5EF4-FFF2-40B4-BE49-F238E27FC236}">
                  <a16:creationId xmlns:a16="http://schemas.microsoft.com/office/drawing/2014/main" id="{3466E232-9E9A-1F4E-801A-873446A3DB35}"/>
                </a:ext>
              </a:extLst>
            </p:cNvPr>
            <p:cNvSpPr/>
            <p:nvPr/>
          </p:nvSpPr>
          <p:spPr>
            <a:xfrm>
              <a:off x="3087408" y="3050002"/>
              <a:ext cx="114668" cy="114668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 </a:t>
              </a:r>
            </a:p>
          </p:txBody>
        </p:sp>
        <p:sp>
          <p:nvSpPr>
            <p:cNvPr id="134" name="Прямоугольник 133">
              <a:extLst>
                <a:ext uri="{FF2B5EF4-FFF2-40B4-BE49-F238E27FC236}">
                  <a16:creationId xmlns:a16="http://schemas.microsoft.com/office/drawing/2014/main" id="{2219ECAF-5F0B-5A45-AFF1-3D9F25F0D390}"/>
                </a:ext>
              </a:extLst>
            </p:cNvPr>
            <p:cNvSpPr/>
            <p:nvPr/>
          </p:nvSpPr>
          <p:spPr>
            <a:xfrm>
              <a:off x="2786047" y="2433184"/>
              <a:ext cx="114668" cy="114668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5" name="Прямоугольник 134">
              <a:extLst>
                <a:ext uri="{FF2B5EF4-FFF2-40B4-BE49-F238E27FC236}">
                  <a16:creationId xmlns:a16="http://schemas.microsoft.com/office/drawing/2014/main" id="{7862FB57-8C00-F444-8770-813F2764ABBE}"/>
                </a:ext>
              </a:extLst>
            </p:cNvPr>
            <p:cNvSpPr/>
            <p:nvPr/>
          </p:nvSpPr>
          <p:spPr>
            <a:xfrm>
              <a:off x="2775115" y="3462267"/>
              <a:ext cx="114668" cy="114668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6" name="Прямоугольник 135">
              <a:extLst>
                <a:ext uri="{FF2B5EF4-FFF2-40B4-BE49-F238E27FC236}">
                  <a16:creationId xmlns:a16="http://schemas.microsoft.com/office/drawing/2014/main" id="{6C858EB6-1796-5645-BFCC-E3C67352F7DE}"/>
                </a:ext>
              </a:extLst>
            </p:cNvPr>
            <p:cNvSpPr/>
            <p:nvPr/>
          </p:nvSpPr>
          <p:spPr>
            <a:xfrm>
              <a:off x="3127168" y="3761204"/>
              <a:ext cx="114668" cy="114668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9" name="Прямоугольник 138">
              <a:extLst>
                <a:ext uri="{FF2B5EF4-FFF2-40B4-BE49-F238E27FC236}">
                  <a16:creationId xmlns:a16="http://schemas.microsoft.com/office/drawing/2014/main" id="{FEE7F983-59D4-2940-B6DF-99D654C6F4C8}"/>
                </a:ext>
              </a:extLst>
            </p:cNvPr>
            <p:cNvSpPr/>
            <p:nvPr/>
          </p:nvSpPr>
          <p:spPr>
            <a:xfrm>
              <a:off x="2617717" y="2834328"/>
              <a:ext cx="114668" cy="114668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38EDAC2F-DDC8-C94E-AF96-3F7766B45AF6}"/>
                </a:ext>
              </a:extLst>
            </p:cNvPr>
            <p:cNvSpPr txBox="1"/>
            <p:nvPr/>
          </p:nvSpPr>
          <p:spPr>
            <a:xfrm>
              <a:off x="3314287" y="2753108"/>
              <a:ext cx="808235" cy="37337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75000"/>
                </a:lnSpc>
              </a:pPr>
              <a:r>
                <a:rPr lang="ru-RU" sz="800" b="1" i="1" dirty="0">
                  <a:latin typeface="+mj-lt"/>
                </a:rPr>
                <a:t>Москва-Пасс./</a:t>
              </a:r>
            </a:p>
            <a:p>
              <a:pPr>
                <a:lnSpc>
                  <a:spcPct val="75000"/>
                </a:lnSpc>
              </a:pPr>
              <a:r>
                <a:rPr lang="ru-RU" sz="800" b="1" i="1" dirty="0">
                  <a:latin typeface="+mj-lt"/>
                </a:rPr>
                <a:t>Николаевка</a:t>
              </a:r>
              <a:r>
                <a:rPr lang="en-US" sz="800" b="1" i="1" dirty="0">
                  <a:latin typeface="+mj-lt"/>
                </a:rPr>
                <a:t>/</a:t>
              </a:r>
              <a:endParaRPr lang="ru-RU" sz="800" b="1" i="1" dirty="0">
                <a:latin typeface="+mj-lt"/>
              </a:endParaRPr>
            </a:p>
            <a:p>
              <a:pPr>
                <a:lnSpc>
                  <a:spcPct val="75000"/>
                </a:lnSpc>
              </a:pPr>
              <a:r>
                <a:rPr lang="ru-RU" sz="800" b="1" i="1" dirty="0">
                  <a:latin typeface="+mj-lt"/>
                </a:rPr>
                <a:t>Москва-3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53028319-553B-014A-BB4A-B35AD85F5803}"/>
                </a:ext>
              </a:extLst>
            </p:cNvPr>
            <p:cNvSpPr txBox="1"/>
            <p:nvPr/>
          </p:nvSpPr>
          <p:spPr>
            <a:xfrm>
              <a:off x="3011227" y="3157494"/>
              <a:ext cx="1136850" cy="1887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75000"/>
                </a:lnSpc>
              </a:pPr>
              <a:r>
                <a:rPr lang="ru-RU" sz="800" b="1" i="1" dirty="0">
                  <a:latin typeface="+mj-lt"/>
                </a:rPr>
                <a:t>Москва-Каланчевская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7774E7B5-083C-8C40-A6E2-00C185287849}"/>
                </a:ext>
              </a:extLst>
            </p:cNvPr>
            <p:cNvSpPr txBox="1"/>
            <p:nvPr/>
          </p:nvSpPr>
          <p:spPr>
            <a:xfrm>
              <a:off x="2820346" y="3410010"/>
              <a:ext cx="841692" cy="281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75000"/>
                </a:lnSpc>
              </a:pPr>
              <a:r>
                <a:rPr lang="ru-RU" sz="800" b="1" i="1" dirty="0">
                  <a:latin typeface="+mj-lt"/>
                </a:rPr>
                <a:t>Москва-Пасс.-Киевская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ECBE85E2-2565-0640-83F5-0E753074ACDB}"/>
                </a:ext>
              </a:extLst>
            </p:cNvPr>
            <p:cNvSpPr txBox="1"/>
            <p:nvPr/>
          </p:nvSpPr>
          <p:spPr>
            <a:xfrm>
              <a:off x="3226347" y="3708947"/>
              <a:ext cx="841692" cy="281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75000"/>
                </a:lnSpc>
              </a:pPr>
              <a:r>
                <a:rPr lang="ru-RU" sz="800" b="1" i="1" dirty="0">
                  <a:latin typeface="+mj-lt"/>
                </a:rPr>
                <a:t>Москва-Пасс.-Павелецкая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F243B7EF-7E91-484F-BC39-1716F7F51DAB}"/>
                </a:ext>
              </a:extLst>
            </p:cNvPr>
            <p:cNvSpPr txBox="1"/>
            <p:nvPr/>
          </p:nvSpPr>
          <p:spPr>
            <a:xfrm>
              <a:off x="2020706" y="2937401"/>
              <a:ext cx="841692" cy="1887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75000"/>
                </a:lnSpc>
              </a:pPr>
              <a:r>
                <a:rPr lang="ru-RU" sz="800" b="1" i="1" dirty="0">
                  <a:latin typeface="+mj-lt"/>
                </a:rPr>
                <a:t>Подмосковная</a:t>
              </a:r>
            </a:p>
          </p:txBody>
        </p:sp>
        <p:sp>
          <p:nvSpPr>
            <p:cNvPr id="146" name="Прямоугольник 145">
              <a:extLst>
                <a:ext uri="{FF2B5EF4-FFF2-40B4-BE49-F238E27FC236}">
                  <a16:creationId xmlns:a16="http://schemas.microsoft.com/office/drawing/2014/main" id="{E9FC3FFD-B547-CE44-A460-78E77096C80E}"/>
                </a:ext>
              </a:extLst>
            </p:cNvPr>
            <p:cNvSpPr/>
            <p:nvPr/>
          </p:nvSpPr>
          <p:spPr>
            <a:xfrm>
              <a:off x="97675" y="6131127"/>
              <a:ext cx="114668" cy="114668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 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CFB8BA4C-550E-1F41-89F6-7462D752807F}"/>
                </a:ext>
              </a:extLst>
            </p:cNvPr>
            <p:cNvSpPr txBox="1"/>
            <p:nvPr/>
          </p:nvSpPr>
          <p:spPr>
            <a:xfrm>
              <a:off x="167497" y="6072088"/>
              <a:ext cx="1810974" cy="2573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75000"/>
                </a:lnSpc>
              </a:pPr>
              <a:r>
                <a:rPr lang="ru-RU" sz="700" dirty="0">
                  <a:latin typeface="+mj-lt"/>
                </a:rPr>
                <a:t>— комплексы по обслуживанию составов пасс. поездов дальнего следования</a:t>
              </a:r>
            </a:p>
          </p:txBody>
        </p:sp>
        <p:sp>
          <p:nvSpPr>
            <p:cNvPr id="148" name="Прямоугольник 147">
              <a:extLst>
                <a:ext uri="{FF2B5EF4-FFF2-40B4-BE49-F238E27FC236}">
                  <a16:creationId xmlns:a16="http://schemas.microsoft.com/office/drawing/2014/main" id="{01E5E77A-2A27-C64A-BAFE-4E2D49BE846E}"/>
                </a:ext>
              </a:extLst>
            </p:cNvPr>
            <p:cNvSpPr/>
            <p:nvPr/>
          </p:nvSpPr>
          <p:spPr>
            <a:xfrm>
              <a:off x="2788890" y="3235342"/>
              <a:ext cx="114668" cy="114668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834B29A6-AE12-9440-823A-5FA556899CDD}"/>
                </a:ext>
              </a:extLst>
            </p:cNvPr>
            <p:cNvSpPr txBox="1"/>
            <p:nvPr/>
          </p:nvSpPr>
          <p:spPr>
            <a:xfrm>
              <a:off x="2003679" y="3170847"/>
              <a:ext cx="841692" cy="281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75000"/>
                </a:lnSpc>
              </a:pPr>
              <a:r>
                <a:rPr lang="ru-RU" sz="800" b="1" i="1" dirty="0">
                  <a:latin typeface="+mj-lt"/>
                </a:rPr>
                <a:t>Москва-Пасс.-Смоленская</a:t>
              </a:r>
            </a:p>
          </p:txBody>
        </p:sp>
        <p:sp>
          <p:nvSpPr>
            <p:cNvPr id="150" name="Полилиния 149">
              <a:extLst>
                <a:ext uri="{FF2B5EF4-FFF2-40B4-BE49-F238E27FC236}">
                  <a16:creationId xmlns:a16="http://schemas.microsoft.com/office/drawing/2014/main" id="{73B85438-28F8-464C-B7A2-669E6F0474BB}"/>
                </a:ext>
              </a:extLst>
            </p:cNvPr>
            <p:cNvSpPr/>
            <p:nvPr/>
          </p:nvSpPr>
          <p:spPr>
            <a:xfrm>
              <a:off x="3761712" y="1278918"/>
              <a:ext cx="300541" cy="733786"/>
            </a:xfrm>
            <a:custGeom>
              <a:avLst/>
              <a:gdLst>
                <a:gd name="connsiteX0" fmla="*/ 0 w 252248"/>
                <a:gd name="connsiteY0" fmla="*/ 725214 h 725214"/>
                <a:gd name="connsiteX1" fmla="*/ 157655 w 252248"/>
                <a:gd name="connsiteY1" fmla="*/ 336331 h 725214"/>
                <a:gd name="connsiteX2" fmla="*/ 252248 w 252248"/>
                <a:gd name="connsiteY2" fmla="*/ 0 h 725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2248" h="725214">
                  <a:moveTo>
                    <a:pt x="0" y="725214"/>
                  </a:moveTo>
                  <a:cubicBezTo>
                    <a:pt x="57807" y="591207"/>
                    <a:pt x="115614" y="457200"/>
                    <a:pt x="157655" y="336331"/>
                  </a:cubicBezTo>
                  <a:cubicBezTo>
                    <a:pt x="199696" y="215462"/>
                    <a:pt x="225972" y="107731"/>
                    <a:pt x="252248" y="0"/>
                  </a:cubicBezTo>
                </a:path>
              </a:pathLst>
            </a:custGeom>
            <a:noFill/>
            <a:ln w="28575">
              <a:gradFill>
                <a:gsLst>
                  <a:gs pos="0">
                    <a:srgbClr val="002060"/>
                  </a:gs>
                  <a:gs pos="100000">
                    <a:srgbClr val="002060">
                      <a:alpha val="0"/>
                      <a:lumMod val="0"/>
                    </a:srgbClr>
                  </a:gs>
                </a:gsLst>
                <a:lin ang="9600000" scaled="0"/>
              </a:gradFill>
              <a:tailEnd type="stealth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52" name="Полилиния 151">
              <a:extLst>
                <a:ext uri="{FF2B5EF4-FFF2-40B4-BE49-F238E27FC236}">
                  <a16:creationId xmlns:a16="http://schemas.microsoft.com/office/drawing/2014/main" id="{A4D26ADD-3A0B-D54A-A4FC-C33262F92514}"/>
                </a:ext>
              </a:extLst>
            </p:cNvPr>
            <p:cNvSpPr/>
            <p:nvPr/>
          </p:nvSpPr>
          <p:spPr>
            <a:xfrm>
              <a:off x="5560496" y="3712040"/>
              <a:ext cx="363166" cy="80720"/>
            </a:xfrm>
            <a:custGeom>
              <a:avLst/>
              <a:gdLst>
                <a:gd name="connsiteX0" fmla="*/ 0 w 363166"/>
                <a:gd name="connsiteY0" fmla="*/ 0 h 80720"/>
                <a:gd name="connsiteX1" fmla="*/ 155642 w 363166"/>
                <a:gd name="connsiteY1" fmla="*/ 71336 h 80720"/>
                <a:gd name="connsiteX2" fmla="*/ 363166 w 363166"/>
                <a:gd name="connsiteY2" fmla="*/ 77821 h 8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3166" h="80720">
                  <a:moveTo>
                    <a:pt x="0" y="0"/>
                  </a:moveTo>
                  <a:cubicBezTo>
                    <a:pt x="47557" y="29183"/>
                    <a:pt x="95114" y="58366"/>
                    <a:pt x="155642" y="71336"/>
                  </a:cubicBezTo>
                  <a:cubicBezTo>
                    <a:pt x="216170" y="84306"/>
                    <a:pt x="289668" y="81063"/>
                    <a:pt x="363166" y="77821"/>
                  </a:cubicBezTo>
                </a:path>
              </a:pathLst>
            </a:custGeom>
            <a:noFill/>
            <a:ln w="28575">
              <a:gradFill>
                <a:gsLst>
                  <a:gs pos="0">
                    <a:srgbClr val="002060"/>
                  </a:gs>
                  <a:gs pos="100000">
                    <a:srgbClr val="002060">
                      <a:alpha val="0"/>
                      <a:lumMod val="0"/>
                    </a:srgbClr>
                  </a:gs>
                </a:gsLst>
                <a:lin ang="15000000" scaled="0"/>
              </a:gradFill>
              <a:tailEnd type="stealth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53" name="Полилиния 152">
              <a:extLst>
                <a:ext uri="{FF2B5EF4-FFF2-40B4-BE49-F238E27FC236}">
                  <a16:creationId xmlns:a16="http://schemas.microsoft.com/office/drawing/2014/main" id="{EDF34943-D207-0645-9F14-46BEAAC17AB3}"/>
                </a:ext>
              </a:extLst>
            </p:cNvPr>
            <p:cNvSpPr/>
            <p:nvPr/>
          </p:nvSpPr>
          <p:spPr>
            <a:xfrm>
              <a:off x="4582976" y="4148328"/>
              <a:ext cx="414112" cy="52139"/>
            </a:xfrm>
            <a:custGeom>
              <a:avLst/>
              <a:gdLst>
                <a:gd name="connsiteX0" fmla="*/ 0 w 370935"/>
                <a:gd name="connsiteY0" fmla="*/ 0 h 69011"/>
                <a:gd name="connsiteX1" fmla="*/ 370935 w 370935"/>
                <a:gd name="connsiteY1" fmla="*/ 69011 h 6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0935" h="69011">
                  <a:moveTo>
                    <a:pt x="0" y="0"/>
                  </a:moveTo>
                  <a:lnTo>
                    <a:pt x="370935" y="69011"/>
                  </a:lnTo>
                </a:path>
              </a:pathLst>
            </a:custGeom>
            <a:noFill/>
            <a:ln w="28575">
              <a:gradFill>
                <a:gsLst>
                  <a:gs pos="0">
                    <a:srgbClr val="002060"/>
                  </a:gs>
                  <a:gs pos="100000">
                    <a:srgbClr val="002060">
                      <a:alpha val="0"/>
                      <a:lumMod val="0"/>
                    </a:srgbClr>
                  </a:gs>
                </a:gsLst>
                <a:lin ang="9000000" scaled="0"/>
              </a:gradFill>
              <a:tailEnd type="stealth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54" name="Полилиния 153">
              <a:extLst>
                <a:ext uri="{FF2B5EF4-FFF2-40B4-BE49-F238E27FC236}">
                  <a16:creationId xmlns:a16="http://schemas.microsoft.com/office/drawing/2014/main" id="{71FA571D-A5CF-EB43-947C-AE65A0597E47}"/>
                </a:ext>
              </a:extLst>
            </p:cNvPr>
            <p:cNvSpPr/>
            <p:nvPr/>
          </p:nvSpPr>
          <p:spPr>
            <a:xfrm rot="12600000">
              <a:off x="1820440" y="3667377"/>
              <a:ext cx="82197" cy="378113"/>
            </a:xfrm>
            <a:custGeom>
              <a:avLst/>
              <a:gdLst>
                <a:gd name="connsiteX0" fmla="*/ 0 w 252248"/>
                <a:gd name="connsiteY0" fmla="*/ 725214 h 725214"/>
                <a:gd name="connsiteX1" fmla="*/ 157655 w 252248"/>
                <a:gd name="connsiteY1" fmla="*/ 336331 h 725214"/>
                <a:gd name="connsiteX2" fmla="*/ 252248 w 252248"/>
                <a:gd name="connsiteY2" fmla="*/ 0 h 725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2248" h="725214">
                  <a:moveTo>
                    <a:pt x="0" y="725214"/>
                  </a:moveTo>
                  <a:cubicBezTo>
                    <a:pt x="57807" y="591207"/>
                    <a:pt x="115614" y="457200"/>
                    <a:pt x="157655" y="336331"/>
                  </a:cubicBezTo>
                  <a:cubicBezTo>
                    <a:pt x="199696" y="215462"/>
                    <a:pt x="225972" y="107731"/>
                    <a:pt x="252248" y="0"/>
                  </a:cubicBezTo>
                </a:path>
              </a:pathLst>
            </a:custGeom>
            <a:noFill/>
            <a:ln w="28575">
              <a:gradFill>
                <a:gsLst>
                  <a:gs pos="0">
                    <a:srgbClr val="002060"/>
                  </a:gs>
                  <a:gs pos="100000">
                    <a:srgbClr val="002060">
                      <a:alpha val="0"/>
                      <a:lumMod val="0"/>
                    </a:srgbClr>
                  </a:gs>
                </a:gsLst>
                <a:lin ang="3600000" scaled="0"/>
              </a:gradFill>
              <a:tailEnd type="stealth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55" name="Полилиния 154">
              <a:extLst>
                <a:ext uri="{FF2B5EF4-FFF2-40B4-BE49-F238E27FC236}">
                  <a16:creationId xmlns:a16="http://schemas.microsoft.com/office/drawing/2014/main" id="{7C9FB34C-2456-6B49-B533-BCC4DDEE87A8}"/>
                </a:ext>
              </a:extLst>
            </p:cNvPr>
            <p:cNvSpPr/>
            <p:nvPr/>
          </p:nvSpPr>
          <p:spPr>
            <a:xfrm rot="12600000" flipH="1">
              <a:off x="2857475" y="6159846"/>
              <a:ext cx="198546" cy="216657"/>
            </a:xfrm>
            <a:custGeom>
              <a:avLst/>
              <a:gdLst>
                <a:gd name="connsiteX0" fmla="*/ 0 w 252248"/>
                <a:gd name="connsiteY0" fmla="*/ 725214 h 725214"/>
                <a:gd name="connsiteX1" fmla="*/ 157655 w 252248"/>
                <a:gd name="connsiteY1" fmla="*/ 336331 h 725214"/>
                <a:gd name="connsiteX2" fmla="*/ 252248 w 252248"/>
                <a:gd name="connsiteY2" fmla="*/ 0 h 725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2248" h="725214">
                  <a:moveTo>
                    <a:pt x="0" y="725214"/>
                  </a:moveTo>
                  <a:cubicBezTo>
                    <a:pt x="57807" y="591207"/>
                    <a:pt x="115614" y="457200"/>
                    <a:pt x="157655" y="336331"/>
                  </a:cubicBezTo>
                  <a:cubicBezTo>
                    <a:pt x="199696" y="215462"/>
                    <a:pt x="225972" y="107731"/>
                    <a:pt x="252248" y="0"/>
                  </a:cubicBezTo>
                </a:path>
              </a:pathLst>
            </a:custGeom>
            <a:noFill/>
            <a:ln w="28575">
              <a:gradFill>
                <a:gsLst>
                  <a:gs pos="0">
                    <a:srgbClr val="002060"/>
                  </a:gs>
                  <a:gs pos="100000">
                    <a:srgbClr val="002060">
                      <a:alpha val="0"/>
                      <a:lumMod val="0"/>
                    </a:srgbClr>
                  </a:gs>
                </a:gsLst>
                <a:lin ang="7200000" scaled="0"/>
              </a:gradFill>
              <a:tailEnd type="stealth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56" name="Полилиния 155">
              <a:extLst>
                <a:ext uri="{FF2B5EF4-FFF2-40B4-BE49-F238E27FC236}">
                  <a16:creationId xmlns:a16="http://schemas.microsoft.com/office/drawing/2014/main" id="{32671F71-BB1E-F844-A33B-7957835EC2A8}"/>
                </a:ext>
              </a:extLst>
            </p:cNvPr>
            <p:cNvSpPr/>
            <p:nvPr/>
          </p:nvSpPr>
          <p:spPr>
            <a:xfrm rot="316296" flipH="1">
              <a:off x="2346765" y="2018230"/>
              <a:ext cx="382299" cy="338099"/>
            </a:xfrm>
            <a:custGeom>
              <a:avLst/>
              <a:gdLst>
                <a:gd name="connsiteX0" fmla="*/ 0 w 252248"/>
                <a:gd name="connsiteY0" fmla="*/ 725214 h 725214"/>
                <a:gd name="connsiteX1" fmla="*/ 157655 w 252248"/>
                <a:gd name="connsiteY1" fmla="*/ 336331 h 725214"/>
                <a:gd name="connsiteX2" fmla="*/ 252248 w 252248"/>
                <a:gd name="connsiteY2" fmla="*/ 0 h 725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2248" h="725214">
                  <a:moveTo>
                    <a:pt x="0" y="725214"/>
                  </a:moveTo>
                  <a:cubicBezTo>
                    <a:pt x="57807" y="591207"/>
                    <a:pt x="115614" y="457200"/>
                    <a:pt x="157655" y="336331"/>
                  </a:cubicBezTo>
                  <a:cubicBezTo>
                    <a:pt x="199696" y="215462"/>
                    <a:pt x="225972" y="107731"/>
                    <a:pt x="252248" y="0"/>
                  </a:cubicBezTo>
                </a:path>
              </a:pathLst>
            </a:custGeom>
            <a:noFill/>
            <a:ln w="28575">
              <a:gradFill>
                <a:gsLst>
                  <a:gs pos="0">
                    <a:srgbClr val="002060"/>
                  </a:gs>
                  <a:gs pos="100000">
                    <a:srgbClr val="002060">
                      <a:alpha val="0"/>
                      <a:lumMod val="0"/>
                    </a:srgbClr>
                  </a:gs>
                </a:gsLst>
                <a:lin ang="9600000" scaled="0"/>
              </a:gradFill>
              <a:tailEnd type="stealth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57" name="Полилиния 156">
              <a:extLst>
                <a:ext uri="{FF2B5EF4-FFF2-40B4-BE49-F238E27FC236}">
                  <a16:creationId xmlns:a16="http://schemas.microsoft.com/office/drawing/2014/main" id="{6717ED4C-836F-A140-AE6B-B4EF86D77155}"/>
                </a:ext>
              </a:extLst>
            </p:cNvPr>
            <p:cNvSpPr/>
            <p:nvPr/>
          </p:nvSpPr>
          <p:spPr>
            <a:xfrm rot="13294827" flipH="1" flipV="1">
              <a:off x="2676360" y="641660"/>
              <a:ext cx="228923" cy="242006"/>
            </a:xfrm>
            <a:custGeom>
              <a:avLst/>
              <a:gdLst>
                <a:gd name="connsiteX0" fmla="*/ 0 w 252248"/>
                <a:gd name="connsiteY0" fmla="*/ 725214 h 725214"/>
                <a:gd name="connsiteX1" fmla="*/ 157655 w 252248"/>
                <a:gd name="connsiteY1" fmla="*/ 336331 h 725214"/>
                <a:gd name="connsiteX2" fmla="*/ 252248 w 252248"/>
                <a:gd name="connsiteY2" fmla="*/ 0 h 725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2248" h="725214">
                  <a:moveTo>
                    <a:pt x="0" y="725214"/>
                  </a:moveTo>
                  <a:cubicBezTo>
                    <a:pt x="57807" y="591207"/>
                    <a:pt x="115614" y="457200"/>
                    <a:pt x="157655" y="336331"/>
                  </a:cubicBezTo>
                  <a:cubicBezTo>
                    <a:pt x="199696" y="215462"/>
                    <a:pt x="225972" y="107731"/>
                    <a:pt x="252248" y="0"/>
                  </a:cubicBezTo>
                </a:path>
              </a:pathLst>
            </a:custGeom>
            <a:noFill/>
            <a:ln w="28575">
              <a:gradFill>
                <a:gsLst>
                  <a:gs pos="0">
                    <a:srgbClr val="002060"/>
                  </a:gs>
                  <a:gs pos="100000">
                    <a:srgbClr val="002060">
                      <a:alpha val="0"/>
                      <a:lumMod val="0"/>
                    </a:srgbClr>
                  </a:gs>
                </a:gsLst>
                <a:lin ang="9600000" scaled="0"/>
              </a:gradFill>
              <a:tailEnd type="stealth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</p:grpSp>
      <p:pic>
        <p:nvPicPr>
          <p:cNvPr id="160" name="Рисунок 159">
            <a:extLst>
              <a:ext uri="{FF2B5EF4-FFF2-40B4-BE49-F238E27FC236}">
                <a16:creationId xmlns:a16="http://schemas.microsoft.com/office/drawing/2014/main" id="{FC5B07B3-04EF-8F42-B00E-637FE02A8E21}"/>
              </a:ext>
            </a:extLst>
          </p:cNvPr>
          <p:cNvPicPr/>
          <p:nvPr/>
        </p:nvPicPr>
        <p:blipFill rotWithShape="1"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62509" y="2210718"/>
            <a:ext cx="1233218" cy="986574"/>
          </a:xfrm>
          <a:prstGeom prst="roundRect">
            <a:avLst>
              <a:gd name="adj" fmla="val 4398"/>
            </a:avLst>
          </a:prstGeom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1" name="Рисунок 160">
            <a:extLst>
              <a:ext uri="{FF2B5EF4-FFF2-40B4-BE49-F238E27FC236}">
                <a16:creationId xmlns:a16="http://schemas.microsoft.com/office/drawing/2014/main" id="{09672DF1-2180-D64A-AE9F-DA86BE9EE2C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75437" y="3865016"/>
            <a:ext cx="1230762" cy="984609"/>
          </a:xfrm>
          <a:prstGeom prst="roundRect">
            <a:avLst>
              <a:gd name="adj" fmla="val 4398"/>
            </a:avLst>
          </a:prstGeom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3" name="Рисунок 162">
            <a:extLst>
              <a:ext uri="{FF2B5EF4-FFF2-40B4-BE49-F238E27FC236}">
                <a16:creationId xmlns:a16="http://schemas.microsoft.com/office/drawing/2014/main" id="{962280C1-B0B6-E047-BEDE-4E82DF75964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62509" y="858135"/>
            <a:ext cx="1243690" cy="994952"/>
          </a:xfrm>
          <a:prstGeom prst="roundRect">
            <a:avLst>
              <a:gd name="adj" fmla="val 4398"/>
            </a:avLst>
          </a:prstGeom>
          <a:effectLst>
            <a:outerShdw blurRad="165100" dist="38100" dir="2700000" sx="99000" sy="99000" algn="tl" rotWithShape="0">
              <a:prstClr val="black">
                <a:alpha val="40000"/>
              </a:prstClr>
            </a:outerShdw>
          </a:effectLst>
        </p:spPr>
      </p:pic>
      <p:sp>
        <p:nvSpPr>
          <p:cNvPr id="164" name="Прямоугольник 163">
            <a:extLst>
              <a:ext uri="{FF2B5EF4-FFF2-40B4-BE49-F238E27FC236}">
                <a16:creationId xmlns:a16="http://schemas.microsoft.com/office/drawing/2014/main" id="{ACB35CBF-4619-2944-B853-BC73F802D46C}"/>
              </a:ext>
            </a:extLst>
          </p:cNvPr>
          <p:cNvSpPr/>
          <p:nvPr/>
        </p:nvSpPr>
        <p:spPr>
          <a:xfrm>
            <a:off x="5983189" y="2185458"/>
            <a:ext cx="259881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+mj-lt"/>
              </a:rPr>
              <a:t>Время и скорость движения пассажирских поездов дальнего следования</a:t>
            </a:r>
            <a:r>
              <a:rPr lang="ru-RU" sz="1200" dirty="0">
                <a:latin typeface="+mj-lt"/>
              </a:rPr>
              <a:t> в пределах головных пригородных участков и технологию проведения их обслуживания</a:t>
            </a:r>
          </a:p>
        </p:txBody>
      </p:sp>
      <p:sp>
        <p:nvSpPr>
          <p:cNvPr id="165" name="Прямоугольник 164">
            <a:extLst>
              <a:ext uri="{FF2B5EF4-FFF2-40B4-BE49-F238E27FC236}">
                <a16:creationId xmlns:a16="http://schemas.microsoft.com/office/drawing/2014/main" id="{CDB27B14-4BE1-EE45-8A08-3BBED1D732EC}"/>
              </a:ext>
            </a:extLst>
          </p:cNvPr>
          <p:cNvSpPr/>
          <p:nvPr/>
        </p:nvSpPr>
        <p:spPr>
          <a:xfrm>
            <a:off x="5973518" y="847779"/>
            <a:ext cx="259881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+mj-lt"/>
              </a:rPr>
              <a:t>Технология работы и путевое развитие железнодорожных станций </a:t>
            </a:r>
            <a:r>
              <a:rPr lang="ru-RU" sz="1200" dirty="0">
                <a:latin typeface="+mj-lt"/>
              </a:rPr>
              <a:t>(зонных, оборотных, головных пассажирских, пассажирских технических станций)</a:t>
            </a: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id="{FE81BFAF-0528-BC4E-9AEE-002BC424DDF4}"/>
              </a:ext>
            </a:extLst>
          </p:cNvPr>
          <p:cNvSpPr/>
          <p:nvPr/>
        </p:nvSpPr>
        <p:spPr>
          <a:xfrm>
            <a:off x="5998718" y="4028878"/>
            <a:ext cx="25988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+mj-lt"/>
              </a:rPr>
              <a:t>Организацию пропуска транзитного и местного грузопотока </a:t>
            </a:r>
            <a:r>
              <a:rPr lang="ru-RU" sz="1200" dirty="0">
                <a:latin typeface="+mj-lt"/>
              </a:rPr>
              <a:t>в пределах узла</a:t>
            </a:r>
          </a:p>
        </p:txBody>
      </p:sp>
      <p:sp>
        <p:nvSpPr>
          <p:cNvPr id="169" name="Скругленный прямоугольник 168">
            <a:extLst>
              <a:ext uri="{FF2B5EF4-FFF2-40B4-BE49-F238E27FC236}">
                <a16:creationId xmlns:a16="http://schemas.microsoft.com/office/drawing/2014/main" id="{2B3B822A-F439-3543-8D6E-9FB23FD9A5AF}"/>
              </a:ext>
            </a:extLst>
          </p:cNvPr>
          <p:cNvSpPr/>
          <p:nvPr/>
        </p:nvSpPr>
        <p:spPr>
          <a:xfrm>
            <a:off x="6074933" y="5180507"/>
            <a:ext cx="3741450" cy="1244310"/>
          </a:xfrm>
          <a:prstGeom prst="roundRect">
            <a:avLst>
              <a:gd name="adj" fmla="val 5384"/>
            </a:avLst>
          </a:prstGeom>
          <a:solidFill>
            <a:srgbClr val="002060"/>
          </a:solidFill>
          <a:ln w="762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  <a:latin typeface="+mj-lt"/>
              </a:rPr>
              <a:t>Основная задача комплексного моделирования Московского железнодорожного узла:</a:t>
            </a:r>
          </a:p>
          <a:p>
            <a:r>
              <a:rPr lang="ru-RU" sz="1200" dirty="0">
                <a:solidFill>
                  <a:schemeClr val="bg1"/>
                </a:solidFill>
                <a:latin typeface="+mj-lt"/>
              </a:rPr>
              <a:t>Определить объёмы развития инфраструктуры и влияние на технологию работы железнодорожных участков на перспективу с учетом реализации различных проектов</a:t>
            </a:r>
          </a:p>
        </p:txBody>
      </p:sp>
    </p:spTree>
    <p:extLst>
      <p:ext uri="{BB962C8B-B14F-4D97-AF65-F5344CB8AC3E}">
        <p14:creationId xmlns:p14="http://schemas.microsoft.com/office/powerpoint/2010/main" val="4503250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latin typeface="+mj-lt"/>
              </a:rPr>
              <a:pPr/>
              <a:t>3</a:t>
            </a:fld>
            <a:endParaRPr lang="ru-RU" dirty="0">
              <a:latin typeface="+mj-lt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6A07FCEA-8DDE-9443-BE6F-FBDE395E9FF6}"/>
              </a:ext>
            </a:extLst>
          </p:cNvPr>
          <p:cNvGrpSpPr/>
          <p:nvPr/>
        </p:nvGrpSpPr>
        <p:grpSpPr>
          <a:xfrm>
            <a:off x="577366" y="1546365"/>
            <a:ext cx="8779644" cy="2776093"/>
            <a:chOff x="1036444" y="1208780"/>
            <a:chExt cx="8779644" cy="2776093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1036444" y="1387130"/>
              <a:ext cx="3274881" cy="2520893"/>
              <a:chOff x="-47139" y="1463767"/>
              <a:chExt cx="9262759" cy="7398156"/>
            </a:xfrm>
          </p:grpSpPr>
          <p:pic>
            <p:nvPicPr>
              <p:cNvPr id="30" name="Picture 3"/>
              <p:cNvPicPr>
                <a:picLocks noChangeAspect="1" noChangeArrowheads="1"/>
              </p:cNvPicPr>
              <p:nvPr>
                <p:custDataLst>
                  <p:tags r:id="rId38"/>
                </p:custDataLst>
              </p:nvPr>
            </p:nvPicPr>
            <p:blipFill>
              <a:blip r:embed="rId63"/>
              <a:srcRect/>
              <a:stretch>
                <a:fillRect/>
              </a:stretch>
            </p:blipFill>
            <p:spPr bwMode="auto">
              <a:xfrm>
                <a:off x="62155" y="1463767"/>
                <a:ext cx="8109850" cy="726768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31" name="Полилиния 30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>
              <a:xfrm>
                <a:off x="1028180" y="1980829"/>
                <a:ext cx="6688640" cy="4998628"/>
              </a:xfrm>
              <a:custGeom>
                <a:avLst/>
                <a:gdLst>
                  <a:gd name="connsiteX0" fmla="*/ 0 w 5005449"/>
                  <a:gd name="connsiteY0" fmla="*/ 0 h 3740727"/>
                  <a:gd name="connsiteX1" fmla="*/ 789709 w 5005449"/>
                  <a:gd name="connsiteY1" fmla="*/ 564078 h 3740727"/>
                  <a:gd name="connsiteX2" fmla="*/ 1193470 w 5005449"/>
                  <a:gd name="connsiteY2" fmla="*/ 849086 h 3740727"/>
                  <a:gd name="connsiteX3" fmla="*/ 1721922 w 5005449"/>
                  <a:gd name="connsiteY3" fmla="*/ 1276597 h 3740727"/>
                  <a:gd name="connsiteX4" fmla="*/ 1959428 w 5005449"/>
                  <a:gd name="connsiteY4" fmla="*/ 1508166 h 3740727"/>
                  <a:gd name="connsiteX5" fmla="*/ 2161309 w 5005449"/>
                  <a:gd name="connsiteY5" fmla="*/ 1698171 h 3740727"/>
                  <a:gd name="connsiteX6" fmla="*/ 2280062 w 5005449"/>
                  <a:gd name="connsiteY6" fmla="*/ 1757548 h 3740727"/>
                  <a:gd name="connsiteX7" fmla="*/ 2547257 w 5005449"/>
                  <a:gd name="connsiteY7" fmla="*/ 1846613 h 3740727"/>
                  <a:gd name="connsiteX8" fmla="*/ 2594758 w 5005449"/>
                  <a:gd name="connsiteY8" fmla="*/ 1995054 h 3740727"/>
                  <a:gd name="connsiteX9" fmla="*/ 2618509 w 5005449"/>
                  <a:gd name="connsiteY9" fmla="*/ 2107870 h 3740727"/>
                  <a:gd name="connsiteX10" fmla="*/ 2671948 w 5005449"/>
                  <a:gd name="connsiteY10" fmla="*/ 2226623 h 3740727"/>
                  <a:gd name="connsiteX11" fmla="*/ 2784763 w 5005449"/>
                  <a:gd name="connsiteY11" fmla="*/ 2333501 h 3740727"/>
                  <a:gd name="connsiteX12" fmla="*/ 3152899 w 5005449"/>
                  <a:gd name="connsiteY12" fmla="*/ 2517569 h 3740727"/>
                  <a:gd name="connsiteX13" fmla="*/ 3449782 w 5005449"/>
                  <a:gd name="connsiteY13" fmla="*/ 2719449 h 3740727"/>
                  <a:gd name="connsiteX14" fmla="*/ 3883231 w 5005449"/>
                  <a:gd name="connsiteY14" fmla="*/ 3040083 h 3740727"/>
                  <a:gd name="connsiteX15" fmla="*/ 4429496 w 5005449"/>
                  <a:gd name="connsiteY15" fmla="*/ 3378530 h 3740727"/>
                  <a:gd name="connsiteX16" fmla="*/ 5005449 w 5005449"/>
                  <a:gd name="connsiteY16" fmla="*/ 3740727 h 3740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005449" h="3740727">
                    <a:moveTo>
                      <a:pt x="0" y="0"/>
                    </a:moveTo>
                    <a:lnTo>
                      <a:pt x="789709" y="564078"/>
                    </a:lnTo>
                    <a:cubicBezTo>
                      <a:pt x="988621" y="705592"/>
                      <a:pt x="1038101" y="730333"/>
                      <a:pt x="1193470" y="849086"/>
                    </a:cubicBezTo>
                    <a:cubicBezTo>
                      <a:pt x="1348839" y="967839"/>
                      <a:pt x="1594262" y="1166750"/>
                      <a:pt x="1721922" y="1276597"/>
                    </a:cubicBezTo>
                    <a:cubicBezTo>
                      <a:pt x="1849582" y="1386444"/>
                      <a:pt x="1886197" y="1437904"/>
                      <a:pt x="1959428" y="1508166"/>
                    </a:cubicBezTo>
                    <a:cubicBezTo>
                      <a:pt x="2032659" y="1578428"/>
                      <a:pt x="2107870" y="1656607"/>
                      <a:pt x="2161309" y="1698171"/>
                    </a:cubicBezTo>
                    <a:cubicBezTo>
                      <a:pt x="2214748" y="1739735"/>
                      <a:pt x="2215737" y="1732808"/>
                      <a:pt x="2280062" y="1757548"/>
                    </a:cubicBezTo>
                    <a:cubicBezTo>
                      <a:pt x="2344387" y="1782288"/>
                      <a:pt x="2494808" y="1807029"/>
                      <a:pt x="2547257" y="1846613"/>
                    </a:cubicBezTo>
                    <a:cubicBezTo>
                      <a:pt x="2599706" y="1886197"/>
                      <a:pt x="2582883" y="1951511"/>
                      <a:pt x="2594758" y="1995054"/>
                    </a:cubicBezTo>
                    <a:cubicBezTo>
                      <a:pt x="2606633" y="2038597"/>
                      <a:pt x="2605644" y="2069275"/>
                      <a:pt x="2618509" y="2107870"/>
                    </a:cubicBezTo>
                    <a:cubicBezTo>
                      <a:pt x="2631374" y="2146465"/>
                      <a:pt x="2644239" y="2189018"/>
                      <a:pt x="2671948" y="2226623"/>
                    </a:cubicBezTo>
                    <a:cubicBezTo>
                      <a:pt x="2699657" y="2264228"/>
                      <a:pt x="2704605" y="2285010"/>
                      <a:pt x="2784763" y="2333501"/>
                    </a:cubicBezTo>
                    <a:cubicBezTo>
                      <a:pt x="2864922" y="2381992"/>
                      <a:pt x="3042063" y="2453244"/>
                      <a:pt x="3152899" y="2517569"/>
                    </a:cubicBezTo>
                    <a:cubicBezTo>
                      <a:pt x="3263736" y="2581894"/>
                      <a:pt x="3328060" y="2632363"/>
                      <a:pt x="3449782" y="2719449"/>
                    </a:cubicBezTo>
                    <a:cubicBezTo>
                      <a:pt x="3571504" y="2806535"/>
                      <a:pt x="3719945" y="2930236"/>
                      <a:pt x="3883231" y="3040083"/>
                    </a:cubicBezTo>
                    <a:cubicBezTo>
                      <a:pt x="4046517" y="3149930"/>
                      <a:pt x="4429496" y="3378530"/>
                      <a:pt x="4429496" y="3378530"/>
                    </a:cubicBezTo>
                    <a:lnTo>
                      <a:pt x="5005449" y="3740727"/>
                    </a:lnTo>
                  </a:path>
                </a:pathLst>
              </a:custGeom>
              <a:ln w="25400">
                <a:solidFill>
                  <a:srgbClr val="FFFF00"/>
                </a:solidFill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2049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32" name="Полилиния 31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>
              <a:xfrm>
                <a:off x="3370830" y="1838654"/>
                <a:ext cx="1937805" cy="6762804"/>
              </a:xfrm>
              <a:custGeom>
                <a:avLst/>
                <a:gdLst>
                  <a:gd name="connsiteX0" fmla="*/ 55033 w 1217083"/>
                  <a:gd name="connsiteY0" fmla="*/ 4464050 h 4464050"/>
                  <a:gd name="connsiteX1" fmla="*/ 4233 w 1217083"/>
                  <a:gd name="connsiteY1" fmla="*/ 4235450 h 4464050"/>
                  <a:gd name="connsiteX2" fmla="*/ 29633 w 1217083"/>
                  <a:gd name="connsiteY2" fmla="*/ 3994150 h 4464050"/>
                  <a:gd name="connsiteX3" fmla="*/ 93133 w 1217083"/>
                  <a:gd name="connsiteY3" fmla="*/ 3702050 h 4464050"/>
                  <a:gd name="connsiteX4" fmla="*/ 156633 w 1217083"/>
                  <a:gd name="connsiteY4" fmla="*/ 3403600 h 4464050"/>
                  <a:gd name="connsiteX5" fmla="*/ 194733 w 1217083"/>
                  <a:gd name="connsiteY5" fmla="*/ 3333750 h 4464050"/>
                  <a:gd name="connsiteX6" fmla="*/ 283633 w 1217083"/>
                  <a:gd name="connsiteY6" fmla="*/ 3238500 h 4464050"/>
                  <a:gd name="connsiteX7" fmla="*/ 347133 w 1217083"/>
                  <a:gd name="connsiteY7" fmla="*/ 3098800 h 4464050"/>
                  <a:gd name="connsiteX8" fmla="*/ 448733 w 1217083"/>
                  <a:gd name="connsiteY8" fmla="*/ 2933700 h 4464050"/>
                  <a:gd name="connsiteX9" fmla="*/ 582083 w 1217083"/>
                  <a:gd name="connsiteY9" fmla="*/ 2813050 h 4464050"/>
                  <a:gd name="connsiteX10" fmla="*/ 728133 w 1217083"/>
                  <a:gd name="connsiteY10" fmla="*/ 2641600 h 4464050"/>
                  <a:gd name="connsiteX11" fmla="*/ 867833 w 1217083"/>
                  <a:gd name="connsiteY11" fmla="*/ 2419350 h 4464050"/>
                  <a:gd name="connsiteX12" fmla="*/ 893233 w 1217083"/>
                  <a:gd name="connsiteY12" fmla="*/ 2190750 h 4464050"/>
                  <a:gd name="connsiteX13" fmla="*/ 886883 w 1217083"/>
                  <a:gd name="connsiteY13" fmla="*/ 2019300 h 4464050"/>
                  <a:gd name="connsiteX14" fmla="*/ 817033 w 1217083"/>
                  <a:gd name="connsiteY14" fmla="*/ 1879600 h 4464050"/>
                  <a:gd name="connsiteX15" fmla="*/ 677333 w 1217083"/>
                  <a:gd name="connsiteY15" fmla="*/ 1708150 h 4464050"/>
                  <a:gd name="connsiteX16" fmla="*/ 588433 w 1217083"/>
                  <a:gd name="connsiteY16" fmla="*/ 1638300 h 4464050"/>
                  <a:gd name="connsiteX17" fmla="*/ 556683 w 1217083"/>
                  <a:gd name="connsiteY17" fmla="*/ 1555750 h 4464050"/>
                  <a:gd name="connsiteX18" fmla="*/ 518583 w 1217083"/>
                  <a:gd name="connsiteY18" fmla="*/ 1441450 h 4464050"/>
                  <a:gd name="connsiteX19" fmla="*/ 531283 w 1217083"/>
                  <a:gd name="connsiteY19" fmla="*/ 1257300 h 4464050"/>
                  <a:gd name="connsiteX20" fmla="*/ 626533 w 1217083"/>
                  <a:gd name="connsiteY20" fmla="*/ 1003300 h 4464050"/>
                  <a:gd name="connsiteX21" fmla="*/ 632883 w 1217083"/>
                  <a:gd name="connsiteY21" fmla="*/ 774700 h 4464050"/>
                  <a:gd name="connsiteX22" fmla="*/ 709083 w 1217083"/>
                  <a:gd name="connsiteY22" fmla="*/ 654050 h 4464050"/>
                  <a:gd name="connsiteX23" fmla="*/ 829733 w 1217083"/>
                  <a:gd name="connsiteY23" fmla="*/ 514350 h 4464050"/>
                  <a:gd name="connsiteX24" fmla="*/ 1064683 w 1217083"/>
                  <a:gd name="connsiteY24" fmla="*/ 254000 h 4464050"/>
                  <a:gd name="connsiteX25" fmla="*/ 1217083 w 1217083"/>
                  <a:gd name="connsiteY25" fmla="*/ 0 h 4464050"/>
                  <a:gd name="connsiteX0" fmla="*/ 55033 w 1450158"/>
                  <a:gd name="connsiteY0" fmla="*/ 5060950 h 5060950"/>
                  <a:gd name="connsiteX1" fmla="*/ 4233 w 1450158"/>
                  <a:gd name="connsiteY1" fmla="*/ 4832350 h 5060950"/>
                  <a:gd name="connsiteX2" fmla="*/ 29633 w 1450158"/>
                  <a:gd name="connsiteY2" fmla="*/ 4591050 h 5060950"/>
                  <a:gd name="connsiteX3" fmla="*/ 93133 w 1450158"/>
                  <a:gd name="connsiteY3" fmla="*/ 4298950 h 5060950"/>
                  <a:gd name="connsiteX4" fmla="*/ 156633 w 1450158"/>
                  <a:gd name="connsiteY4" fmla="*/ 4000500 h 5060950"/>
                  <a:gd name="connsiteX5" fmla="*/ 194733 w 1450158"/>
                  <a:gd name="connsiteY5" fmla="*/ 3930650 h 5060950"/>
                  <a:gd name="connsiteX6" fmla="*/ 283633 w 1450158"/>
                  <a:gd name="connsiteY6" fmla="*/ 3835400 h 5060950"/>
                  <a:gd name="connsiteX7" fmla="*/ 347133 w 1450158"/>
                  <a:gd name="connsiteY7" fmla="*/ 3695700 h 5060950"/>
                  <a:gd name="connsiteX8" fmla="*/ 448733 w 1450158"/>
                  <a:gd name="connsiteY8" fmla="*/ 3530600 h 5060950"/>
                  <a:gd name="connsiteX9" fmla="*/ 582083 w 1450158"/>
                  <a:gd name="connsiteY9" fmla="*/ 3409950 h 5060950"/>
                  <a:gd name="connsiteX10" fmla="*/ 728133 w 1450158"/>
                  <a:gd name="connsiteY10" fmla="*/ 3238500 h 5060950"/>
                  <a:gd name="connsiteX11" fmla="*/ 867833 w 1450158"/>
                  <a:gd name="connsiteY11" fmla="*/ 3016250 h 5060950"/>
                  <a:gd name="connsiteX12" fmla="*/ 893233 w 1450158"/>
                  <a:gd name="connsiteY12" fmla="*/ 2787650 h 5060950"/>
                  <a:gd name="connsiteX13" fmla="*/ 886883 w 1450158"/>
                  <a:gd name="connsiteY13" fmla="*/ 2616200 h 5060950"/>
                  <a:gd name="connsiteX14" fmla="*/ 817033 w 1450158"/>
                  <a:gd name="connsiteY14" fmla="*/ 2476500 h 5060950"/>
                  <a:gd name="connsiteX15" fmla="*/ 677333 w 1450158"/>
                  <a:gd name="connsiteY15" fmla="*/ 2305050 h 5060950"/>
                  <a:gd name="connsiteX16" fmla="*/ 588433 w 1450158"/>
                  <a:gd name="connsiteY16" fmla="*/ 2235200 h 5060950"/>
                  <a:gd name="connsiteX17" fmla="*/ 556683 w 1450158"/>
                  <a:gd name="connsiteY17" fmla="*/ 2152650 h 5060950"/>
                  <a:gd name="connsiteX18" fmla="*/ 518583 w 1450158"/>
                  <a:gd name="connsiteY18" fmla="*/ 2038350 h 5060950"/>
                  <a:gd name="connsiteX19" fmla="*/ 531283 w 1450158"/>
                  <a:gd name="connsiteY19" fmla="*/ 1854200 h 5060950"/>
                  <a:gd name="connsiteX20" fmla="*/ 626533 w 1450158"/>
                  <a:gd name="connsiteY20" fmla="*/ 1600200 h 5060950"/>
                  <a:gd name="connsiteX21" fmla="*/ 632883 w 1450158"/>
                  <a:gd name="connsiteY21" fmla="*/ 1371600 h 5060950"/>
                  <a:gd name="connsiteX22" fmla="*/ 709083 w 1450158"/>
                  <a:gd name="connsiteY22" fmla="*/ 1250950 h 5060950"/>
                  <a:gd name="connsiteX23" fmla="*/ 829733 w 1450158"/>
                  <a:gd name="connsiteY23" fmla="*/ 1111250 h 5060950"/>
                  <a:gd name="connsiteX24" fmla="*/ 1064683 w 1450158"/>
                  <a:gd name="connsiteY24" fmla="*/ 850900 h 5060950"/>
                  <a:gd name="connsiteX25" fmla="*/ 1450158 w 1450158"/>
                  <a:gd name="connsiteY25" fmla="*/ 0 h 5060950"/>
                  <a:gd name="connsiteX0" fmla="*/ 55033 w 1450158"/>
                  <a:gd name="connsiteY0" fmla="*/ 5060950 h 5060950"/>
                  <a:gd name="connsiteX1" fmla="*/ 4233 w 1450158"/>
                  <a:gd name="connsiteY1" fmla="*/ 4832350 h 5060950"/>
                  <a:gd name="connsiteX2" fmla="*/ 29633 w 1450158"/>
                  <a:gd name="connsiteY2" fmla="*/ 4591050 h 5060950"/>
                  <a:gd name="connsiteX3" fmla="*/ 93133 w 1450158"/>
                  <a:gd name="connsiteY3" fmla="*/ 4298950 h 5060950"/>
                  <a:gd name="connsiteX4" fmla="*/ 156633 w 1450158"/>
                  <a:gd name="connsiteY4" fmla="*/ 4000500 h 5060950"/>
                  <a:gd name="connsiteX5" fmla="*/ 194733 w 1450158"/>
                  <a:gd name="connsiteY5" fmla="*/ 3930650 h 5060950"/>
                  <a:gd name="connsiteX6" fmla="*/ 283633 w 1450158"/>
                  <a:gd name="connsiteY6" fmla="*/ 3835400 h 5060950"/>
                  <a:gd name="connsiteX7" fmla="*/ 347133 w 1450158"/>
                  <a:gd name="connsiteY7" fmla="*/ 3695700 h 5060950"/>
                  <a:gd name="connsiteX8" fmla="*/ 448733 w 1450158"/>
                  <a:gd name="connsiteY8" fmla="*/ 3530600 h 5060950"/>
                  <a:gd name="connsiteX9" fmla="*/ 582083 w 1450158"/>
                  <a:gd name="connsiteY9" fmla="*/ 3409950 h 5060950"/>
                  <a:gd name="connsiteX10" fmla="*/ 728133 w 1450158"/>
                  <a:gd name="connsiteY10" fmla="*/ 3238500 h 5060950"/>
                  <a:gd name="connsiteX11" fmla="*/ 867833 w 1450158"/>
                  <a:gd name="connsiteY11" fmla="*/ 3016250 h 5060950"/>
                  <a:gd name="connsiteX12" fmla="*/ 893233 w 1450158"/>
                  <a:gd name="connsiteY12" fmla="*/ 2787650 h 5060950"/>
                  <a:gd name="connsiteX13" fmla="*/ 886883 w 1450158"/>
                  <a:gd name="connsiteY13" fmla="*/ 2616200 h 5060950"/>
                  <a:gd name="connsiteX14" fmla="*/ 817033 w 1450158"/>
                  <a:gd name="connsiteY14" fmla="*/ 2476500 h 5060950"/>
                  <a:gd name="connsiteX15" fmla="*/ 677333 w 1450158"/>
                  <a:gd name="connsiteY15" fmla="*/ 2305050 h 5060950"/>
                  <a:gd name="connsiteX16" fmla="*/ 588433 w 1450158"/>
                  <a:gd name="connsiteY16" fmla="*/ 2235200 h 5060950"/>
                  <a:gd name="connsiteX17" fmla="*/ 556683 w 1450158"/>
                  <a:gd name="connsiteY17" fmla="*/ 2152650 h 5060950"/>
                  <a:gd name="connsiteX18" fmla="*/ 518583 w 1450158"/>
                  <a:gd name="connsiteY18" fmla="*/ 2038350 h 5060950"/>
                  <a:gd name="connsiteX19" fmla="*/ 531283 w 1450158"/>
                  <a:gd name="connsiteY19" fmla="*/ 1854200 h 5060950"/>
                  <a:gd name="connsiteX20" fmla="*/ 626533 w 1450158"/>
                  <a:gd name="connsiteY20" fmla="*/ 1600200 h 5060950"/>
                  <a:gd name="connsiteX21" fmla="*/ 632883 w 1450158"/>
                  <a:gd name="connsiteY21" fmla="*/ 1371600 h 5060950"/>
                  <a:gd name="connsiteX22" fmla="*/ 709083 w 1450158"/>
                  <a:gd name="connsiteY22" fmla="*/ 1250950 h 5060950"/>
                  <a:gd name="connsiteX23" fmla="*/ 829733 w 1450158"/>
                  <a:gd name="connsiteY23" fmla="*/ 1111250 h 5060950"/>
                  <a:gd name="connsiteX24" fmla="*/ 1064683 w 1450158"/>
                  <a:gd name="connsiteY24" fmla="*/ 850900 h 5060950"/>
                  <a:gd name="connsiteX25" fmla="*/ 1191682 w 1450158"/>
                  <a:gd name="connsiteY25" fmla="*/ 603250 h 5060950"/>
                  <a:gd name="connsiteX26" fmla="*/ 1450158 w 1450158"/>
                  <a:gd name="connsiteY26" fmla="*/ 0 h 5060950"/>
                  <a:gd name="connsiteX0" fmla="*/ 55033 w 1450158"/>
                  <a:gd name="connsiteY0" fmla="*/ 5060950 h 5060950"/>
                  <a:gd name="connsiteX1" fmla="*/ 4233 w 1450158"/>
                  <a:gd name="connsiteY1" fmla="*/ 4832350 h 5060950"/>
                  <a:gd name="connsiteX2" fmla="*/ 29633 w 1450158"/>
                  <a:gd name="connsiteY2" fmla="*/ 4591050 h 5060950"/>
                  <a:gd name="connsiteX3" fmla="*/ 93133 w 1450158"/>
                  <a:gd name="connsiteY3" fmla="*/ 4298950 h 5060950"/>
                  <a:gd name="connsiteX4" fmla="*/ 156633 w 1450158"/>
                  <a:gd name="connsiteY4" fmla="*/ 4000500 h 5060950"/>
                  <a:gd name="connsiteX5" fmla="*/ 194733 w 1450158"/>
                  <a:gd name="connsiteY5" fmla="*/ 3930650 h 5060950"/>
                  <a:gd name="connsiteX6" fmla="*/ 283633 w 1450158"/>
                  <a:gd name="connsiteY6" fmla="*/ 3835400 h 5060950"/>
                  <a:gd name="connsiteX7" fmla="*/ 347133 w 1450158"/>
                  <a:gd name="connsiteY7" fmla="*/ 3695700 h 5060950"/>
                  <a:gd name="connsiteX8" fmla="*/ 448733 w 1450158"/>
                  <a:gd name="connsiteY8" fmla="*/ 3530600 h 5060950"/>
                  <a:gd name="connsiteX9" fmla="*/ 582083 w 1450158"/>
                  <a:gd name="connsiteY9" fmla="*/ 3409950 h 5060950"/>
                  <a:gd name="connsiteX10" fmla="*/ 728133 w 1450158"/>
                  <a:gd name="connsiteY10" fmla="*/ 3238500 h 5060950"/>
                  <a:gd name="connsiteX11" fmla="*/ 867833 w 1450158"/>
                  <a:gd name="connsiteY11" fmla="*/ 3016250 h 5060950"/>
                  <a:gd name="connsiteX12" fmla="*/ 893233 w 1450158"/>
                  <a:gd name="connsiteY12" fmla="*/ 2787650 h 5060950"/>
                  <a:gd name="connsiteX13" fmla="*/ 886883 w 1450158"/>
                  <a:gd name="connsiteY13" fmla="*/ 2616200 h 5060950"/>
                  <a:gd name="connsiteX14" fmla="*/ 817033 w 1450158"/>
                  <a:gd name="connsiteY14" fmla="*/ 2476500 h 5060950"/>
                  <a:gd name="connsiteX15" fmla="*/ 677333 w 1450158"/>
                  <a:gd name="connsiteY15" fmla="*/ 2305050 h 5060950"/>
                  <a:gd name="connsiteX16" fmla="*/ 588433 w 1450158"/>
                  <a:gd name="connsiteY16" fmla="*/ 2235200 h 5060950"/>
                  <a:gd name="connsiteX17" fmla="*/ 556683 w 1450158"/>
                  <a:gd name="connsiteY17" fmla="*/ 2152650 h 5060950"/>
                  <a:gd name="connsiteX18" fmla="*/ 518583 w 1450158"/>
                  <a:gd name="connsiteY18" fmla="*/ 2038350 h 5060950"/>
                  <a:gd name="connsiteX19" fmla="*/ 531283 w 1450158"/>
                  <a:gd name="connsiteY19" fmla="*/ 1854200 h 5060950"/>
                  <a:gd name="connsiteX20" fmla="*/ 626533 w 1450158"/>
                  <a:gd name="connsiteY20" fmla="*/ 1600200 h 5060950"/>
                  <a:gd name="connsiteX21" fmla="*/ 632883 w 1450158"/>
                  <a:gd name="connsiteY21" fmla="*/ 1371600 h 5060950"/>
                  <a:gd name="connsiteX22" fmla="*/ 709083 w 1450158"/>
                  <a:gd name="connsiteY22" fmla="*/ 1250950 h 5060950"/>
                  <a:gd name="connsiteX23" fmla="*/ 829733 w 1450158"/>
                  <a:gd name="connsiteY23" fmla="*/ 1111250 h 5060950"/>
                  <a:gd name="connsiteX24" fmla="*/ 1064683 w 1450158"/>
                  <a:gd name="connsiteY24" fmla="*/ 768350 h 5060950"/>
                  <a:gd name="connsiteX25" fmla="*/ 1191682 w 1450158"/>
                  <a:gd name="connsiteY25" fmla="*/ 603250 h 5060950"/>
                  <a:gd name="connsiteX26" fmla="*/ 1450158 w 1450158"/>
                  <a:gd name="connsiteY26" fmla="*/ 0 h 5060950"/>
                  <a:gd name="connsiteX0" fmla="*/ 55033 w 1450158"/>
                  <a:gd name="connsiteY0" fmla="*/ 5060950 h 5060950"/>
                  <a:gd name="connsiteX1" fmla="*/ 4233 w 1450158"/>
                  <a:gd name="connsiteY1" fmla="*/ 4832350 h 5060950"/>
                  <a:gd name="connsiteX2" fmla="*/ 29633 w 1450158"/>
                  <a:gd name="connsiteY2" fmla="*/ 4591050 h 5060950"/>
                  <a:gd name="connsiteX3" fmla="*/ 93133 w 1450158"/>
                  <a:gd name="connsiteY3" fmla="*/ 4298950 h 5060950"/>
                  <a:gd name="connsiteX4" fmla="*/ 156633 w 1450158"/>
                  <a:gd name="connsiteY4" fmla="*/ 4000500 h 5060950"/>
                  <a:gd name="connsiteX5" fmla="*/ 194733 w 1450158"/>
                  <a:gd name="connsiteY5" fmla="*/ 3930650 h 5060950"/>
                  <a:gd name="connsiteX6" fmla="*/ 283633 w 1450158"/>
                  <a:gd name="connsiteY6" fmla="*/ 3835400 h 5060950"/>
                  <a:gd name="connsiteX7" fmla="*/ 347133 w 1450158"/>
                  <a:gd name="connsiteY7" fmla="*/ 3695700 h 5060950"/>
                  <a:gd name="connsiteX8" fmla="*/ 448733 w 1450158"/>
                  <a:gd name="connsiteY8" fmla="*/ 3530600 h 5060950"/>
                  <a:gd name="connsiteX9" fmla="*/ 582083 w 1450158"/>
                  <a:gd name="connsiteY9" fmla="*/ 3409950 h 5060950"/>
                  <a:gd name="connsiteX10" fmla="*/ 728133 w 1450158"/>
                  <a:gd name="connsiteY10" fmla="*/ 3238500 h 5060950"/>
                  <a:gd name="connsiteX11" fmla="*/ 867833 w 1450158"/>
                  <a:gd name="connsiteY11" fmla="*/ 3016250 h 5060950"/>
                  <a:gd name="connsiteX12" fmla="*/ 893233 w 1450158"/>
                  <a:gd name="connsiteY12" fmla="*/ 2787650 h 5060950"/>
                  <a:gd name="connsiteX13" fmla="*/ 886883 w 1450158"/>
                  <a:gd name="connsiteY13" fmla="*/ 2616200 h 5060950"/>
                  <a:gd name="connsiteX14" fmla="*/ 817033 w 1450158"/>
                  <a:gd name="connsiteY14" fmla="*/ 2476500 h 5060950"/>
                  <a:gd name="connsiteX15" fmla="*/ 677333 w 1450158"/>
                  <a:gd name="connsiteY15" fmla="*/ 2305050 h 5060950"/>
                  <a:gd name="connsiteX16" fmla="*/ 588433 w 1450158"/>
                  <a:gd name="connsiteY16" fmla="*/ 2235200 h 5060950"/>
                  <a:gd name="connsiteX17" fmla="*/ 556683 w 1450158"/>
                  <a:gd name="connsiteY17" fmla="*/ 2152650 h 5060950"/>
                  <a:gd name="connsiteX18" fmla="*/ 518583 w 1450158"/>
                  <a:gd name="connsiteY18" fmla="*/ 2038350 h 5060950"/>
                  <a:gd name="connsiteX19" fmla="*/ 531283 w 1450158"/>
                  <a:gd name="connsiteY19" fmla="*/ 1854200 h 5060950"/>
                  <a:gd name="connsiteX20" fmla="*/ 626533 w 1450158"/>
                  <a:gd name="connsiteY20" fmla="*/ 1600200 h 5060950"/>
                  <a:gd name="connsiteX21" fmla="*/ 632883 w 1450158"/>
                  <a:gd name="connsiteY21" fmla="*/ 1371600 h 5060950"/>
                  <a:gd name="connsiteX22" fmla="*/ 709083 w 1450158"/>
                  <a:gd name="connsiteY22" fmla="*/ 1250950 h 5060950"/>
                  <a:gd name="connsiteX23" fmla="*/ 829733 w 1450158"/>
                  <a:gd name="connsiteY23" fmla="*/ 1111250 h 5060950"/>
                  <a:gd name="connsiteX24" fmla="*/ 1064683 w 1450158"/>
                  <a:gd name="connsiteY24" fmla="*/ 768350 h 5060950"/>
                  <a:gd name="connsiteX25" fmla="*/ 1274232 w 1450158"/>
                  <a:gd name="connsiteY25" fmla="*/ 450850 h 5060950"/>
                  <a:gd name="connsiteX26" fmla="*/ 1450158 w 1450158"/>
                  <a:gd name="connsiteY26" fmla="*/ 0 h 5060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450158" h="5060950">
                    <a:moveTo>
                      <a:pt x="55033" y="5060950"/>
                    </a:moveTo>
                    <a:cubicBezTo>
                      <a:pt x="31749" y="4985808"/>
                      <a:pt x="8466" y="4910667"/>
                      <a:pt x="4233" y="4832350"/>
                    </a:cubicBezTo>
                    <a:cubicBezTo>
                      <a:pt x="0" y="4754033"/>
                      <a:pt x="14816" y="4679950"/>
                      <a:pt x="29633" y="4591050"/>
                    </a:cubicBezTo>
                    <a:cubicBezTo>
                      <a:pt x="44450" y="4502150"/>
                      <a:pt x="71966" y="4397375"/>
                      <a:pt x="93133" y="4298950"/>
                    </a:cubicBezTo>
                    <a:cubicBezTo>
                      <a:pt x="114300" y="4200525"/>
                      <a:pt x="139700" y="4061883"/>
                      <a:pt x="156633" y="4000500"/>
                    </a:cubicBezTo>
                    <a:cubicBezTo>
                      <a:pt x="173566" y="3939117"/>
                      <a:pt x="173566" y="3958167"/>
                      <a:pt x="194733" y="3930650"/>
                    </a:cubicBezTo>
                    <a:cubicBezTo>
                      <a:pt x="215900" y="3903133"/>
                      <a:pt x="258233" y="3874558"/>
                      <a:pt x="283633" y="3835400"/>
                    </a:cubicBezTo>
                    <a:cubicBezTo>
                      <a:pt x="309033" y="3796242"/>
                      <a:pt x="319616" y="3746500"/>
                      <a:pt x="347133" y="3695700"/>
                    </a:cubicBezTo>
                    <a:cubicBezTo>
                      <a:pt x="374650" y="3644900"/>
                      <a:pt x="409575" y="3578225"/>
                      <a:pt x="448733" y="3530600"/>
                    </a:cubicBezTo>
                    <a:cubicBezTo>
                      <a:pt x="487891" y="3482975"/>
                      <a:pt x="535516" y="3458633"/>
                      <a:pt x="582083" y="3409950"/>
                    </a:cubicBezTo>
                    <a:cubicBezTo>
                      <a:pt x="628650" y="3361267"/>
                      <a:pt x="680508" y="3304117"/>
                      <a:pt x="728133" y="3238500"/>
                    </a:cubicBezTo>
                    <a:cubicBezTo>
                      <a:pt x="775758" y="3172883"/>
                      <a:pt x="840316" y="3091392"/>
                      <a:pt x="867833" y="3016250"/>
                    </a:cubicBezTo>
                    <a:cubicBezTo>
                      <a:pt x="895350" y="2941108"/>
                      <a:pt x="890058" y="2854325"/>
                      <a:pt x="893233" y="2787650"/>
                    </a:cubicBezTo>
                    <a:cubicBezTo>
                      <a:pt x="896408" y="2720975"/>
                      <a:pt x="899583" y="2668058"/>
                      <a:pt x="886883" y="2616200"/>
                    </a:cubicBezTo>
                    <a:cubicBezTo>
                      <a:pt x="874183" y="2564342"/>
                      <a:pt x="851958" y="2528358"/>
                      <a:pt x="817033" y="2476500"/>
                    </a:cubicBezTo>
                    <a:cubicBezTo>
                      <a:pt x="782108" y="2424642"/>
                      <a:pt x="715433" y="2345267"/>
                      <a:pt x="677333" y="2305050"/>
                    </a:cubicBezTo>
                    <a:cubicBezTo>
                      <a:pt x="639233" y="2264833"/>
                      <a:pt x="608541" y="2260600"/>
                      <a:pt x="588433" y="2235200"/>
                    </a:cubicBezTo>
                    <a:cubicBezTo>
                      <a:pt x="568325" y="2209800"/>
                      <a:pt x="568325" y="2185458"/>
                      <a:pt x="556683" y="2152650"/>
                    </a:cubicBezTo>
                    <a:cubicBezTo>
                      <a:pt x="545041" y="2119842"/>
                      <a:pt x="522816" y="2088092"/>
                      <a:pt x="518583" y="2038350"/>
                    </a:cubicBezTo>
                    <a:cubicBezTo>
                      <a:pt x="514350" y="1988608"/>
                      <a:pt x="513291" y="1927225"/>
                      <a:pt x="531283" y="1854200"/>
                    </a:cubicBezTo>
                    <a:cubicBezTo>
                      <a:pt x="549275" y="1781175"/>
                      <a:pt x="609600" y="1680633"/>
                      <a:pt x="626533" y="1600200"/>
                    </a:cubicBezTo>
                    <a:cubicBezTo>
                      <a:pt x="643466" y="1519767"/>
                      <a:pt x="619125" y="1429808"/>
                      <a:pt x="632883" y="1371600"/>
                    </a:cubicBezTo>
                    <a:cubicBezTo>
                      <a:pt x="646641" y="1313392"/>
                      <a:pt x="676275" y="1294342"/>
                      <a:pt x="709083" y="1250950"/>
                    </a:cubicBezTo>
                    <a:cubicBezTo>
                      <a:pt x="741891" y="1207558"/>
                      <a:pt x="770466" y="1191683"/>
                      <a:pt x="829733" y="1111250"/>
                    </a:cubicBezTo>
                    <a:cubicBezTo>
                      <a:pt x="889000" y="1030817"/>
                      <a:pt x="990600" y="878417"/>
                      <a:pt x="1064683" y="768350"/>
                    </a:cubicBezTo>
                    <a:cubicBezTo>
                      <a:pt x="1138766" y="658283"/>
                      <a:pt x="1209986" y="578908"/>
                      <a:pt x="1274232" y="450850"/>
                    </a:cubicBezTo>
                    <a:cubicBezTo>
                      <a:pt x="1338478" y="322792"/>
                      <a:pt x="1388029" y="141817"/>
                      <a:pt x="1450158" y="0"/>
                    </a:cubicBezTo>
                  </a:path>
                </a:pathLst>
              </a:custGeom>
              <a:ln w="25400">
                <a:solidFill>
                  <a:srgbClr val="13FF01"/>
                </a:solidFill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2049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33" name="Полилиния 3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>
              <a:xfrm>
                <a:off x="911539" y="3828617"/>
                <a:ext cx="5419781" cy="1261867"/>
              </a:xfrm>
              <a:custGeom>
                <a:avLst/>
                <a:gdLst>
                  <a:gd name="connsiteX0" fmla="*/ 4055897 w 4055897"/>
                  <a:gd name="connsiteY0" fmla="*/ 757325 h 944319"/>
                  <a:gd name="connsiteX1" fmla="*/ 3775406 w 4055897"/>
                  <a:gd name="connsiteY1" fmla="*/ 762935 h 944319"/>
                  <a:gd name="connsiteX2" fmla="*/ 3534184 w 4055897"/>
                  <a:gd name="connsiteY2" fmla="*/ 757325 h 944319"/>
                  <a:gd name="connsiteX3" fmla="*/ 3343450 w 4055897"/>
                  <a:gd name="connsiteY3" fmla="*/ 813423 h 944319"/>
                  <a:gd name="connsiteX4" fmla="*/ 2945153 w 4055897"/>
                  <a:gd name="connsiteY4" fmla="*/ 903181 h 944319"/>
                  <a:gd name="connsiteX5" fmla="*/ 2771249 w 4055897"/>
                  <a:gd name="connsiteY5" fmla="*/ 936839 h 944319"/>
                  <a:gd name="connsiteX6" fmla="*/ 2574905 w 4055897"/>
                  <a:gd name="connsiteY6" fmla="*/ 858302 h 944319"/>
                  <a:gd name="connsiteX7" fmla="*/ 2513197 w 4055897"/>
                  <a:gd name="connsiteY7" fmla="*/ 785374 h 944319"/>
                  <a:gd name="connsiteX8" fmla="*/ 2445879 w 4055897"/>
                  <a:gd name="connsiteY8" fmla="*/ 729276 h 944319"/>
                  <a:gd name="connsiteX9" fmla="*/ 2406611 w 4055897"/>
                  <a:gd name="connsiteY9" fmla="*/ 622690 h 944319"/>
                  <a:gd name="connsiteX10" fmla="*/ 2378562 w 4055897"/>
                  <a:gd name="connsiteY10" fmla="*/ 549762 h 944319"/>
                  <a:gd name="connsiteX11" fmla="*/ 2339293 w 4055897"/>
                  <a:gd name="connsiteY11" fmla="*/ 454395 h 944319"/>
                  <a:gd name="connsiteX12" fmla="*/ 2199048 w 4055897"/>
                  <a:gd name="connsiteY12" fmla="*/ 398297 h 944319"/>
                  <a:gd name="connsiteX13" fmla="*/ 2103681 w 4055897"/>
                  <a:gd name="connsiteY13" fmla="*/ 375858 h 944319"/>
                  <a:gd name="connsiteX14" fmla="*/ 2064412 w 4055897"/>
                  <a:gd name="connsiteY14" fmla="*/ 302930 h 944319"/>
                  <a:gd name="connsiteX15" fmla="*/ 2013924 w 4055897"/>
                  <a:gd name="connsiteY15" fmla="*/ 269271 h 944319"/>
                  <a:gd name="connsiteX16" fmla="*/ 1924167 w 4055897"/>
                  <a:gd name="connsiteY16" fmla="*/ 263662 h 944319"/>
                  <a:gd name="connsiteX17" fmla="*/ 1817580 w 4055897"/>
                  <a:gd name="connsiteY17" fmla="*/ 263662 h 944319"/>
                  <a:gd name="connsiteX18" fmla="*/ 1654895 w 4055897"/>
                  <a:gd name="connsiteY18" fmla="*/ 224393 h 944319"/>
                  <a:gd name="connsiteX19" fmla="*/ 1565138 w 4055897"/>
                  <a:gd name="connsiteY19" fmla="*/ 246832 h 944319"/>
                  <a:gd name="connsiteX20" fmla="*/ 1486601 w 4055897"/>
                  <a:gd name="connsiteY20" fmla="*/ 280491 h 944319"/>
                  <a:gd name="connsiteX21" fmla="*/ 1391234 w 4055897"/>
                  <a:gd name="connsiteY21" fmla="*/ 274881 h 944319"/>
                  <a:gd name="connsiteX22" fmla="*/ 1363185 w 4055897"/>
                  <a:gd name="connsiteY22" fmla="*/ 213173 h 944319"/>
                  <a:gd name="connsiteX23" fmla="*/ 1357575 w 4055897"/>
                  <a:gd name="connsiteY23" fmla="*/ 162685 h 944319"/>
                  <a:gd name="connsiteX24" fmla="*/ 1335136 w 4055897"/>
                  <a:gd name="connsiteY24" fmla="*/ 117806 h 944319"/>
                  <a:gd name="connsiteX25" fmla="*/ 1178061 w 4055897"/>
                  <a:gd name="connsiteY25" fmla="*/ 72928 h 944319"/>
                  <a:gd name="connsiteX26" fmla="*/ 1054645 w 4055897"/>
                  <a:gd name="connsiteY26" fmla="*/ 84147 h 944319"/>
                  <a:gd name="connsiteX27" fmla="*/ 908790 w 4055897"/>
                  <a:gd name="connsiteY27" fmla="*/ 173904 h 944319"/>
                  <a:gd name="connsiteX28" fmla="*/ 779764 w 4055897"/>
                  <a:gd name="connsiteY28" fmla="*/ 269271 h 944319"/>
                  <a:gd name="connsiteX29" fmla="*/ 639519 w 4055897"/>
                  <a:gd name="connsiteY29" fmla="*/ 308540 h 944319"/>
                  <a:gd name="connsiteX30" fmla="*/ 510493 w 4055897"/>
                  <a:gd name="connsiteY30" fmla="*/ 263662 h 944319"/>
                  <a:gd name="connsiteX31" fmla="*/ 437565 w 4055897"/>
                  <a:gd name="connsiteY31" fmla="*/ 162685 h 944319"/>
                  <a:gd name="connsiteX32" fmla="*/ 353418 w 4055897"/>
                  <a:gd name="connsiteY32" fmla="*/ 112196 h 944319"/>
                  <a:gd name="connsiteX33" fmla="*/ 213173 w 4055897"/>
                  <a:gd name="connsiteY33" fmla="*/ 67318 h 944319"/>
                  <a:gd name="connsiteX34" fmla="*/ 0 w 4055897"/>
                  <a:gd name="connsiteY34" fmla="*/ 0 h 944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4055897" h="944319">
                    <a:moveTo>
                      <a:pt x="4055897" y="757325"/>
                    </a:moveTo>
                    <a:lnTo>
                      <a:pt x="3775406" y="762935"/>
                    </a:lnTo>
                    <a:cubicBezTo>
                      <a:pt x="3688454" y="762935"/>
                      <a:pt x="3606177" y="748910"/>
                      <a:pt x="3534184" y="757325"/>
                    </a:cubicBezTo>
                    <a:cubicBezTo>
                      <a:pt x="3462191" y="765740"/>
                      <a:pt x="3441622" y="789114"/>
                      <a:pt x="3343450" y="813423"/>
                    </a:cubicBezTo>
                    <a:cubicBezTo>
                      <a:pt x="3245278" y="837732"/>
                      <a:pt x="3040520" y="882612"/>
                      <a:pt x="2945153" y="903181"/>
                    </a:cubicBezTo>
                    <a:cubicBezTo>
                      <a:pt x="2849786" y="923750"/>
                      <a:pt x="2832957" y="944319"/>
                      <a:pt x="2771249" y="936839"/>
                    </a:cubicBezTo>
                    <a:cubicBezTo>
                      <a:pt x="2709541" y="929359"/>
                      <a:pt x="2617914" y="883546"/>
                      <a:pt x="2574905" y="858302"/>
                    </a:cubicBezTo>
                    <a:cubicBezTo>
                      <a:pt x="2531896" y="833058"/>
                      <a:pt x="2534701" y="806878"/>
                      <a:pt x="2513197" y="785374"/>
                    </a:cubicBezTo>
                    <a:cubicBezTo>
                      <a:pt x="2491693" y="763870"/>
                      <a:pt x="2463643" y="756390"/>
                      <a:pt x="2445879" y="729276"/>
                    </a:cubicBezTo>
                    <a:cubicBezTo>
                      <a:pt x="2428115" y="702162"/>
                      <a:pt x="2417830" y="652609"/>
                      <a:pt x="2406611" y="622690"/>
                    </a:cubicBezTo>
                    <a:cubicBezTo>
                      <a:pt x="2395392" y="592771"/>
                      <a:pt x="2389782" y="577811"/>
                      <a:pt x="2378562" y="549762"/>
                    </a:cubicBezTo>
                    <a:cubicBezTo>
                      <a:pt x="2367342" y="521713"/>
                      <a:pt x="2369212" y="479639"/>
                      <a:pt x="2339293" y="454395"/>
                    </a:cubicBezTo>
                    <a:cubicBezTo>
                      <a:pt x="2309374" y="429151"/>
                      <a:pt x="2238317" y="411386"/>
                      <a:pt x="2199048" y="398297"/>
                    </a:cubicBezTo>
                    <a:cubicBezTo>
                      <a:pt x="2159779" y="385208"/>
                      <a:pt x="2126120" y="391753"/>
                      <a:pt x="2103681" y="375858"/>
                    </a:cubicBezTo>
                    <a:cubicBezTo>
                      <a:pt x="2081242" y="359963"/>
                      <a:pt x="2079372" y="320695"/>
                      <a:pt x="2064412" y="302930"/>
                    </a:cubicBezTo>
                    <a:cubicBezTo>
                      <a:pt x="2049453" y="285166"/>
                      <a:pt x="2037298" y="275816"/>
                      <a:pt x="2013924" y="269271"/>
                    </a:cubicBezTo>
                    <a:cubicBezTo>
                      <a:pt x="1990550" y="262726"/>
                      <a:pt x="1956891" y="264597"/>
                      <a:pt x="1924167" y="263662"/>
                    </a:cubicBezTo>
                    <a:cubicBezTo>
                      <a:pt x="1891443" y="262727"/>
                      <a:pt x="1862459" y="270207"/>
                      <a:pt x="1817580" y="263662"/>
                    </a:cubicBezTo>
                    <a:cubicBezTo>
                      <a:pt x="1772701" y="257117"/>
                      <a:pt x="1696969" y="227198"/>
                      <a:pt x="1654895" y="224393"/>
                    </a:cubicBezTo>
                    <a:cubicBezTo>
                      <a:pt x="1612821" y="221588"/>
                      <a:pt x="1593187" y="237482"/>
                      <a:pt x="1565138" y="246832"/>
                    </a:cubicBezTo>
                    <a:cubicBezTo>
                      <a:pt x="1537089" y="256182"/>
                      <a:pt x="1515585" y="275816"/>
                      <a:pt x="1486601" y="280491"/>
                    </a:cubicBezTo>
                    <a:cubicBezTo>
                      <a:pt x="1457617" y="285166"/>
                      <a:pt x="1411803" y="286101"/>
                      <a:pt x="1391234" y="274881"/>
                    </a:cubicBezTo>
                    <a:cubicBezTo>
                      <a:pt x="1370665" y="263661"/>
                      <a:pt x="1368795" y="231872"/>
                      <a:pt x="1363185" y="213173"/>
                    </a:cubicBezTo>
                    <a:cubicBezTo>
                      <a:pt x="1357575" y="194474"/>
                      <a:pt x="1362250" y="178580"/>
                      <a:pt x="1357575" y="162685"/>
                    </a:cubicBezTo>
                    <a:cubicBezTo>
                      <a:pt x="1352900" y="146790"/>
                      <a:pt x="1365055" y="132765"/>
                      <a:pt x="1335136" y="117806"/>
                    </a:cubicBezTo>
                    <a:cubicBezTo>
                      <a:pt x="1305217" y="102847"/>
                      <a:pt x="1224809" y="78538"/>
                      <a:pt x="1178061" y="72928"/>
                    </a:cubicBezTo>
                    <a:cubicBezTo>
                      <a:pt x="1131313" y="67318"/>
                      <a:pt x="1099523" y="67318"/>
                      <a:pt x="1054645" y="84147"/>
                    </a:cubicBezTo>
                    <a:cubicBezTo>
                      <a:pt x="1009767" y="100976"/>
                      <a:pt x="954603" y="143050"/>
                      <a:pt x="908790" y="173904"/>
                    </a:cubicBezTo>
                    <a:cubicBezTo>
                      <a:pt x="862977" y="204758"/>
                      <a:pt x="824642" y="246832"/>
                      <a:pt x="779764" y="269271"/>
                    </a:cubicBezTo>
                    <a:cubicBezTo>
                      <a:pt x="734886" y="291710"/>
                      <a:pt x="684397" y="309475"/>
                      <a:pt x="639519" y="308540"/>
                    </a:cubicBezTo>
                    <a:cubicBezTo>
                      <a:pt x="594641" y="307605"/>
                      <a:pt x="544152" y="287971"/>
                      <a:pt x="510493" y="263662"/>
                    </a:cubicBezTo>
                    <a:cubicBezTo>
                      <a:pt x="476834" y="239353"/>
                      <a:pt x="463744" y="187929"/>
                      <a:pt x="437565" y="162685"/>
                    </a:cubicBezTo>
                    <a:cubicBezTo>
                      <a:pt x="411386" y="137441"/>
                      <a:pt x="390817" y="128091"/>
                      <a:pt x="353418" y="112196"/>
                    </a:cubicBezTo>
                    <a:cubicBezTo>
                      <a:pt x="316019" y="96302"/>
                      <a:pt x="213173" y="67318"/>
                      <a:pt x="213173" y="67318"/>
                    </a:cubicBezTo>
                    <a:lnTo>
                      <a:pt x="0" y="0"/>
                    </a:lnTo>
                  </a:path>
                </a:pathLst>
              </a:custGeom>
              <a:ln w="25400">
                <a:solidFill>
                  <a:srgbClr val="F79635"/>
                </a:solidFill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2049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34" name="Прямоугольник 33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>
              <a:xfrm>
                <a:off x="2380721" y="1570360"/>
                <a:ext cx="449722" cy="415781"/>
              </a:xfrm>
              <a:prstGeom prst="rect">
                <a:avLst/>
              </a:prstGeom>
              <a:solidFill>
                <a:srgbClr val="FF000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193" b="1" dirty="0">
                    <a:solidFill>
                      <a:prstClr val="white"/>
                    </a:solidFill>
                    <a:latin typeface="+mj-lt"/>
                  </a:rPr>
                  <a:t>1</a:t>
                </a:r>
              </a:p>
            </p:txBody>
          </p:sp>
          <p:sp>
            <p:nvSpPr>
              <p:cNvPr id="35" name="Прямоугольник 34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>
              <a:xfrm>
                <a:off x="320306" y="3620726"/>
                <a:ext cx="449722" cy="415781"/>
              </a:xfrm>
              <a:prstGeom prst="rect">
                <a:avLst/>
              </a:prstGeom>
              <a:solidFill>
                <a:srgbClr val="F7963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193" b="1" dirty="0">
                    <a:solidFill>
                      <a:prstClr val="white"/>
                    </a:solidFill>
                    <a:latin typeface="+mj-lt"/>
                  </a:rPr>
                  <a:t>2</a:t>
                </a:r>
              </a:p>
            </p:txBody>
          </p:sp>
          <p:sp>
            <p:nvSpPr>
              <p:cNvPr id="36" name="Прямоугольник 35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>
              <a:xfrm>
                <a:off x="1225510" y="1523863"/>
                <a:ext cx="449722" cy="415781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193" b="1" dirty="0">
                    <a:solidFill>
                      <a:prstClr val="black"/>
                    </a:solidFill>
                    <a:latin typeface="+mj-lt"/>
                  </a:rPr>
                  <a:t>3</a:t>
                </a:r>
              </a:p>
            </p:txBody>
          </p:sp>
          <p:sp>
            <p:nvSpPr>
              <p:cNvPr id="37" name="Прямоугольник 36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>
              <a:xfrm>
                <a:off x="4625225" y="1535663"/>
                <a:ext cx="449722" cy="415781"/>
              </a:xfrm>
              <a:prstGeom prst="rect">
                <a:avLst/>
              </a:prstGeom>
              <a:solidFill>
                <a:srgbClr val="13FF0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193" b="1" dirty="0">
                    <a:solidFill>
                      <a:prstClr val="black"/>
                    </a:solidFill>
                    <a:latin typeface="+mj-lt"/>
                  </a:rPr>
                  <a:t>4</a:t>
                </a:r>
              </a:p>
            </p:txBody>
          </p:sp>
          <p:sp>
            <p:nvSpPr>
              <p:cNvPr id="38" name="Полилиния 37"/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>
              <a:xfrm>
                <a:off x="307709" y="2955990"/>
                <a:ext cx="5159078" cy="4177609"/>
              </a:xfrm>
              <a:custGeom>
                <a:avLst/>
                <a:gdLst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28950 w 3860800"/>
                  <a:gd name="connsiteY4" fmla="*/ 325967 h 3126317"/>
                  <a:gd name="connsiteX5" fmla="*/ 2914650 w 3860800"/>
                  <a:gd name="connsiteY5" fmla="*/ 452967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3050 w 3860800"/>
                  <a:gd name="connsiteY8" fmla="*/ 941917 h 3126317"/>
                  <a:gd name="connsiteX9" fmla="*/ 2762250 w 3860800"/>
                  <a:gd name="connsiteY9" fmla="*/ 1005417 h 3126317"/>
                  <a:gd name="connsiteX10" fmla="*/ 2590800 w 3860800"/>
                  <a:gd name="connsiteY10" fmla="*/ 1087967 h 3126317"/>
                  <a:gd name="connsiteX11" fmla="*/ 2508250 w 3860800"/>
                  <a:gd name="connsiteY11" fmla="*/ 1164167 h 3126317"/>
                  <a:gd name="connsiteX12" fmla="*/ 2476500 w 3860800"/>
                  <a:gd name="connsiteY12" fmla="*/ 1221317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28950 w 3860800"/>
                  <a:gd name="connsiteY4" fmla="*/ 325967 h 3126317"/>
                  <a:gd name="connsiteX5" fmla="*/ 2914650 w 3860800"/>
                  <a:gd name="connsiteY5" fmla="*/ 452967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3050 w 3860800"/>
                  <a:gd name="connsiteY8" fmla="*/ 941917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08250 w 3860800"/>
                  <a:gd name="connsiteY11" fmla="*/ 1164167 h 3126317"/>
                  <a:gd name="connsiteX12" fmla="*/ 2476500 w 3860800"/>
                  <a:gd name="connsiteY12" fmla="*/ 1221317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28950 w 3860800"/>
                  <a:gd name="connsiteY4" fmla="*/ 325967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3050 w 3860800"/>
                  <a:gd name="connsiteY8" fmla="*/ 941917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08250 w 3860800"/>
                  <a:gd name="connsiteY11" fmla="*/ 1164167 h 3126317"/>
                  <a:gd name="connsiteX12" fmla="*/ 2476500 w 3860800"/>
                  <a:gd name="connsiteY12" fmla="*/ 1221317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28950 w 3860800"/>
                  <a:gd name="connsiteY4" fmla="*/ 325967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0669 w 3860800"/>
                  <a:gd name="connsiteY8" fmla="*/ 972873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08250 w 3860800"/>
                  <a:gd name="connsiteY11" fmla="*/ 1164167 h 3126317"/>
                  <a:gd name="connsiteX12" fmla="*/ 2476500 w 3860800"/>
                  <a:gd name="connsiteY12" fmla="*/ 1221317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28950 w 3860800"/>
                  <a:gd name="connsiteY4" fmla="*/ 325967 h 3126317"/>
                  <a:gd name="connsiteX5" fmla="*/ 3028950 w 3860800"/>
                  <a:gd name="connsiteY5" fmla="*/ 329936 h 3126317"/>
                  <a:gd name="connsiteX6" fmla="*/ 2914650 w 3860800"/>
                  <a:gd name="connsiteY6" fmla="*/ 496536 h 3126317"/>
                  <a:gd name="connsiteX7" fmla="*/ 2901950 w 3860800"/>
                  <a:gd name="connsiteY7" fmla="*/ 618067 h 3126317"/>
                  <a:gd name="connsiteX8" fmla="*/ 2901950 w 3860800"/>
                  <a:gd name="connsiteY8" fmla="*/ 732367 h 3126317"/>
                  <a:gd name="connsiteX9" fmla="*/ 2810669 w 3860800"/>
                  <a:gd name="connsiteY9" fmla="*/ 972873 h 3126317"/>
                  <a:gd name="connsiteX10" fmla="*/ 2762250 w 3860800"/>
                  <a:gd name="connsiteY10" fmla="*/ 1062567 h 3126317"/>
                  <a:gd name="connsiteX11" fmla="*/ 2590800 w 3860800"/>
                  <a:gd name="connsiteY11" fmla="*/ 1087967 h 3126317"/>
                  <a:gd name="connsiteX12" fmla="*/ 2508250 w 3860800"/>
                  <a:gd name="connsiteY12" fmla="*/ 1164167 h 3126317"/>
                  <a:gd name="connsiteX13" fmla="*/ 2476500 w 3860800"/>
                  <a:gd name="connsiteY13" fmla="*/ 1221317 h 3126317"/>
                  <a:gd name="connsiteX14" fmla="*/ 2362200 w 3860800"/>
                  <a:gd name="connsiteY14" fmla="*/ 1246717 h 3126317"/>
                  <a:gd name="connsiteX15" fmla="*/ 2292350 w 3860800"/>
                  <a:gd name="connsiteY15" fmla="*/ 1272117 h 3126317"/>
                  <a:gd name="connsiteX16" fmla="*/ 2247900 w 3860800"/>
                  <a:gd name="connsiteY16" fmla="*/ 1354667 h 3126317"/>
                  <a:gd name="connsiteX17" fmla="*/ 2241550 w 3860800"/>
                  <a:gd name="connsiteY17" fmla="*/ 1513417 h 3126317"/>
                  <a:gd name="connsiteX18" fmla="*/ 2197100 w 3860800"/>
                  <a:gd name="connsiteY18" fmla="*/ 1608667 h 3126317"/>
                  <a:gd name="connsiteX19" fmla="*/ 2082800 w 3860800"/>
                  <a:gd name="connsiteY19" fmla="*/ 1710267 h 3126317"/>
                  <a:gd name="connsiteX20" fmla="*/ 1708150 w 3860800"/>
                  <a:gd name="connsiteY20" fmla="*/ 2034117 h 3126317"/>
                  <a:gd name="connsiteX21" fmla="*/ 1536700 w 3860800"/>
                  <a:gd name="connsiteY21" fmla="*/ 2180167 h 3126317"/>
                  <a:gd name="connsiteX22" fmla="*/ 1250950 w 3860800"/>
                  <a:gd name="connsiteY22" fmla="*/ 2351617 h 3126317"/>
                  <a:gd name="connsiteX23" fmla="*/ 774700 w 3860800"/>
                  <a:gd name="connsiteY23" fmla="*/ 2586567 h 3126317"/>
                  <a:gd name="connsiteX24" fmla="*/ 495300 w 3860800"/>
                  <a:gd name="connsiteY24" fmla="*/ 2681817 h 3126317"/>
                  <a:gd name="connsiteX25" fmla="*/ 406400 w 3860800"/>
                  <a:gd name="connsiteY25" fmla="*/ 2789767 h 3126317"/>
                  <a:gd name="connsiteX26" fmla="*/ 381000 w 3860800"/>
                  <a:gd name="connsiteY26" fmla="*/ 2916767 h 3126317"/>
                  <a:gd name="connsiteX27" fmla="*/ 317500 w 3860800"/>
                  <a:gd name="connsiteY27" fmla="*/ 2973917 h 3126317"/>
                  <a:gd name="connsiteX28" fmla="*/ 177800 w 3860800"/>
                  <a:gd name="connsiteY28" fmla="*/ 3024717 h 3126317"/>
                  <a:gd name="connsiteX29" fmla="*/ 0 w 3860800"/>
                  <a:gd name="connsiteY29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28950 w 3860800"/>
                  <a:gd name="connsiteY4" fmla="*/ 325967 h 3126317"/>
                  <a:gd name="connsiteX5" fmla="*/ 3028950 w 3860800"/>
                  <a:gd name="connsiteY5" fmla="*/ 329936 h 3126317"/>
                  <a:gd name="connsiteX6" fmla="*/ 2931319 w 3860800"/>
                  <a:gd name="connsiteY6" fmla="*/ 301361 h 3126317"/>
                  <a:gd name="connsiteX7" fmla="*/ 2914650 w 3860800"/>
                  <a:gd name="connsiteY7" fmla="*/ 496536 h 3126317"/>
                  <a:gd name="connsiteX8" fmla="*/ 2901950 w 3860800"/>
                  <a:gd name="connsiteY8" fmla="*/ 618067 h 3126317"/>
                  <a:gd name="connsiteX9" fmla="*/ 2901950 w 3860800"/>
                  <a:gd name="connsiteY9" fmla="*/ 732367 h 3126317"/>
                  <a:gd name="connsiteX10" fmla="*/ 2810669 w 3860800"/>
                  <a:gd name="connsiteY10" fmla="*/ 972873 h 3126317"/>
                  <a:gd name="connsiteX11" fmla="*/ 2762250 w 3860800"/>
                  <a:gd name="connsiteY11" fmla="*/ 1062567 h 3126317"/>
                  <a:gd name="connsiteX12" fmla="*/ 2590800 w 3860800"/>
                  <a:gd name="connsiteY12" fmla="*/ 1087967 h 3126317"/>
                  <a:gd name="connsiteX13" fmla="*/ 2508250 w 3860800"/>
                  <a:gd name="connsiteY13" fmla="*/ 1164167 h 3126317"/>
                  <a:gd name="connsiteX14" fmla="*/ 2476500 w 3860800"/>
                  <a:gd name="connsiteY14" fmla="*/ 1221317 h 3126317"/>
                  <a:gd name="connsiteX15" fmla="*/ 2362200 w 3860800"/>
                  <a:gd name="connsiteY15" fmla="*/ 1246717 h 3126317"/>
                  <a:gd name="connsiteX16" fmla="*/ 2292350 w 3860800"/>
                  <a:gd name="connsiteY16" fmla="*/ 1272117 h 3126317"/>
                  <a:gd name="connsiteX17" fmla="*/ 2247900 w 3860800"/>
                  <a:gd name="connsiteY17" fmla="*/ 1354667 h 3126317"/>
                  <a:gd name="connsiteX18" fmla="*/ 2241550 w 3860800"/>
                  <a:gd name="connsiteY18" fmla="*/ 1513417 h 3126317"/>
                  <a:gd name="connsiteX19" fmla="*/ 2197100 w 3860800"/>
                  <a:gd name="connsiteY19" fmla="*/ 1608667 h 3126317"/>
                  <a:gd name="connsiteX20" fmla="*/ 2082800 w 3860800"/>
                  <a:gd name="connsiteY20" fmla="*/ 1710267 h 3126317"/>
                  <a:gd name="connsiteX21" fmla="*/ 1708150 w 3860800"/>
                  <a:gd name="connsiteY21" fmla="*/ 2034117 h 3126317"/>
                  <a:gd name="connsiteX22" fmla="*/ 1536700 w 3860800"/>
                  <a:gd name="connsiteY22" fmla="*/ 2180167 h 3126317"/>
                  <a:gd name="connsiteX23" fmla="*/ 1250950 w 3860800"/>
                  <a:gd name="connsiteY23" fmla="*/ 2351617 h 3126317"/>
                  <a:gd name="connsiteX24" fmla="*/ 774700 w 3860800"/>
                  <a:gd name="connsiteY24" fmla="*/ 2586567 h 3126317"/>
                  <a:gd name="connsiteX25" fmla="*/ 495300 w 3860800"/>
                  <a:gd name="connsiteY25" fmla="*/ 2681817 h 3126317"/>
                  <a:gd name="connsiteX26" fmla="*/ 406400 w 3860800"/>
                  <a:gd name="connsiteY26" fmla="*/ 2789767 h 3126317"/>
                  <a:gd name="connsiteX27" fmla="*/ 381000 w 3860800"/>
                  <a:gd name="connsiteY27" fmla="*/ 2916767 h 3126317"/>
                  <a:gd name="connsiteX28" fmla="*/ 317500 w 3860800"/>
                  <a:gd name="connsiteY28" fmla="*/ 2973917 h 3126317"/>
                  <a:gd name="connsiteX29" fmla="*/ 177800 w 3860800"/>
                  <a:gd name="connsiteY29" fmla="*/ 3024717 h 3126317"/>
                  <a:gd name="connsiteX30" fmla="*/ 0 w 3860800"/>
                  <a:gd name="connsiteY30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28950 w 3860800"/>
                  <a:gd name="connsiteY4" fmla="*/ 325967 h 3126317"/>
                  <a:gd name="connsiteX5" fmla="*/ 2931319 w 3860800"/>
                  <a:gd name="connsiteY5" fmla="*/ 301361 h 3126317"/>
                  <a:gd name="connsiteX6" fmla="*/ 2914650 w 3860800"/>
                  <a:gd name="connsiteY6" fmla="*/ 496536 h 3126317"/>
                  <a:gd name="connsiteX7" fmla="*/ 2901950 w 3860800"/>
                  <a:gd name="connsiteY7" fmla="*/ 618067 h 3126317"/>
                  <a:gd name="connsiteX8" fmla="*/ 2901950 w 3860800"/>
                  <a:gd name="connsiteY8" fmla="*/ 732367 h 3126317"/>
                  <a:gd name="connsiteX9" fmla="*/ 2810669 w 3860800"/>
                  <a:gd name="connsiteY9" fmla="*/ 972873 h 3126317"/>
                  <a:gd name="connsiteX10" fmla="*/ 2762250 w 3860800"/>
                  <a:gd name="connsiteY10" fmla="*/ 1062567 h 3126317"/>
                  <a:gd name="connsiteX11" fmla="*/ 2590800 w 3860800"/>
                  <a:gd name="connsiteY11" fmla="*/ 1087967 h 3126317"/>
                  <a:gd name="connsiteX12" fmla="*/ 2508250 w 3860800"/>
                  <a:gd name="connsiteY12" fmla="*/ 1164167 h 3126317"/>
                  <a:gd name="connsiteX13" fmla="*/ 2476500 w 3860800"/>
                  <a:gd name="connsiteY13" fmla="*/ 1221317 h 3126317"/>
                  <a:gd name="connsiteX14" fmla="*/ 2362200 w 3860800"/>
                  <a:gd name="connsiteY14" fmla="*/ 1246717 h 3126317"/>
                  <a:gd name="connsiteX15" fmla="*/ 2292350 w 3860800"/>
                  <a:gd name="connsiteY15" fmla="*/ 1272117 h 3126317"/>
                  <a:gd name="connsiteX16" fmla="*/ 2247900 w 3860800"/>
                  <a:gd name="connsiteY16" fmla="*/ 1354667 h 3126317"/>
                  <a:gd name="connsiteX17" fmla="*/ 2241550 w 3860800"/>
                  <a:gd name="connsiteY17" fmla="*/ 1513417 h 3126317"/>
                  <a:gd name="connsiteX18" fmla="*/ 2197100 w 3860800"/>
                  <a:gd name="connsiteY18" fmla="*/ 1608667 h 3126317"/>
                  <a:gd name="connsiteX19" fmla="*/ 2082800 w 3860800"/>
                  <a:gd name="connsiteY19" fmla="*/ 1710267 h 3126317"/>
                  <a:gd name="connsiteX20" fmla="*/ 1708150 w 3860800"/>
                  <a:gd name="connsiteY20" fmla="*/ 2034117 h 3126317"/>
                  <a:gd name="connsiteX21" fmla="*/ 1536700 w 3860800"/>
                  <a:gd name="connsiteY21" fmla="*/ 2180167 h 3126317"/>
                  <a:gd name="connsiteX22" fmla="*/ 1250950 w 3860800"/>
                  <a:gd name="connsiteY22" fmla="*/ 2351617 h 3126317"/>
                  <a:gd name="connsiteX23" fmla="*/ 774700 w 3860800"/>
                  <a:gd name="connsiteY23" fmla="*/ 2586567 h 3126317"/>
                  <a:gd name="connsiteX24" fmla="*/ 495300 w 3860800"/>
                  <a:gd name="connsiteY24" fmla="*/ 2681817 h 3126317"/>
                  <a:gd name="connsiteX25" fmla="*/ 406400 w 3860800"/>
                  <a:gd name="connsiteY25" fmla="*/ 2789767 h 3126317"/>
                  <a:gd name="connsiteX26" fmla="*/ 381000 w 3860800"/>
                  <a:gd name="connsiteY26" fmla="*/ 2916767 h 3126317"/>
                  <a:gd name="connsiteX27" fmla="*/ 317500 w 3860800"/>
                  <a:gd name="connsiteY27" fmla="*/ 2973917 h 3126317"/>
                  <a:gd name="connsiteX28" fmla="*/ 177800 w 3860800"/>
                  <a:gd name="connsiteY28" fmla="*/ 3024717 h 3126317"/>
                  <a:gd name="connsiteX29" fmla="*/ 0 w 3860800"/>
                  <a:gd name="connsiteY29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2931319 w 3860800"/>
                  <a:gd name="connsiteY4" fmla="*/ 301361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0669 w 3860800"/>
                  <a:gd name="connsiteY8" fmla="*/ 972873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08250 w 3860800"/>
                  <a:gd name="connsiteY11" fmla="*/ 1164167 h 3126317"/>
                  <a:gd name="connsiteX12" fmla="*/ 2476500 w 3860800"/>
                  <a:gd name="connsiteY12" fmla="*/ 1221317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98006 w 3860800"/>
                  <a:gd name="connsiteY4" fmla="*/ 253736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0669 w 3860800"/>
                  <a:gd name="connsiteY8" fmla="*/ 972873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08250 w 3860800"/>
                  <a:gd name="connsiteY11" fmla="*/ 1164167 h 3126317"/>
                  <a:gd name="connsiteX12" fmla="*/ 2476500 w 3860800"/>
                  <a:gd name="connsiteY12" fmla="*/ 1221317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98006 w 3860800"/>
                  <a:gd name="connsiteY4" fmla="*/ 253736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0669 w 3860800"/>
                  <a:gd name="connsiteY8" fmla="*/ 972873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08250 w 3860800"/>
                  <a:gd name="connsiteY11" fmla="*/ 1164167 h 3126317"/>
                  <a:gd name="connsiteX12" fmla="*/ 2476500 w 3860800"/>
                  <a:gd name="connsiteY12" fmla="*/ 1221317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98006 w 3860800"/>
                  <a:gd name="connsiteY4" fmla="*/ 253736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0669 w 3860800"/>
                  <a:gd name="connsiteY8" fmla="*/ 972873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08250 w 3860800"/>
                  <a:gd name="connsiteY11" fmla="*/ 1164167 h 3126317"/>
                  <a:gd name="connsiteX12" fmla="*/ 2476500 w 3860800"/>
                  <a:gd name="connsiteY12" fmla="*/ 1221317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98006 w 3860800"/>
                  <a:gd name="connsiteY4" fmla="*/ 253736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0669 w 3860800"/>
                  <a:gd name="connsiteY8" fmla="*/ 972873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08250 w 3860800"/>
                  <a:gd name="connsiteY11" fmla="*/ 1164167 h 3126317"/>
                  <a:gd name="connsiteX12" fmla="*/ 2476500 w 3860800"/>
                  <a:gd name="connsiteY12" fmla="*/ 1221317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98006 w 3860800"/>
                  <a:gd name="connsiteY4" fmla="*/ 253736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0669 w 3860800"/>
                  <a:gd name="connsiteY8" fmla="*/ 972873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08250 w 3860800"/>
                  <a:gd name="connsiteY11" fmla="*/ 1164167 h 3126317"/>
                  <a:gd name="connsiteX12" fmla="*/ 2476500 w 3860800"/>
                  <a:gd name="connsiteY12" fmla="*/ 1221317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98006 w 3860800"/>
                  <a:gd name="connsiteY4" fmla="*/ 253736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0669 w 3860800"/>
                  <a:gd name="connsiteY8" fmla="*/ 972873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08250 w 3860800"/>
                  <a:gd name="connsiteY11" fmla="*/ 1164167 h 3126317"/>
                  <a:gd name="connsiteX12" fmla="*/ 2476500 w 3860800"/>
                  <a:gd name="connsiteY12" fmla="*/ 1221317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98006 w 3860800"/>
                  <a:gd name="connsiteY4" fmla="*/ 253736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0669 w 3860800"/>
                  <a:gd name="connsiteY8" fmla="*/ 972873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40644 w 3860800"/>
                  <a:gd name="connsiteY11" fmla="*/ 1200227 h 3126317"/>
                  <a:gd name="connsiteX12" fmla="*/ 2476500 w 3860800"/>
                  <a:gd name="connsiteY12" fmla="*/ 1221317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98006 w 3860800"/>
                  <a:gd name="connsiteY4" fmla="*/ 253736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0669 w 3860800"/>
                  <a:gd name="connsiteY8" fmla="*/ 972873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40644 w 3860800"/>
                  <a:gd name="connsiteY11" fmla="*/ 1200227 h 3126317"/>
                  <a:gd name="connsiteX12" fmla="*/ 2476500 w 3860800"/>
                  <a:gd name="connsiteY12" fmla="*/ 1283136 h 3126317"/>
                  <a:gd name="connsiteX13" fmla="*/ 2362200 w 3860800"/>
                  <a:gd name="connsiteY13" fmla="*/ 1246717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98006 w 3860800"/>
                  <a:gd name="connsiteY4" fmla="*/ 253736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0669 w 3860800"/>
                  <a:gd name="connsiteY8" fmla="*/ 972873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40644 w 3860800"/>
                  <a:gd name="connsiteY11" fmla="*/ 1200227 h 3126317"/>
                  <a:gd name="connsiteX12" fmla="*/ 2476500 w 3860800"/>
                  <a:gd name="connsiteY12" fmla="*/ 1283136 h 3126317"/>
                  <a:gd name="connsiteX13" fmla="*/ 2362200 w 3860800"/>
                  <a:gd name="connsiteY13" fmla="*/ 1300808 h 3126317"/>
                  <a:gd name="connsiteX14" fmla="*/ 2292350 w 3860800"/>
                  <a:gd name="connsiteY14" fmla="*/ 1272117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  <a:gd name="connsiteX0" fmla="*/ 3860800 w 3860800"/>
                  <a:gd name="connsiteY0" fmla="*/ 14817 h 3126317"/>
                  <a:gd name="connsiteX1" fmla="*/ 3492500 w 3860800"/>
                  <a:gd name="connsiteY1" fmla="*/ 8467 h 3126317"/>
                  <a:gd name="connsiteX2" fmla="*/ 3308350 w 3860800"/>
                  <a:gd name="connsiteY2" fmla="*/ 21167 h 3126317"/>
                  <a:gd name="connsiteX3" fmla="*/ 3181350 w 3860800"/>
                  <a:gd name="connsiteY3" fmla="*/ 135467 h 3126317"/>
                  <a:gd name="connsiteX4" fmla="*/ 3098006 w 3860800"/>
                  <a:gd name="connsiteY4" fmla="*/ 253736 h 3126317"/>
                  <a:gd name="connsiteX5" fmla="*/ 2914650 w 3860800"/>
                  <a:gd name="connsiteY5" fmla="*/ 496536 h 3126317"/>
                  <a:gd name="connsiteX6" fmla="*/ 2901950 w 3860800"/>
                  <a:gd name="connsiteY6" fmla="*/ 618067 h 3126317"/>
                  <a:gd name="connsiteX7" fmla="*/ 2901950 w 3860800"/>
                  <a:gd name="connsiteY7" fmla="*/ 732367 h 3126317"/>
                  <a:gd name="connsiteX8" fmla="*/ 2810669 w 3860800"/>
                  <a:gd name="connsiteY8" fmla="*/ 972873 h 3126317"/>
                  <a:gd name="connsiteX9" fmla="*/ 2762250 w 3860800"/>
                  <a:gd name="connsiteY9" fmla="*/ 1062567 h 3126317"/>
                  <a:gd name="connsiteX10" fmla="*/ 2590800 w 3860800"/>
                  <a:gd name="connsiteY10" fmla="*/ 1087967 h 3126317"/>
                  <a:gd name="connsiteX11" fmla="*/ 2540644 w 3860800"/>
                  <a:gd name="connsiteY11" fmla="*/ 1200227 h 3126317"/>
                  <a:gd name="connsiteX12" fmla="*/ 2476500 w 3860800"/>
                  <a:gd name="connsiteY12" fmla="*/ 1283136 h 3126317"/>
                  <a:gd name="connsiteX13" fmla="*/ 2362200 w 3860800"/>
                  <a:gd name="connsiteY13" fmla="*/ 1300808 h 3126317"/>
                  <a:gd name="connsiteX14" fmla="*/ 2292350 w 3860800"/>
                  <a:gd name="connsiteY14" fmla="*/ 1313329 h 3126317"/>
                  <a:gd name="connsiteX15" fmla="*/ 2247900 w 3860800"/>
                  <a:gd name="connsiteY15" fmla="*/ 1354667 h 3126317"/>
                  <a:gd name="connsiteX16" fmla="*/ 2241550 w 3860800"/>
                  <a:gd name="connsiteY16" fmla="*/ 1513417 h 3126317"/>
                  <a:gd name="connsiteX17" fmla="*/ 2197100 w 3860800"/>
                  <a:gd name="connsiteY17" fmla="*/ 1608667 h 3126317"/>
                  <a:gd name="connsiteX18" fmla="*/ 2082800 w 3860800"/>
                  <a:gd name="connsiteY18" fmla="*/ 1710267 h 3126317"/>
                  <a:gd name="connsiteX19" fmla="*/ 1708150 w 3860800"/>
                  <a:gd name="connsiteY19" fmla="*/ 2034117 h 3126317"/>
                  <a:gd name="connsiteX20" fmla="*/ 1536700 w 3860800"/>
                  <a:gd name="connsiteY20" fmla="*/ 2180167 h 3126317"/>
                  <a:gd name="connsiteX21" fmla="*/ 1250950 w 3860800"/>
                  <a:gd name="connsiteY21" fmla="*/ 2351617 h 3126317"/>
                  <a:gd name="connsiteX22" fmla="*/ 774700 w 3860800"/>
                  <a:gd name="connsiteY22" fmla="*/ 2586567 h 3126317"/>
                  <a:gd name="connsiteX23" fmla="*/ 495300 w 3860800"/>
                  <a:gd name="connsiteY23" fmla="*/ 2681817 h 3126317"/>
                  <a:gd name="connsiteX24" fmla="*/ 406400 w 3860800"/>
                  <a:gd name="connsiteY24" fmla="*/ 2789767 h 3126317"/>
                  <a:gd name="connsiteX25" fmla="*/ 381000 w 3860800"/>
                  <a:gd name="connsiteY25" fmla="*/ 2916767 h 3126317"/>
                  <a:gd name="connsiteX26" fmla="*/ 317500 w 3860800"/>
                  <a:gd name="connsiteY26" fmla="*/ 2973917 h 3126317"/>
                  <a:gd name="connsiteX27" fmla="*/ 177800 w 3860800"/>
                  <a:gd name="connsiteY27" fmla="*/ 3024717 h 3126317"/>
                  <a:gd name="connsiteX28" fmla="*/ 0 w 3860800"/>
                  <a:gd name="connsiteY28" fmla="*/ 3126317 h 3126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860800" h="3126317">
                    <a:moveTo>
                      <a:pt x="3860800" y="14817"/>
                    </a:moveTo>
                    <a:lnTo>
                      <a:pt x="3492500" y="8467"/>
                    </a:lnTo>
                    <a:cubicBezTo>
                      <a:pt x="3400425" y="9525"/>
                      <a:pt x="3360208" y="0"/>
                      <a:pt x="3308350" y="21167"/>
                    </a:cubicBezTo>
                    <a:cubicBezTo>
                      <a:pt x="3256492" y="42334"/>
                      <a:pt x="3216407" y="96706"/>
                      <a:pt x="3181350" y="135467"/>
                    </a:cubicBezTo>
                    <a:cubicBezTo>
                      <a:pt x="3146293" y="174229"/>
                      <a:pt x="3142456" y="193558"/>
                      <a:pt x="3098006" y="253736"/>
                    </a:cubicBezTo>
                    <a:cubicBezTo>
                      <a:pt x="3053556" y="313914"/>
                      <a:pt x="2947326" y="435814"/>
                      <a:pt x="2914650" y="496536"/>
                    </a:cubicBezTo>
                    <a:cubicBezTo>
                      <a:pt x="2881974" y="557258"/>
                      <a:pt x="2904067" y="578762"/>
                      <a:pt x="2901950" y="618067"/>
                    </a:cubicBezTo>
                    <a:cubicBezTo>
                      <a:pt x="2899833" y="657372"/>
                      <a:pt x="2917164" y="673233"/>
                      <a:pt x="2901950" y="732367"/>
                    </a:cubicBezTo>
                    <a:cubicBezTo>
                      <a:pt x="2886736" y="791501"/>
                      <a:pt x="2833952" y="917840"/>
                      <a:pt x="2810669" y="972873"/>
                    </a:cubicBezTo>
                    <a:cubicBezTo>
                      <a:pt x="2787386" y="1027906"/>
                      <a:pt x="2798895" y="1043385"/>
                      <a:pt x="2762250" y="1062567"/>
                    </a:cubicBezTo>
                    <a:cubicBezTo>
                      <a:pt x="2725605" y="1081749"/>
                      <a:pt x="2627734" y="1065024"/>
                      <a:pt x="2590800" y="1087967"/>
                    </a:cubicBezTo>
                    <a:cubicBezTo>
                      <a:pt x="2553866" y="1110910"/>
                      <a:pt x="2555725" y="1139902"/>
                      <a:pt x="2540644" y="1200227"/>
                    </a:cubicBezTo>
                    <a:cubicBezTo>
                      <a:pt x="2533764" y="1231977"/>
                      <a:pt x="2506241" y="1266372"/>
                      <a:pt x="2476500" y="1283136"/>
                    </a:cubicBezTo>
                    <a:cubicBezTo>
                      <a:pt x="2446759" y="1299900"/>
                      <a:pt x="2392892" y="1295776"/>
                      <a:pt x="2362200" y="1300808"/>
                    </a:cubicBezTo>
                    <a:cubicBezTo>
                      <a:pt x="2331508" y="1305840"/>
                      <a:pt x="2311400" y="1304353"/>
                      <a:pt x="2292350" y="1313329"/>
                    </a:cubicBezTo>
                    <a:cubicBezTo>
                      <a:pt x="2273300" y="1322305"/>
                      <a:pt x="2256367" y="1321319"/>
                      <a:pt x="2247900" y="1354667"/>
                    </a:cubicBezTo>
                    <a:cubicBezTo>
                      <a:pt x="2239433" y="1388015"/>
                      <a:pt x="2250017" y="1471084"/>
                      <a:pt x="2241550" y="1513417"/>
                    </a:cubicBezTo>
                    <a:cubicBezTo>
                      <a:pt x="2233083" y="1555750"/>
                      <a:pt x="2223558" y="1575859"/>
                      <a:pt x="2197100" y="1608667"/>
                    </a:cubicBezTo>
                    <a:cubicBezTo>
                      <a:pt x="2170642" y="1641475"/>
                      <a:pt x="2082800" y="1710267"/>
                      <a:pt x="2082800" y="1710267"/>
                    </a:cubicBezTo>
                    <a:lnTo>
                      <a:pt x="1708150" y="2034117"/>
                    </a:lnTo>
                    <a:cubicBezTo>
                      <a:pt x="1617133" y="2112434"/>
                      <a:pt x="1612900" y="2127250"/>
                      <a:pt x="1536700" y="2180167"/>
                    </a:cubicBezTo>
                    <a:cubicBezTo>
                      <a:pt x="1460500" y="2233084"/>
                      <a:pt x="1377950" y="2283884"/>
                      <a:pt x="1250950" y="2351617"/>
                    </a:cubicBezTo>
                    <a:cubicBezTo>
                      <a:pt x="1123950" y="2419350"/>
                      <a:pt x="900642" y="2531534"/>
                      <a:pt x="774700" y="2586567"/>
                    </a:cubicBezTo>
                    <a:cubicBezTo>
                      <a:pt x="648758" y="2641600"/>
                      <a:pt x="556683" y="2647950"/>
                      <a:pt x="495300" y="2681817"/>
                    </a:cubicBezTo>
                    <a:cubicBezTo>
                      <a:pt x="433917" y="2715684"/>
                      <a:pt x="425450" y="2750609"/>
                      <a:pt x="406400" y="2789767"/>
                    </a:cubicBezTo>
                    <a:cubicBezTo>
                      <a:pt x="387350" y="2828925"/>
                      <a:pt x="395817" y="2886075"/>
                      <a:pt x="381000" y="2916767"/>
                    </a:cubicBezTo>
                    <a:cubicBezTo>
                      <a:pt x="366183" y="2947459"/>
                      <a:pt x="351367" y="2955925"/>
                      <a:pt x="317500" y="2973917"/>
                    </a:cubicBezTo>
                    <a:cubicBezTo>
                      <a:pt x="283633" y="2991909"/>
                      <a:pt x="230717" y="2999317"/>
                      <a:pt x="177800" y="3024717"/>
                    </a:cubicBezTo>
                    <a:cubicBezTo>
                      <a:pt x="124883" y="3050117"/>
                      <a:pt x="62441" y="3088217"/>
                      <a:pt x="0" y="3126317"/>
                    </a:cubicBezTo>
                  </a:path>
                </a:pathLst>
              </a:custGeom>
              <a:ln w="25400">
                <a:solidFill>
                  <a:srgbClr val="00B0F0"/>
                </a:solidFill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2049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39" name="Полилиния 38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>
              <a:xfrm>
                <a:off x="2981931" y="1805088"/>
                <a:ext cx="695797" cy="2568503"/>
              </a:xfrm>
              <a:custGeom>
                <a:avLst/>
                <a:gdLst>
                  <a:gd name="connsiteX0" fmla="*/ 1987550 w 2508250"/>
                  <a:gd name="connsiteY0" fmla="*/ 0 h 3975100"/>
                  <a:gd name="connsiteX1" fmla="*/ 2171700 w 2508250"/>
                  <a:gd name="connsiteY1" fmla="*/ 660400 h 3975100"/>
                  <a:gd name="connsiteX2" fmla="*/ 2247900 w 2508250"/>
                  <a:gd name="connsiteY2" fmla="*/ 927100 h 3975100"/>
                  <a:gd name="connsiteX3" fmla="*/ 2317750 w 2508250"/>
                  <a:gd name="connsiteY3" fmla="*/ 1028700 h 3975100"/>
                  <a:gd name="connsiteX4" fmla="*/ 2368550 w 2508250"/>
                  <a:gd name="connsiteY4" fmla="*/ 1066800 h 3975100"/>
                  <a:gd name="connsiteX5" fmla="*/ 2393950 w 2508250"/>
                  <a:gd name="connsiteY5" fmla="*/ 1104900 h 3975100"/>
                  <a:gd name="connsiteX6" fmla="*/ 2425700 w 2508250"/>
                  <a:gd name="connsiteY6" fmla="*/ 1219200 h 3975100"/>
                  <a:gd name="connsiteX7" fmla="*/ 2438400 w 2508250"/>
                  <a:gd name="connsiteY7" fmla="*/ 1390650 h 3975100"/>
                  <a:gd name="connsiteX8" fmla="*/ 2444750 w 2508250"/>
                  <a:gd name="connsiteY8" fmla="*/ 1568450 h 3975100"/>
                  <a:gd name="connsiteX9" fmla="*/ 2482850 w 2508250"/>
                  <a:gd name="connsiteY9" fmla="*/ 1809750 h 3975100"/>
                  <a:gd name="connsiteX10" fmla="*/ 2508250 w 2508250"/>
                  <a:gd name="connsiteY10" fmla="*/ 1924050 h 3975100"/>
                  <a:gd name="connsiteX11" fmla="*/ 2482850 w 2508250"/>
                  <a:gd name="connsiteY11" fmla="*/ 2032000 h 3975100"/>
                  <a:gd name="connsiteX12" fmla="*/ 2393950 w 2508250"/>
                  <a:gd name="connsiteY12" fmla="*/ 2082800 h 3975100"/>
                  <a:gd name="connsiteX13" fmla="*/ 2292350 w 2508250"/>
                  <a:gd name="connsiteY13" fmla="*/ 2095500 h 3975100"/>
                  <a:gd name="connsiteX14" fmla="*/ 2235200 w 2508250"/>
                  <a:gd name="connsiteY14" fmla="*/ 2159000 h 3975100"/>
                  <a:gd name="connsiteX15" fmla="*/ 2222500 w 2508250"/>
                  <a:gd name="connsiteY15" fmla="*/ 2298700 h 3975100"/>
                  <a:gd name="connsiteX16" fmla="*/ 2228850 w 2508250"/>
                  <a:gd name="connsiteY16" fmla="*/ 2413000 h 3975100"/>
                  <a:gd name="connsiteX17" fmla="*/ 2178050 w 2508250"/>
                  <a:gd name="connsiteY17" fmla="*/ 2470150 h 3975100"/>
                  <a:gd name="connsiteX18" fmla="*/ 2012950 w 2508250"/>
                  <a:gd name="connsiteY18" fmla="*/ 2609850 h 3975100"/>
                  <a:gd name="connsiteX19" fmla="*/ 1727200 w 2508250"/>
                  <a:gd name="connsiteY19" fmla="*/ 2857500 h 3975100"/>
                  <a:gd name="connsiteX20" fmla="*/ 1555750 w 2508250"/>
                  <a:gd name="connsiteY20" fmla="*/ 3009900 h 3975100"/>
                  <a:gd name="connsiteX21" fmla="*/ 1270000 w 2508250"/>
                  <a:gd name="connsiteY21" fmla="*/ 3187700 h 3975100"/>
                  <a:gd name="connsiteX22" fmla="*/ 927100 w 2508250"/>
                  <a:gd name="connsiteY22" fmla="*/ 3359150 h 3975100"/>
                  <a:gd name="connsiteX23" fmla="*/ 692150 w 2508250"/>
                  <a:gd name="connsiteY23" fmla="*/ 3473450 h 3975100"/>
                  <a:gd name="connsiteX24" fmla="*/ 476250 w 2508250"/>
                  <a:gd name="connsiteY24" fmla="*/ 3549650 h 3975100"/>
                  <a:gd name="connsiteX25" fmla="*/ 393700 w 2508250"/>
                  <a:gd name="connsiteY25" fmla="*/ 3638550 h 3975100"/>
                  <a:gd name="connsiteX26" fmla="*/ 342900 w 2508250"/>
                  <a:gd name="connsiteY26" fmla="*/ 3784600 h 3975100"/>
                  <a:gd name="connsiteX27" fmla="*/ 209550 w 2508250"/>
                  <a:gd name="connsiteY27" fmla="*/ 3854450 h 3975100"/>
                  <a:gd name="connsiteX28" fmla="*/ 101600 w 2508250"/>
                  <a:gd name="connsiteY28" fmla="*/ 3892550 h 3975100"/>
                  <a:gd name="connsiteX29" fmla="*/ 0 w 2508250"/>
                  <a:gd name="connsiteY29" fmla="*/ 3975100 h 3975100"/>
                  <a:gd name="connsiteX0" fmla="*/ 1885950 w 2406650"/>
                  <a:gd name="connsiteY0" fmla="*/ 0 h 3892550"/>
                  <a:gd name="connsiteX1" fmla="*/ 2070100 w 2406650"/>
                  <a:gd name="connsiteY1" fmla="*/ 660400 h 3892550"/>
                  <a:gd name="connsiteX2" fmla="*/ 2146300 w 2406650"/>
                  <a:gd name="connsiteY2" fmla="*/ 927100 h 3892550"/>
                  <a:gd name="connsiteX3" fmla="*/ 2216150 w 2406650"/>
                  <a:gd name="connsiteY3" fmla="*/ 1028700 h 3892550"/>
                  <a:gd name="connsiteX4" fmla="*/ 2266950 w 2406650"/>
                  <a:gd name="connsiteY4" fmla="*/ 1066800 h 3892550"/>
                  <a:gd name="connsiteX5" fmla="*/ 2292350 w 2406650"/>
                  <a:gd name="connsiteY5" fmla="*/ 1104900 h 3892550"/>
                  <a:gd name="connsiteX6" fmla="*/ 2324100 w 2406650"/>
                  <a:gd name="connsiteY6" fmla="*/ 1219200 h 3892550"/>
                  <a:gd name="connsiteX7" fmla="*/ 2336800 w 2406650"/>
                  <a:gd name="connsiteY7" fmla="*/ 1390650 h 3892550"/>
                  <a:gd name="connsiteX8" fmla="*/ 2343150 w 2406650"/>
                  <a:gd name="connsiteY8" fmla="*/ 1568450 h 3892550"/>
                  <a:gd name="connsiteX9" fmla="*/ 2381250 w 2406650"/>
                  <a:gd name="connsiteY9" fmla="*/ 1809750 h 3892550"/>
                  <a:gd name="connsiteX10" fmla="*/ 2406650 w 2406650"/>
                  <a:gd name="connsiteY10" fmla="*/ 1924050 h 3892550"/>
                  <a:gd name="connsiteX11" fmla="*/ 2381250 w 2406650"/>
                  <a:gd name="connsiteY11" fmla="*/ 2032000 h 3892550"/>
                  <a:gd name="connsiteX12" fmla="*/ 2292350 w 2406650"/>
                  <a:gd name="connsiteY12" fmla="*/ 2082800 h 3892550"/>
                  <a:gd name="connsiteX13" fmla="*/ 2190750 w 2406650"/>
                  <a:gd name="connsiteY13" fmla="*/ 2095500 h 3892550"/>
                  <a:gd name="connsiteX14" fmla="*/ 2133600 w 2406650"/>
                  <a:gd name="connsiteY14" fmla="*/ 2159000 h 3892550"/>
                  <a:gd name="connsiteX15" fmla="*/ 2120900 w 2406650"/>
                  <a:gd name="connsiteY15" fmla="*/ 2298700 h 3892550"/>
                  <a:gd name="connsiteX16" fmla="*/ 2127250 w 2406650"/>
                  <a:gd name="connsiteY16" fmla="*/ 2413000 h 3892550"/>
                  <a:gd name="connsiteX17" fmla="*/ 2076450 w 2406650"/>
                  <a:gd name="connsiteY17" fmla="*/ 2470150 h 3892550"/>
                  <a:gd name="connsiteX18" fmla="*/ 1911350 w 2406650"/>
                  <a:gd name="connsiteY18" fmla="*/ 2609850 h 3892550"/>
                  <a:gd name="connsiteX19" fmla="*/ 1625600 w 2406650"/>
                  <a:gd name="connsiteY19" fmla="*/ 2857500 h 3892550"/>
                  <a:gd name="connsiteX20" fmla="*/ 1454150 w 2406650"/>
                  <a:gd name="connsiteY20" fmla="*/ 3009900 h 3892550"/>
                  <a:gd name="connsiteX21" fmla="*/ 1168400 w 2406650"/>
                  <a:gd name="connsiteY21" fmla="*/ 3187700 h 3892550"/>
                  <a:gd name="connsiteX22" fmla="*/ 825500 w 2406650"/>
                  <a:gd name="connsiteY22" fmla="*/ 3359150 h 3892550"/>
                  <a:gd name="connsiteX23" fmla="*/ 590550 w 2406650"/>
                  <a:gd name="connsiteY23" fmla="*/ 3473450 h 3892550"/>
                  <a:gd name="connsiteX24" fmla="*/ 374650 w 2406650"/>
                  <a:gd name="connsiteY24" fmla="*/ 3549650 h 3892550"/>
                  <a:gd name="connsiteX25" fmla="*/ 292100 w 2406650"/>
                  <a:gd name="connsiteY25" fmla="*/ 3638550 h 3892550"/>
                  <a:gd name="connsiteX26" fmla="*/ 241300 w 2406650"/>
                  <a:gd name="connsiteY26" fmla="*/ 3784600 h 3892550"/>
                  <a:gd name="connsiteX27" fmla="*/ 107950 w 2406650"/>
                  <a:gd name="connsiteY27" fmla="*/ 3854450 h 3892550"/>
                  <a:gd name="connsiteX28" fmla="*/ 0 w 2406650"/>
                  <a:gd name="connsiteY28" fmla="*/ 3892550 h 3892550"/>
                  <a:gd name="connsiteX0" fmla="*/ 1885950 w 2406650"/>
                  <a:gd name="connsiteY0" fmla="*/ 0 h 3892550"/>
                  <a:gd name="connsiteX1" fmla="*/ 2070100 w 2406650"/>
                  <a:gd name="connsiteY1" fmla="*/ 660400 h 3892550"/>
                  <a:gd name="connsiteX2" fmla="*/ 2146300 w 2406650"/>
                  <a:gd name="connsiteY2" fmla="*/ 927100 h 3892550"/>
                  <a:gd name="connsiteX3" fmla="*/ 2216150 w 2406650"/>
                  <a:gd name="connsiteY3" fmla="*/ 1028700 h 3892550"/>
                  <a:gd name="connsiteX4" fmla="*/ 2266950 w 2406650"/>
                  <a:gd name="connsiteY4" fmla="*/ 1066800 h 3892550"/>
                  <a:gd name="connsiteX5" fmla="*/ 2292350 w 2406650"/>
                  <a:gd name="connsiteY5" fmla="*/ 1104900 h 3892550"/>
                  <a:gd name="connsiteX6" fmla="*/ 2324100 w 2406650"/>
                  <a:gd name="connsiteY6" fmla="*/ 1219200 h 3892550"/>
                  <a:gd name="connsiteX7" fmla="*/ 2336800 w 2406650"/>
                  <a:gd name="connsiteY7" fmla="*/ 1390650 h 3892550"/>
                  <a:gd name="connsiteX8" fmla="*/ 2343150 w 2406650"/>
                  <a:gd name="connsiteY8" fmla="*/ 1568450 h 3892550"/>
                  <a:gd name="connsiteX9" fmla="*/ 2381250 w 2406650"/>
                  <a:gd name="connsiteY9" fmla="*/ 1809750 h 3892550"/>
                  <a:gd name="connsiteX10" fmla="*/ 2406650 w 2406650"/>
                  <a:gd name="connsiteY10" fmla="*/ 1924050 h 3892550"/>
                  <a:gd name="connsiteX11" fmla="*/ 2381250 w 2406650"/>
                  <a:gd name="connsiteY11" fmla="*/ 2032000 h 3892550"/>
                  <a:gd name="connsiteX12" fmla="*/ 2292350 w 2406650"/>
                  <a:gd name="connsiteY12" fmla="*/ 2082800 h 3892550"/>
                  <a:gd name="connsiteX13" fmla="*/ 2190750 w 2406650"/>
                  <a:gd name="connsiteY13" fmla="*/ 2095500 h 3892550"/>
                  <a:gd name="connsiteX14" fmla="*/ 2133600 w 2406650"/>
                  <a:gd name="connsiteY14" fmla="*/ 2159000 h 3892550"/>
                  <a:gd name="connsiteX15" fmla="*/ 2120900 w 2406650"/>
                  <a:gd name="connsiteY15" fmla="*/ 2298700 h 3892550"/>
                  <a:gd name="connsiteX16" fmla="*/ 2127250 w 2406650"/>
                  <a:gd name="connsiteY16" fmla="*/ 2413000 h 3892550"/>
                  <a:gd name="connsiteX17" fmla="*/ 2076450 w 2406650"/>
                  <a:gd name="connsiteY17" fmla="*/ 2470150 h 3892550"/>
                  <a:gd name="connsiteX18" fmla="*/ 1911350 w 2406650"/>
                  <a:gd name="connsiteY18" fmla="*/ 2609850 h 3892550"/>
                  <a:gd name="connsiteX19" fmla="*/ 1625600 w 2406650"/>
                  <a:gd name="connsiteY19" fmla="*/ 2857500 h 3892550"/>
                  <a:gd name="connsiteX20" fmla="*/ 1168400 w 2406650"/>
                  <a:gd name="connsiteY20" fmla="*/ 3187700 h 3892550"/>
                  <a:gd name="connsiteX21" fmla="*/ 825500 w 2406650"/>
                  <a:gd name="connsiteY21" fmla="*/ 3359150 h 3892550"/>
                  <a:gd name="connsiteX22" fmla="*/ 590550 w 2406650"/>
                  <a:gd name="connsiteY22" fmla="*/ 3473450 h 3892550"/>
                  <a:gd name="connsiteX23" fmla="*/ 374650 w 2406650"/>
                  <a:gd name="connsiteY23" fmla="*/ 3549650 h 3892550"/>
                  <a:gd name="connsiteX24" fmla="*/ 292100 w 2406650"/>
                  <a:gd name="connsiteY24" fmla="*/ 3638550 h 3892550"/>
                  <a:gd name="connsiteX25" fmla="*/ 241300 w 2406650"/>
                  <a:gd name="connsiteY25" fmla="*/ 3784600 h 3892550"/>
                  <a:gd name="connsiteX26" fmla="*/ 107950 w 2406650"/>
                  <a:gd name="connsiteY26" fmla="*/ 3854450 h 3892550"/>
                  <a:gd name="connsiteX27" fmla="*/ 0 w 2406650"/>
                  <a:gd name="connsiteY27" fmla="*/ 3892550 h 3892550"/>
                  <a:gd name="connsiteX0" fmla="*/ 1885950 w 2406650"/>
                  <a:gd name="connsiteY0" fmla="*/ 0 h 3892550"/>
                  <a:gd name="connsiteX1" fmla="*/ 2070100 w 2406650"/>
                  <a:gd name="connsiteY1" fmla="*/ 660400 h 3892550"/>
                  <a:gd name="connsiteX2" fmla="*/ 2146300 w 2406650"/>
                  <a:gd name="connsiteY2" fmla="*/ 927100 h 3892550"/>
                  <a:gd name="connsiteX3" fmla="*/ 2216150 w 2406650"/>
                  <a:gd name="connsiteY3" fmla="*/ 1028700 h 3892550"/>
                  <a:gd name="connsiteX4" fmla="*/ 2266950 w 2406650"/>
                  <a:gd name="connsiteY4" fmla="*/ 1066800 h 3892550"/>
                  <a:gd name="connsiteX5" fmla="*/ 2292350 w 2406650"/>
                  <a:gd name="connsiteY5" fmla="*/ 1104900 h 3892550"/>
                  <a:gd name="connsiteX6" fmla="*/ 2324100 w 2406650"/>
                  <a:gd name="connsiteY6" fmla="*/ 1219200 h 3892550"/>
                  <a:gd name="connsiteX7" fmla="*/ 2336800 w 2406650"/>
                  <a:gd name="connsiteY7" fmla="*/ 1390650 h 3892550"/>
                  <a:gd name="connsiteX8" fmla="*/ 2343150 w 2406650"/>
                  <a:gd name="connsiteY8" fmla="*/ 1568450 h 3892550"/>
                  <a:gd name="connsiteX9" fmla="*/ 2381250 w 2406650"/>
                  <a:gd name="connsiteY9" fmla="*/ 1809750 h 3892550"/>
                  <a:gd name="connsiteX10" fmla="*/ 2406650 w 2406650"/>
                  <a:gd name="connsiteY10" fmla="*/ 1924050 h 3892550"/>
                  <a:gd name="connsiteX11" fmla="*/ 2381250 w 2406650"/>
                  <a:gd name="connsiteY11" fmla="*/ 2032000 h 3892550"/>
                  <a:gd name="connsiteX12" fmla="*/ 2292350 w 2406650"/>
                  <a:gd name="connsiteY12" fmla="*/ 2082800 h 3892550"/>
                  <a:gd name="connsiteX13" fmla="*/ 2190750 w 2406650"/>
                  <a:gd name="connsiteY13" fmla="*/ 2095500 h 3892550"/>
                  <a:gd name="connsiteX14" fmla="*/ 2133600 w 2406650"/>
                  <a:gd name="connsiteY14" fmla="*/ 2159000 h 3892550"/>
                  <a:gd name="connsiteX15" fmla="*/ 2120900 w 2406650"/>
                  <a:gd name="connsiteY15" fmla="*/ 2298700 h 3892550"/>
                  <a:gd name="connsiteX16" fmla="*/ 2127250 w 2406650"/>
                  <a:gd name="connsiteY16" fmla="*/ 2413000 h 3892550"/>
                  <a:gd name="connsiteX17" fmla="*/ 1911350 w 2406650"/>
                  <a:gd name="connsiteY17" fmla="*/ 2609850 h 3892550"/>
                  <a:gd name="connsiteX18" fmla="*/ 1625600 w 2406650"/>
                  <a:gd name="connsiteY18" fmla="*/ 2857500 h 3892550"/>
                  <a:gd name="connsiteX19" fmla="*/ 1168400 w 2406650"/>
                  <a:gd name="connsiteY19" fmla="*/ 3187700 h 3892550"/>
                  <a:gd name="connsiteX20" fmla="*/ 825500 w 2406650"/>
                  <a:gd name="connsiteY20" fmla="*/ 3359150 h 3892550"/>
                  <a:gd name="connsiteX21" fmla="*/ 590550 w 2406650"/>
                  <a:gd name="connsiteY21" fmla="*/ 3473450 h 3892550"/>
                  <a:gd name="connsiteX22" fmla="*/ 374650 w 2406650"/>
                  <a:gd name="connsiteY22" fmla="*/ 3549650 h 3892550"/>
                  <a:gd name="connsiteX23" fmla="*/ 292100 w 2406650"/>
                  <a:gd name="connsiteY23" fmla="*/ 3638550 h 3892550"/>
                  <a:gd name="connsiteX24" fmla="*/ 241300 w 2406650"/>
                  <a:gd name="connsiteY24" fmla="*/ 3784600 h 3892550"/>
                  <a:gd name="connsiteX25" fmla="*/ 107950 w 2406650"/>
                  <a:gd name="connsiteY25" fmla="*/ 3854450 h 3892550"/>
                  <a:gd name="connsiteX26" fmla="*/ 0 w 2406650"/>
                  <a:gd name="connsiteY26" fmla="*/ 3892550 h 3892550"/>
                  <a:gd name="connsiteX0" fmla="*/ 1885950 w 2406650"/>
                  <a:gd name="connsiteY0" fmla="*/ 0 h 3892550"/>
                  <a:gd name="connsiteX1" fmla="*/ 2070100 w 2406650"/>
                  <a:gd name="connsiteY1" fmla="*/ 660400 h 3892550"/>
                  <a:gd name="connsiteX2" fmla="*/ 2146300 w 2406650"/>
                  <a:gd name="connsiteY2" fmla="*/ 927100 h 3892550"/>
                  <a:gd name="connsiteX3" fmla="*/ 2216150 w 2406650"/>
                  <a:gd name="connsiteY3" fmla="*/ 1028700 h 3892550"/>
                  <a:gd name="connsiteX4" fmla="*/ 2266950 w 2406650"/>
                  <a:gd name="connsiteY4" fmla="*/ 1066800 h 3892550"/>
                  <a:gd name="connsiteX5" fmla="*/ 2292350 w 2406650"/>
                  <a:gd name="connsiteY5" fmla="*/ 1104900 h 3892550"/>
                  <a:gd name="connsiteX6" fmla="*/ 2324100 w 2406650"/>
                  <a:gd name="connsiteY6" fmla="*/ 1219200 h 3892550"/>
                  <a:gd name="connsiteX7" fmla="*/ 2336800 w 2406650"/>
                  <a:gd name="connsiteY7" fmla="*/ 1390650 h 3892550"/>
                  <a:gd name="connsiteX8" fmla="*/ 2343150 w 2406650"/>
                  <a:gd name="connsiteY8" fmla="*/ 1568450 h 3892550"/>
                  <a:gd name="connsiteX9" fmla="*/ 2381250 w 2406650"/>
                  <a:gd name="connsiteY9" fmla="*/ 1809750 h 3892550"/>
                  <a:gd name="connsiteX10" fmla="*/ 2406650 w 2406650"/>
                  <a:gd name="connsiteY10" fmla="*/ 1924050 h 3892550"/>
                  <a:gd name="connsiteX11" fmla="*/ 2381250 w 2406650"/>
                  <a:gd name="connsiteY11" fmla="*/ 2032000 h 3892550"/>
                  <a:gd name="connsiteX12" fmla="*/ 2292350 w 2406650"/>
                  <a:gd name="connsiteY12" fmla="*/ 2082800 h 3892550"/>
                  <a:gd name="connsiteX13" fmla="*/ 2190750 w 2406650"/>
                  <a:gd name="connsiteY13" fmla="*/ 2095500 h 3892550"/>
                  <a:gd name="connsiteX14" fmla="*/ 2133600 w 2406650"/>
                  <a:gd name="connsiteY14" fmla="*/ 2159000 h 3892550"/>
                  <a:gd name="connsiteX15" fmla="*/ 2120900 w 2406650"/>
                  <a:gd name="connsiteY15" fmla="*/ 2298700 h 3892550"/>
                  <a:gd name="connsiteX16" fmla="*/ 1911350 w 2406650"/>
                  <a:gd name="connsiteY16" fmla="*/ 2609850 h 3892550"/>
                  <a:gd name="connsiteX17" fmla="*/ 1625600 w 2406650"/>
                  <a:gd name="connsiteY17" fmla="*/ 2857500 h 3892550"/>
                  <a:gd name="connsiteX18" fmla="*/ 1168400 w 2406650"/>
                  <a:gd name="connsiteY18" fmla="*/ 3187700 h 3892550"/>
                  <a:gd name="connsiteX19" fmla="*/ 825500 w 2406650"/>
                  <a:gd name="connsiteY19" fmla="*/ 3359150 h 3892550"/>
                  <a:gd name="connsiteX20" fmla="*/ 590550 w 2406650"/>
                  <a:gd name="connsiteY20" fmla="*/ 3473450 h 3892550"/>
                  <a:gd name="connsiteX21" fmla="*/ 374650 w 2406650"/>
                  <a:gd name="connsiteY21" fmla="*/ 3549650 h 3892550"/>
                  <a:gd name="connsiteX22" fmla="*/ 292100 w 2406650"/>
                  <a:gd name="connsiteY22" fmla="*/ 3638550 h 3892550"/>
                  <a:gd name="connsiteX23" fmla="*/ 241300 w 2406650"/>
                  <a:gd name="connsiteY23" fmla="*/ 3784600 h 3892550"/>
                  <a:gd name="connsiteX24" fmla="*/ 107950 w 2406650"/>
                  <a:gd name="connsiteY24" fmla="*/ 3854450 h 3892550"/>
                  <a:gd name="connsiteX25" fmla="*/ 0 w 2406650"/>
                  <a:gd name="connsiteY25" fmla="*/ 3892550 h 3892550"/>
                  <a:gd name="connsiteX0" fmla="*/ 1885950 w 2406650"/>
                  <a:gd name="connsiteY0" fmla="*/ 0 h 3892550"/>
                  <a:gd name="connsiteX1" fmla="*/ 2070100 w 2406650"/>
                  <a:gd name="connsiteY1" fmla="*/ 660400 h 3892550"/>
                  <a:gd name="connsiteX2" fmla="*/ 2146300 w 2406650"/>
                  <a:gd name="connsiteY2" fmla="*/ 927100 h 3892550"/>
                  <a:gd name="connsiteX3" fmla="*/ 2216150 w 2406650"/>
                  <a:gd name="connsiteY3" fmla="*/ 1028700 h 3892550"/>
                  <a:gd name="connsiteX4" fmla="*/ 2266950 w 2406650"/>
                  <a:gd name="connsiteY4" fmla="*/ 1066800 h 3892550"/>
                  <a:gd name="connsiteX5" fmla="*/ 2292350 w 2406650"/>
                  <a:gd name="connsiteY5" fmla="*/ 1104900 h 3892550"/>
                  <a:gd name="connsiteX6" fmla="*/ 2324100 w 2406650"/>
                  <a:gd name="connsiteY6" fmla="*/ 1219200 h 3892550"/>
                  <a:gd name="connsiteX7" fmla="*/ 2336800 w 2406650"/>
                  <a:gd name="connsiteY7" fmla="*/ 1390650 h 3892550"/>
                  <a:gd name="connsiteX8" fmla="*/ 2343150 w 2406650"/>
                  <a:gd name="connsiteY8" fmla="*/ 1568450 h 3892550"/>
                  <a:gd name="connsiteX9" fmla="*/ 2381250 w 2406650"/>
                  <a:gd name="connsiteY9" fmla="*/ 1809750 h 3892550"/>
                  <a:gd name="connsiteX10" fmla="*/ 2406650 w 2406650"/>
                  <a:gd name="connsiteY10" fmla="*/ 1924050 h 3892550"/>
                  <a:gd name="connsiteX11" fmla="*/ 2381250 w 2406650"/>
                  <a:gd name="connsiteY11" fmla="*/ 2032000 h 3892550"/>
                  <a:gd name="connsiteX12" fmla="*/ 2292350 w 2406650"/>
                  <a:gd name="connsiteY12" fmla="*/ 2082800 h 3892550"/>
                  <a:gd name="connsiteX13" fmla="*/ 2190750 w 2406650"/>
                  <a:gd name="connsiteY13" fmla="*/ 2095500 h 3892550"/>
                  <a:gd name="connsiteX14" fmla="*/ 2133600 w 2406650"/>
                  <a:gd name="connsiteY14" fmla="*/ 2159000 h 3892550"/>
                  <a:gd name="connsiteX15" fmla="*/ 1911350 w 2406650"/>
                  <a:gd name="connsiteY15" fmla="*/ 2609850 h 3892550"/>
                  <a:gd name="connsiteX16" fmla="*/ 1625600 w 2406650"/>
                  <a:gd name="connsiteY16" fmla="*/ 2857500 h 3892550"/>
                  <a:gd name="connsiteX17" fmla="*/ 1168400 w 2406650"/>
                  <a:gd name="connsiteY17" fmla="*/ 3187700 h 3892550"/>
                  <a:gd name="connsiteX18" fmla="*/ 825500 w 2406650"/>
                  <a:gd name="connsiteY18" fmla="*/ 3359150 h 3892550"/>
                  <a:gd name="connsiteX19" fmla="*/ 590550 w 2406650"/>
                  <a:gd name="connsiteY19" fmla="*/ 3473450 h 3892550"/>
                  <a:gd name="connsiteX20" fmla="*/ 374650 w 2406650"/>
                  <a:gd name="connsiteY20" fmla="*/ 3549650 h 3892550"/>
                  <a:gd name="connsiteX21" fmla="*/ 292100 w 2406650"/>
                  <a:gd name="connsiteY21" fmla="*/ 3638550 h 3892550"/>
                  <a:gd name="connsiteX22" fmla="*/ 241300 w 2406650"/>
                  <a:gd name="connsiteY22" fmla="*/ 3784600 h 3892550"/>
                  <a:gd name="connsiteX23" fmla="*/ 107950 w 2406650"/>
                  <a:gd name="connsiteY23" fmla="*/ 3854450 h 3892550"/>
                  <a:gd name="connsiteX24" fmla="*/ 0 w 2406650"/>
                  <a:gd name="connsiteY24" fmla="*/ 3892550 h 3892550"/>
                  <a:gd name="connsiteX0" fmla="*/ 1778000 w 2298700"/>
                  <a:gd name="connsiteY0" fmla="*/ 0 h 3854450"/>
                  <a:gd name="connsiteX1" fmla="*/ 1962150 w 2298700"/>
                  <a:gd name="connsiteY1" fmla="*/ 660400 h 3854450"/>
                  <a:gd name="connsiteX2" fmla="*/ 2038350 w 2298700"/>
                  <a:gd name="connsiteY2" fmla="*/ 927100 h 3854450"/>
                  <a:gd name="connsiteX3" fmla="*/ 2108200 w 2298700"/>
                  <a:gd name="connsiteY3" fmla="*/ 1028700 h 3854450"/>
                  <a:gd name="connsiteX4" fmla="*/ 2159000 w 2298700"/>
                  <a:gd name="connsiteY4" fmla="*/ 1066800 h 3854450"/>
                  <a:gd name="connsiteX5" fmla="*/ 2184400 w 2298700"/>
                  <a:gd name="connsiteY5" fmla="*/ 1104900 h 3854450"/>
                  <a:gd name="connsiteX6" fmla="*/ 2216150 w 2298700"/>
                  <a:gd name="connsiteY6" fmla="*/ 1219200 h 3854450"/>
                  <a:gd name="connsiteX7" fmla="*/ 2228850 w 2298700"/>
                  <a:gd name="connsiteY7" fmla="*/ 1390650 h 3854450"/>
                  <a:gd name="connsiteX8" fmla="*/ 2235200 w 2298700"/>
                  <a:gd name="connsiteY8" fmla="*/ 1568450 h 3854450"/>
                  <a:gd name="connsiteX9" fmla="*/ 2273300 w 2298700"/>
                  <a:gd name="connsiteY9" fmla="*/ 1809750 h 3854450"/>
                  <a:gd name="connsiteX10" fmla="*/ 2298700 w 2298700"/>
                  <a:gd name="connsiteY10" fmla="*/ 1924050 h 3854450"/>
                  <a:gd name="connsiteX11" fmla="*/ 2273300 w 2298700"/>
                  <a:gd name="connsiteY11" fmla="*/ 2032000 h 3854450"/>
                  <a:gd name="connsiteX12" fmla="*/ 2184400 w 2298700"/>
                  <a:gd name="connsiteY12" fmla="*/ 2082800 h 3854450"/>
                  <a:gd name="connsiteX13" fmla="*/ 2082800 w 2298700"/>
                  <a:gd name="connsiteY13" fmla="*/ 2095500 h 3854450"/>
                  <a:gd name="connsiteX14" fmla="*/ 2025650 w 2298700"/>
                  <a:gd name="connsiteY14" fmla="*/ 2159000 h 3854450"/>
                  <a:gd name="connsiteX15" fmla="*/ 1803400 w 2298700"/>
                  <a:gd name="connsiteY15" fmla="*/ 2609850 h 3854450"/>
                  <a:gd name="connsiteX16" fmla="*/ 1517650 w 2298700"/>
                  <a:gd name="connsiteY16" fmla="*/ 2857500 h 3854450"/>
                  <a:gd name="connsiteX17" fmla="*/ 1060450 w 2298700"/>
                  <a:gd name="connsiteY17" fmla="*/ 3187700 h 3854450"/>
                  <a:gd name="connsiteX18" fmla="*/ 717550 w 2298700"/>
                  <a:gd name="connsiteY18" fmla="*/ 3359150 h 3854450"/>
                  <a:gd name="connsiteX19" fmla="*/ 482600 w 2298700"/>
                  <a:gd name="connsiteY19" fmla="*/ 3473450 h 3854450"/>
                  <a:gd name="connsiteX20" fmla="*/ 266700 w 2298700"/>
                  <a:gd name="connsiteY20" fmla="*/ 3549650 h 3854450"/>
                  <a:gd name="connsiteX21" fmla="*/ 184150 w 2298700"/>
                  <a:gd name="connsiteY21" fmla="*/ 3638550 h 3854450"/>
                  <a:gd name="connsiteX22" fmla="*/ 133350 w 2298700"/>
                  <a:gd name="connsiteY22" fmla="*/ 3784600 h 3854450"/>
                  <a:gd name="connsiteX23" fmla="*/ 0 w 2298700"/>
                  <a:gd name="connsiteY23" fmla="*/ 3854450 h 3854450"/>
                  <a:gd name="connsiteX0" fmla="*/ 1778000 w 2298700"/>
                  <a:gd name="connsiteY0" fmla="*/ 0 h 3854450"/>
                  <a:gd name="connsiteX1" fmla="*/ 1962150 w 2298700"/>
                  <a:gd name="connsiteY1" fmla="*/ 660400 h 3854450"/>
                  <a:gd name="connsiteX2" fmla="*/ 2038350 w 2298700"/>
                  <a:gd name="connsiteY2" fmla="*/ 927100 h 3854450"/>
                  <a:gd name="connsiteX3" fmla="*/ 2108200 w 2298700"/>
                  <a:gd name="connsiteY3" fmla="*/ 1028700 h 3854450"/>
                  <a:gd name="connsiteX4" fmla="*/ 2159000 w 2298700"/>
                  <a:gd name="connsiteY4" fmla="*/ 1066800 h 3854450"/>
                  <a:gd name="connsiteX5" fmla="*/ 2184400 w 2298700"/>
                  <a:gd name="connsiteY5" fmla="*/ 1104900 h 3854450"/>
                  <a:gd name="connsiteX6" fmla="*/ 2216150 w 2298700"/>
                  <a:gd name="connsiteY6" fmla="*/ 1219200 h 3854450"/>
                  <a:gd name="connsiteX7" fmla="*/ 2228850 w 2298700"/>
                  <a:gd name="connsiteY7" fmla="*/ 1390650 h 3854450"/>
                  <a:gd name="connsiteX8" fmla="*/ 2235200 w 2298700"/>
                  <a:gd name="connsiteY8" fmla="*/ 1568450 h 3854450"/>
                  <a:gd name="connsiteX9" fmla="*/ 2273300 w 2298700"/>
                  <a:gd name="connsiteY9" fmla="*/ 1809750 h 3854450"/>
                  <a:gd name="connsiteX10" fmla="*/ 2298700 w 2298700"/>
                  <a:gd name="connsiteY10" fmla="*/ 1924050 h 3854450"/>
                  <a:gd name="connsiteX11" fmla="*/ 2273300 w 2298700"/>
                  <a:gd name="connsiteY11" fmla="*/ 2032000 h 3854450"/>
                  <a:gd name="connsiteX12" fmla="*/ 2184400 w 2298700"/>
                  <a:gd name="connsiteY12" fmla="*/ 2082800 h 3854450"/>
                  <a:gd name="connsiteX13" fmla="*/ 2082800 w 2298700"/>
                  <a:gd name="connsiteY13" fmla="*/ 2095500 h 3854450"/>
                  <a:gd name="connsiteX14" fmla="*/ 2025650 w 2298700"/>
                  <a:gd name="connsiteY14" fmla="*/ 2159000 h 3854450"/>
                  <a:gd name="connsiteX15" fmla="*/ 1517650 w 2298700"/>
                  <a:gd name="connsiteY15" fmla="*/ 2857500 h 3854450"/>
                  <a:gd name="connsiteX16" fmla="*/ 1060450 w 2298700"/>
                  <a:gd name="connsiteY16" fmla="*/ 3187700 h 3854450"/>
                  <a:gd name="connsiteX17" fmla="*/ 717550 w 2298700"/>
                  <a:gd name="connsiteY17" fmla="*/ 3359150 h 3854450"/>
                  <a:gd name="connsiteX18" fmla="*/ 482600 w 2298700"/>
                  <a:gd name="connsiteY18" fmla="*/ 3473450 h 3854450"/>
                  <a:gd name="connsiteX19" fmla="*/ 266700 w 2298700"/>
                  <a:gd name="connsiteY19" fmla="*/ 3549650 h 3854450"/>
                  <a:gd name="connsiteX20" fmla="*/ 184150 w 2298700"/>
                  <a:gd name="connsiteY20" fmla="*/ 3638550 h 3854450"/>
                  <a:gd name="connsiteX21" fmla="*/ 133350 w 2298700"/>
                  <a:gd name="connsiteY21" fmla="*/ 3784600 h 3854450"/>
                  <a:gd name="connsiteX22" fmla="*/ 0 w 2298700"/>
                  <a:gd name="connsiteY22" fmla="*/ 3854450 h 3854450"/>
                  <a:gd name="connsiteX0" fmla="*/ 1644650 w 2165350"/>
                  <a:gd name="connsiteY0" fmla="*/ 0 h 3784600"/>
                  <a:gd name="connsiteX1" fmla="*/ 1828800 w 2165350"/>
                  <a:gd name="connsiteY1" fmla="*/ 660400 h 3784600"/>
                  <a:gd name="connsiteX2" fmla="*/ 1905000 w 2165350"/>
                  <a:gd name="connsiteY2" fmla="*/ 927100 h 3784600"/>
                  <a:gd name="connsiteX3" fmla="*/ 1974850 w 2165350"/>
                  <a:gd name="connsiteY3" fmla="*/ 1028700 h 3784600"/>
                  <a:gd name="connsiteX4" fmla="*/ 2025650 w 2165350"/>
                  <a:gd name="connsiteY4" fmla="*/ 1066800 h 3784600"/>
                  <a:gd name="connsiteX5" fmla="*/ 2051050 w 2165350"/>
                  <a:gd name="connsiteY5" fmla="*/ 1104900 h 3784600"/>
                  <a:gd name="connsiteX6" fmla="*/ 2082800 w 2165350"/>
                  <a:gd name="connsiteY6" fmla="*/ 1219200 h 3784600"/>
                  <a:gd name="connsiteX7" fmla="*/ 2095500 w 2165350"/>
                  <a:gd name="connsiteY7" fmla="*/ 1390650 h 3784600"/>
                  <a:gd name="connsiteX8" fmla="*/ 2101850 w 2165350"/>
                  <a:gd name="connsiteY8" fmla="*/ 1568450 h 3784600"/>
                  <a:gd name="connsiteX9" fmla="*/ 2139950 w 2165350"/>
                  <a:gd name="connsiteY9" fmla="*/ 1809750 h 3784600"/>
                  <a:gd name="connsiteX10" fmla="*/ 2165350 w 2165350"/>
                  <a:gd name="connsiteY10" fmla="*/ 1924050 h 3784600"/>
                  <a:gd name="connsiteX11" fmla="*/ 2139950 w 2165350"/>
                  <a:gd name="connsiteY11" fmla="*/ 2032000 h 3784600"/>
                  <a:gd name="connsiteX12" fmla="*/ 2051050 w 2165350"/>
                  <a:gd name="connsiteY12" fmla="*/ 2082800 h 3784600"/>
                  <a:gd name="connsiteX13" fmla="*/ 1949450 w 2165350"/>
                  <a:gd name="connsiteY13" fmla="*/ 2095500 h 3784600"/>
                  <a:gd name="connsiteX14" fmla="*/ 1892300 w 2165350"/>
                  <a:gd name="connsiteY14" fmla="*/ 2159000 h 3784600"/>
                  <a:gd name="connsiteX15" fmla="*/ 1384300 w 2165350"/>
                  <a:gd name="connsiteY15" fmla="*/ 2857500 h 3784600"/>
                  <a:gd name="connsiteX16" fmla="*/ 927100 w 2165350"/>
                  <a:gd name="connsiteY16" fmla="*/ 3187700 h 3784600"/>
                  <a:gd name="connsiteX17" fmla="*/ 584200 w 2165350"/>
                  <a:gd name="connsiteY17" fmla="*/ 3359150 h 3784600"/>
                  <a:gd name="connsiteX18" fmla="*/ 349250 w 2165350"/>
                  <a:gd name="connsiteY18" fmla="*/ 3473450 h 3784600"/>
                  <a:gd name="connsiteX19" fmla="*/ 133350 w 2165350"/>
                  <a:gd name="connsiteY19" fmla="*/ 3549650 h 3784600"/>
                  <a:gd name="connsiteX20" fmla="*/ 50800 w 2165350"/>
                  <a:gd name="connsiteY20" fmla="*/ 3638550 h 3784600"/>
                  <a:gd name="connsiteX21" fmla="*/ 0 w 2165350"/>
                  <a:gd name="connsiteY21" fmla="*/ 3784600 h 3784600"/>
                  <a:gd name="connsiteX0" fmla="*/ 1593850 w 2114550"/>
                  <a:gd name="connsiteY0" fmla="*/ 0 h 3638550"/>
                  <a:gd name="connsiteX1" fmla="*/ 1778000 w 2114550"/>
                  <a:gd name="connsiteY1" fmla="*/ 660400 h 3638550"/>
                  <a:gd name="connsiteX2" fmla="*/ 1854200 w 2114550"/>
                  <a:gd name="connsiteY2" fmla="*/ 927100 h 3638550"/>
                  <a:gd name="connsiteX3" fmla="*/ 1924050 w 2114550"/>
                  <a:gd name="connsiteY3" fmla="*/ 1028700 h 3638550"/>
                  <a:gd name="connsiteX4" fmla="*/ 1974850 w 2114550"/>
                  <a:gd name="connsiteY4" fmla="*/ 1066800 h 3638550"/>
                  <a:gd name="connsiteX5" fmla="*/ 2000250 w 2114550"/>
                  <a:gd name="connsiteY5" fmla="*/ 1104900 h 3638550"/>
                  <a:gd name="connsiteX6" fmla="*/ 2032000 w 2114550"/>
                  <a:gd name="connsiteY6" fmla="*/ 1219200 h 3638550"/>
                  <a:gd name="connsiteX7" fmla="*/ 2044700 w 2114550"/>
                  <a:gd name="connsiteY7" fmla="*/ 1390650 h 3638550"/>
                  <a:gd name="connsiteX8" fmla="*/ 2051050 w 2114550"/>
                  <a:gd name="connsiteY8" fmla="*/ 1568450 h 3638550"/>
                  <a:gd name="connsiteX9" fmla="*/ 2089150 w 2114550"/>
                  <a:gd name="connsiteY9" fmla="*/ 1809750 h 3638550"/>
                  <a:gd name="connsiteX10" fmla="*/ 2114550 w 2114550"/>
                  <a:gd name="connsiteY10" fmla="*/ 1924050 h 3638550"/>
                  <a:gd name="connsiteX11" fmla="*/ 2089150 w 2114550"/>
                  <a:gd name="connsiteY11" fmla="*/ 2032000 h 3638550"/>
                  <a:gd name="connsiteX12" fmla="*/ 2000250 w 2114550"/>
                  <a:gd name="connsiteY12" fmla="*/ 2082800 h 3638550"/>
                  <a:gd name="connsiteX13" fmla="*/ 1898650 w 2114550"/>
                  <a:gd name="connsiteY13" fmla="*/ 2095500 h 3638550"/>
                  <a:gd name="connsiteX14" fmla="*/ 1841500 w 2114550"/>
                  <a:gd name="connsiteY14" fmla="*/ 2159000 h 3638550"/>
                  <a:gd name="connsiteX15" fmla="*/ 1333500 w 2114550"/>
                  <a:gd name="connsiteY15" fmla="*/ 2857500 h 3638550"/>
                  <a:gd name="connsiteX16" fmla="*/ 876300 w 2114550"/>
                  <a:gd name="connsiteY16" fmla="*/ 3187700 h 3638550"/>
                  <a:gd name="connsiteX17" fmla="*/ 533400 w 2114550"/>
                  <a:gd name="connsiteY17" fmla="*/ 3359150 h 3638550"/>
                  <a:gd name="connsiteX18" fmla="*/ 298450 w 2114550"/>
                  <a:gd name="connsiteY18" fmla="*/ 3473450 h 3638550"/>
                  <a:gd name="connsiteX19" fmla="*/ 82550 w 2114550"/>
                  <a:gd name="connsiteY19" fmla="*/ 3549650 h 3638550"/>
                  <a:gd name="connsiteX20" fmla="*/ 0 w 2114550"/>
                  <a:gd name="connsiteY20" fmla="*/ 3638550 h 3638550"/>
                  <a:gd name="connsiteX0" fmla="*/ 1511300 w 2032000"/>
                  <a:gd name="connsiteY0" fmla="*/ 0 h 3549650"/>
                  <a:gd name="connsiteX1" fmla="*/ 1695450 w 2032000"/>
                  <a:gd name="connsiteY1" fmla="*/ 660400 h 3549650"/>
                  <a:gd name="connsiteX2" fmla="*/ 1771650 w 2032000"/>
                  <a:gd name="connsiteY2" fmla="*/ 927100 h 3549650"/>
                  <a:gd name="connsiteX3" fmla="*/ 1841500 w 2032000"/>
                  <a:gd name="connsiteY3" fmla="*/ 1028700 h 3549650"/>
                  <a:gd name="connsiteX4" fmla="*/ 1892300 w 2032000"/>
                  <a:gd name="connsiteY4" fmla="*/ 1066800 h 3549650"/>
                  <a:gd name="connsiteX5" fmla="*/ 1917700 w 2032000"/>
                  <a:gd name="connsiteY5" fmla="*/ 1104900 h 3549650"/>
                  <a:gd name="connsiteX6" fmla="*/ 1949450 w 2032000"/>
                  <a:gd name="connsiteY6" fmla="*/ 1219200 h 3549650"/>
                  <a:gd name="connsiteX7" fmla="*/ 1962150 w 2032000"/>
                  <a:gd name="connsiteY7" fmla="*/ 1390650 h 3549650"/>
                  <a:gd name="connsiteX8" fmla="*/ 1968500 w 2032000"/>
                  <a:gd name="connsiteY8" fmla="*/ 1568450 h 3549650"/>
                  <a:gd name="connsiteX9" fmla="*/ 2006600 w 2032000"/>
                  <a:gd name="connsiteY9" fmla="*/ 1809750 h 3549650"/>
                  <a:gd name="connsiteX10" fmla="*/ 2032000 w 2032000"/>
                  <a:gd name="connsiteY10" fmla="*/ 1924050 h 3549650"/>
                  <a:gd name="connsiteX11" fmla="*/ 2006600 w 2032000"/>
                  <a:gd name="connsiteY11" fmla="*/ 2032000 h 3549650"/>
                  <a:gd name="connsiteX12" fmla="*/ 1917700 w 2032000"/>
                  <a:gd name="connsiteY12" fmla="*/ 2082800 h 3549650"/>
                  <a:gd name="connsiteX13" fmla="*/ 1816100 w 2032000"/>
                  <a:gd name="connsiteY13" fmla="*/ 2095500 h 3549650"/>
                  <a:gd name="connsiteX14" fmla="*/ 1758950 w 2032000"/>
                  <a:gd name="connsiteY14" fmla="*/ 2159000 h 3549650"/>
                  <a:gd name="connsiteX15" fmla="*/ 1250950 w 2032000"/>
                  <a:gd name="connsiteY15" fmla="*/ 2857500 h 3549650"/>
                  <a:gd name="connsiteX16" fmla="*/ 793750 w 2032000"/>
                  <a:gd name="connsiteY16" fmla="*/ 3187700 h 3549650"/>
                  <a:gd name="connsiteX17" fmla="*/ 450850 w 2032000"/>
                  <a:gd name="connsiteY17" fmla="*/ 3359150 h 3549650"/>
                  <a:gd name="connsiteX18" fmla="*/ 215900 w 2032000"/>
                  <a:gd name="connsiteY18" fmla="*/ 3473450 h 3549650"/>
                  <a:gd name="connsiteX19" fmla="*/ 0 w 2032000"/>
                  <a:gd name="connsiteY19" fmla="*/ 3549650 h 3549650"/>
                  <a:gd name="connsiteX0" fmla="*/ 1295400 w 1816100"/>
                  <a:gd name="connsiteY0" fmla="*/ 0 h 3473450"/>
                  <a:gd name="connsiteX1" fmla="*/ 1479550 w 1816100"/>
                  <a:gd name="connsiteY1" fmla="*/ 660400 h 3473450"/>
                  <a:gd name="connsiteX2" fmla="*/ 1555750 w 1816100"/>
                  <a:gd name="connsiteY2" fmla="*/ 927100 h 3473450"/>
                  <a:gd name="connsiteX3" fmla="*/ 1625600 w 1816100"/>
                  <a:gd name="connsiteY3" fmla="*/ 1028700 h 3473450"/>
                  <a:gd name="connsiteX4" fmla="*/ 1676400 w 1816100"/>
                  <a:gd name="connsiteY4" fmla="*/ 1066800 h 3473450"/>
                  <a:gd name="connsiteX5" fmla="*/ 1701800 w 1816100"/>
                  <a:gd name="connsiteY5" fmla="*/ 1104900 h 3473450"/>
                  <a:gd name="connsiteX6" fmla="*/ 1733550 w 1816100"/>
                  <a:gd name="connsiteY6" fmla="*/ 1219200 h 3473450"/>
                  <a:gd name="connsiteX7" fmla="*/ 1746250 w 1816100"/>
                  <a:gd name="connsiteY7" fmla="*/ 1390650 h 3473450"/>
                  <a:gd name="connsiteX8" fmla="*/ 1752600 w 1816100"/>
                  <a:gd name="connsiteY8" fmla="*/ 1568450 h 3473450"/>
                  <a:gd name="connsiteX9" fmla="*/ 1790700 w 1816100"/>
                  <a:gd name="connsiteY9" fmla="*/ 1809750 h 3473450"/>
                  <a:gd name="connsiteX10" fmla="*/ 1816100 w 1816100"/>
                  <a:gd name="connsiteY10" fmla="*/ 1924050 h 3473450"/>
                  <a:gd name="connsiteX11" fmla="*/ 1790700 w 1816100"/>
                  <a:gd name="connsiteY11" fmla="*/ 2032000 h 3473450"/>
                  <a:gd name="connsiteX12" fmla="*/ 1701800 w 1816100"/>
                  <a:gd name="connsiteY12" fmla="*/ 2082800 h 3473450"/>
                  <a:gd name="connsiteX13" fmla="*/ 1600200 w 1816100"/>
                  <a:gd name="connsiteY13" fmla="*/ 2095500 h 3473450"/>
                  <a:gd name="connsiteX14" fmla="*/ 1543050 w 1816100"/>
                  <a:gd name="connsiteY14" fmla="*/ 2159000 h 3473450"/>
                  <a:gd name="connsiteX15" fmla="*/ 1035050 w 1816100"/>
                  <a:gd name="connsiteY15" fmla="*/ 2857500 h 3473450"/>
                  <a:gd name="connsiteX16" fmla="*/ 577850 w 1816100"/>
                  <a:gd name="connsiteY16" fmla="*/ 3187700 h 3473450"/>
                  <a:gd name="connsiteX17" fmla="*/ 234950 w 1816100"/>
                  <a:gd name="connsiteY17" fmla="*/ 3359150 h 3473450"/>
                  <a:gd name="connsiteX18" fmla="*/ 0 w 1816100"/>
                  <a:gd name="connsiteY18" fmla="*/ 3473450 h 3473450"/>
                  <a:gd name="connsiteX0" fmla="*/ 1060450 w 1581150"/>
                  <a:gd name="connsiteY0" fmla="*/ 0 h 3359150"/>
                  <a:gd name="connsiteX1" fmla="*/ 1244600 w 1581150"/>
                  <a:gd name="connsiteY1" fmla="*/ 660400 h 3359150"/>
                  <a:gd name="connsiteX2" fmla="*/ 1320800 w 1581150"/>
                  <a:gd name="connsiteY2" fmla="*/ 927100 h 3359150"/>
                  <a:gd name="connsiteX3" fmla="*/ 1390650 w 1581150"/>
                  <a:gd name="connsiteY3" fmla="*/ 1028700 h 3359150"/>
                  <a:gd name="connsiteX4" fmla="*/ 1441450 w 1581150"/>
                  <a:gd name="connsiteY4" fmla="*/ 1066800 h 3359150"/>
                  <a:gd name="connsiteX5" fmla="*/ 1466850 w 1581150"/>
                  <a:gd name="connsiteY5" fmla="*/ 1104900 h 3359150"/>
                  <a:gd name="connsiteX6" fmla="*/ 1498600 w 1581150"/>
                  <a:gd name="connsiteY6" fmla="*/ 1219200 h 3359150"/>
                  <a:gd name="connsiteX7" fmla="*/ 1511300 w 1581150"/>
                  <a:gd name="connsiteY7" fmla="*/ 1390650 h 3359150"/>
                  <a:gd name="connsiteX8" fmla="*/ 1517650 w 1581150"/>
                  <a:gd name="connsiteY8" fmla="*/ 1568450 h 3359150"/>
                  <a:gd name="connsiteX9" fmla="*/ 1555750 w 1581150"/>
                  <a:gd name="connsiteY9" fmla="*/ 1809750 h 3359150"/>
                  <a:gd name="connsiteX10" fmla="*/ 1581150 w 1581150"/>
                  <a:gd name="connsiteY10" fmla="*/ 1924050 h 3359150"/>
                  <a:gd name="connsiteX11" fmla="*/ 1555750 w 1581150"/>
                  <a:gd name="connsiteY11" fmla="*/ 2032000 h 3359150"/>
                  <a:gd name="connsiteX12" fmla="*/ 1466850 w 1581150"/>
                  <a:gd name="connsiteY12" fmla="*/ 2082800 h 3359150"/>
                  <a:gd name="connsiteX13" fmla="*/ 1365250 w 1581150"/>
                  <a:gd name="connsiteY13" fmla="*/ 2095500 h 3359150"/>
                  <a:gd name="connsiteX14" fmla="*/ 1308100 w 1581150"/>
                  <a:gd name="connsiteY14" fmla="*/ 2159000 h 3359150"/>
                  <a:gd name="connsiteX15" fmla="*/ 800100 w 1581150"/>
                  <a:gd name="connsiteY15" fmla="*/ 2857500 h 3359150"/>
                  <a:gd name="connsiteX16" fmla="*/ 342900 w 1581150"/>
                  <a:gd name="connsiteY16" fmla="*/ 3187700 h 3359150"/>
                  <a:gd name="connsiteX17" fmla="*/ 0 w 1581150"/>
                  <a:gd name="connsiteY17" fmla="*/ 3359150 h 3359150"/>
                  <a:gd name="connsiteX0" fmla="*/ 717550 w 1238250"/>
                  <a:gd name="connsiteY0" fmla="*/ 0 h 3187700"/>
                  <a:gd name="connsiteX1" fmla="*/ 901700 w 1238250"/>
                  <a:gd name="connsiteY1" fmla="*/ 660400 h 3187700"/>
                  <a:gd name="connsiteX2" fmla="*/ 977900 w 1238250"/>
                  <a:gd name="connsiteY2" fmla="*/ 927100 h 3187700"/>
                  <a:gd name="connsiteX3" fmla="*/ 1047750 w 1238250"/>
                  <a:gd name="connsiteY3" fmla="*/ 1028700 h 3187700"/>
                  <a:gd name="connsiteX4" fmla="*/ 1098550 w 1238250"/>
                  <a:gd name="connsiteY4" fmla="*/ 1066800 h 3187700"/>
                  <a:gd name="connsiteX5" fmla="*/ 1123950 w 1238250"/>
                  <a:gd name="connsiteY5" fmla="*/ 1104900 h 3187700"/>
                  <a:gd name="connsiteX6" fmla="*/ 1155700 w 1238250"/>
                  <a:gd name="connsiteY6" fmla="*/ 1219200 h 3187700"/>
                  <a:gd name="connsiteX7" fmla="*/ 1168400 w 1238250"/>
                  <a:gd name="connsiteY7" fmla="*/ 1390650 h 3187700"/>
                  <a:gd name="connsiteX8" fmla="*/ 1174750 w 1238250"/>
                  <a:gd name="connsiteY8" fmla="*/ 1568450 h 3187700"/>
                  <a:gd name="connsiteX9" fmla="*/ 1212850 w 1238250"/>
                  <a:gd name="connsiteY9" fmla="*/ 1809750 h 3187700"/>
                  <a:gd name="connsiteX10" fmla="*/ 1238250 w 1238250"/>
                  <a:gd name="connsiteY10" fmla="*/ 1924050 h 3187700"/>
                  <a:gd name="connsiteX11" fmla="*/ 1212850 w 1238250"/>
                  <a:gd name="connsiteY11" fmla="*/ 2032000 h 3187700"/>
                  <a:gd name="connsiteX12" fmla="*/ 1123950 w 1238250"/>
                  <a:gd name="connsiteY12" fmla="*/ 2082800 h 3187700"/>
                  <a:gd name="connsiteX13" fmla="*/ 1022350 w 1238250"/>
                  <a:gd name="connsiteY13" fmla="*/ 2095500 h 3187700"/>
                  <a:gd name="connsiteX14" fmla="*/ 965200 w 1238250"/>
                  <a:gd name="connsiteY14" fmla="*/ 2159000 h 3187700"/>
                  <a:gd name="connsiteX15" fmla="*/ 457200 w 1238250"/>
                  <a:gd name="connsiteY15" fmla="*/ 2857500 h 3187700"/>
                  <a:gd name="connsiteX16" fmla="*/ 0 w 1238250"/>
                  <a:gd name="connsiteY16" fmla="*/ 3187700 h 3187700"/>
                  <a:gd name="connsiteX0" fmla="*/ 260350 w 781050"/>
                  <a:gd name="connsiteY0" fmla="*/ 0 h 2857500"/>
                  <a:gd name="connsiteX1" fmla="*/ 444500 w 781050"/>
                  <a:gd name="connsiteY1" fmla="*/ 660400 h 2857500"/>
                  <a:gd name="connsiteX2" fmla="*/ 520700 w 781050"/>
                  <a:gd name="connsiteY2" fmla="*/ 927100 h 2857500"/>
                  <a:gd name="connsiteX3" fmla="*/ 590550 w 781050"/>
                  <a:gd name="connsiteY3" fmla="*/ 1028700 h 2857500"/>
                  <a:gd name="connsiteX4" fmla="*/ 641350 w 781050"/>
                  <a:gd name="connsiteY4" fmla="*/ 1066800 h 2857500"/>
                  <a:gd name="connsiteX5" fmla="*/ 666750 w 781050"/>
                  <a:gd name="connsiteY5" fmla="*/ 1104900 h 2857500"/>
                  <a:gd name="connsiteX6" fmla="*/ 698500 w 781050"/>
                  <a:gd name="connsiteY6" fmla="*/ 1219200 h 2857500"/>
                  <a:gd name="connsiteX7" fmla="*/ 711200 w 781050"/>
                  <a:gd name="connsiteY7" fmla="*/ 1390650 h 2857500"/>
                  <a:gd name="connsiteX8" fmla="*/ 717550 w 781050"/>
                  <a:gd name="connsiteY8" fmla="*/ 1568450 h 2857500"/>
                  <a:gd name="connsiteX9" fmla="*/ 755650 w 781050"/>
                  <a:gd name="connsiteY9" fmla="*/ 1809750 h 2857500"/>
                  <a:gd name="connsiteX10" fmla="*/ 781050 w 781050"/>
                  <a:gd name="connsiteY10" fmla="*/ 1924050 h 2857500"/>
                  <a:gd name="connsiteX11" fmla="*/ 755650 w 781050"/>
                  <a:gd name="connsiteY11" fmla="*/ 2032000 h 2857500"/>
                  <a:gd name="connsiteX12" fmla="*/ 666750 w 781050"/>
                  <a:gd name="connsiteY12" fmla="*/ 2082800 h 2857500"/>
                  <a:gd name="connsiteX13" fmla="*/ 565150 w 781050"/>
                  <a:gd name="connsiteY13" fmla="*/ 2095500 h 2857500"/>
                  <a:gd name="connsiteX14" fmla="*/ 508000 w 781050"/>
                  <a:gd name="connsiteY14" fmla="*/ 2159000 h 2857500"/>
                  <a:gd name="connsiteX15" fmla="*/ 0 w 781050"/>
                  <a:gd name="connsiteY15" fmla="*/ 2857500 h 2857500"/>
                  <a:gd name="connsiteX0" fmla="*/ 0 w 520700"/>
                  <a:gd name="connsiteY0" fmla="*/ 0 h 2159000"/>
                  <a:gd name="connsiteX1" fmla="*/ 184150 w 520700"/>
                  <a:gd name="connsiteY1" fmla="*/ 660400 h 2159000"/>
                  <a:gd name="connsiteX2" fmla="*/ 260350 w 520700"/>
                  <a:gd name="connsiteY2" fmla="*/ 927100 h 2159000"/>
                  <a:gd name="connsiteX3" fmla="*/ 330200 w 520700"/>
                  <a:gd name="connsiteY3" fmla="*/ 1028700 h 2159000"/>
                  <a:gd name="connsiteX4" fmla="*/ 381000 w 520700"/>
                  <a:gd name="connsiteY4" fmla="*/ 1066800 h 2159000"/>
                  <a:gd name="connsiteX5" fmla="*/ 406400 w 520700"/>
                  <a:gd name="connsiteY5" fmla="*/ 1104900 h 2159000"/>
                  <a:gd name="connsiteX6" fmla="*/ 438150 w 520700"/>
                  <a:gd name="connsiteY6" fmla="*/ 1219200 h 2159000"/>
                  <a:gd name="connsiteX7" fmla="*/ 450850 w 520700"/>
                  <a:gd name="connsiteY7" fmla="*/ 1390650 h 2159000"/>
                  <a:gd name="connsiteX8" fmla="*/ 457200 w 520700"/>
                  <a:gd name="connsiteY8" fmla="*/ 1568450 h 2159000"/>
                  <a:gd name="connsiteX9" fmla="*/ 495300 w 520700"/>
                  <a:gd name="connsiteY9" fmla="*/ 1809750 h 2159000"/>
                  <a:gd name="connsiteX10" fmla="*/ 520700 w 520700"/>
                  <a:gd name="connsiteY10" fmla="*/ 1924050 h 2159000"/>
                  <a:gd name="connsiteX11" fmla="*/ 495300 w 520700"/>
                  <a:gd name="connsiteY11" fmla="*/ 2032000 h 2159000"/>
                  <a:gd name="connsiteX12" fmla="*/ 406400 w 520700"/>
                  <a:gd name="connsiteY12" fmla="*/ 2082800 h 2159000"/>
                  <a:gd name="connsiteX13" fmla="*/ 304800 w 520700"/>
                  <a:gd name="connsiteY13" fmla="*/ 2095500 h 2159000"/>
                  <a:gd name="connsiteX14" fmla="*/ 247650 w 520700"/>
                  <a:gd name="connsiteY14" fmla="*/ 2159000 h 2159000"/>
                  <a:gd name="connsiteX0" fmla="*/ 0 w 520700"/>
                  <a:gd name="connsiteY0" fmla="*/ 0 h 2095500"/>
                  <a:gd name="connsiteX1" fmla="*/ 184150 w 520700"/>
                  <a:gd name="connsiteY1" fmla="*/ 660400 h 2095500"/>
                  <a:gd name="connsiteX2" fmla="*/ 260350 w 520700"/>
                  <a:gd name="connsiteY2" fmla="*/ 927100 h 2095500"/>
                  <a:gd name="connsiteX3" fmla="*/ 330200 w 520700"/>
                  <a:gd name="connsiteY3" fmla="*/ 1028700 h 2095500"/>
                  <a:gd name="connsiteX4" fmla="*/ 381000 w 520700"/>
                  <a:gd name="connsiteY4" fmla="*/ 1066800 h 2095500"/>
                  <a:gd name="connsiteX5" fmla="*/ 406400 w 520700"/>
                  <a:gd name="connsiteY5" fmla="*/ 1104900 h 2095500"/>
                  <a:gd name="connsiteX6" fmla="*/ 438150 w 520700"/>
                  <a:gd name="connsiteY6" fmla="*/ 1219200 h 2095500"/>
                  <a:gd name="connsiteX7" fmla="*/ 450850 w 520700"/>
                  <a:gd name="connsiteY7" fmla="*/ 1390650 h 2095500"/>
                  <a:gd name="connsiteX8" fmla="*/ 457200 w 520700"/>
                  <a:gd name="connsiteY8" fmla="*/ 1568450 h 2095500"/>
                  <a:gd name="connsiteX9" fmla="*/ 495300 w 520700"/>
                  <a:gd name="connsiteY9" fmla="*/ 1809750 h 2095500"/>
                  <a:gd name="connsiteX10" fmla="*/ 520700 w 520700"/>
                  <a:gd name="connsiteY10" fmla="*/ 1924050 h 2095500"/>
                  <a:gd name="connsiteX11" fmla="*/ 495300 w 520700"/>
                  <a:gd name="connsiteY11" fmla="*/ 2032000 h 2095500"/>
                  <a:gd name="connsiteX12" fmla="*/ 406400 w 520700"/>
                  <a:gd name="connsiteY12" fmla="*/ 2082800 h 2095500"/>
                  <a:gd name="connsiteX13" fmla="*/ 304800 w 520700"/>
                  <a:gd name="connsiteY13" fmla="*/ 2095500 h 2095500"/>
                  <a:gd name="connsiteX0" fmla="*/ 0 w 520700"/>
                  <a:gd name="connsiteY0" fmla="*/ 0 h 2082800"/>
                  <a:gd name="connsiteX1" fmla="*/ 184150 w 520700"/>
                  <a:gd name="connsiteY1" fmla="*/ 660400 h 2082800"/>
                  <a:gd name="connsiteX2" fmla="*/ 260350 w 520700"/>
                  <a:gd name="connsiteY2" fmla="*/ 927100 h 2082800"/>
                  <a:gd name="connsiteX3" fmla="*/ 330200 w 520700"/>
                  <a:gd name="connsiteY3" fmla="*/ 1028700 h 2082800"/>
                  <a:gd name="connsiteX4" fmla="*/ 381000 w 520700"/>
                  <a:gd name="connsiteY4" fmla="*/ 1066800 h 2082800"/>
                  <a:gd name="connsiteX5" fmla="*/ 406400 w 520700"/>
                  <a:gd name="connsiteY5" fmla="*/ 1104900 h 2082800"/>
                  <a:gd name="connsiteX6" fmla="*/ 438150 w 520700"/>
                  <a:gd name="connsiteY6" fmla="*/ 1219200 h 2082800"/>
                  <a:gd name="connsiteX7" fmla="*/ 450850 w 520700"/>
                  <a:gd name="connsiteY7" fmla="*/ 1390650 h 2082800"/>
                  <a:gd name="connsiteX8" fmla="*/ 457200 w 520700"/>
                  <a:gd name="connsiteY8" fmla="*/ 1568450 h 2082800"/>
                  <a:gd name="connsiteX9" fmla="*/ 495300 w 520700"/>
                  <a:gd name="connsiteY9" fmla="*/ 1809750 h 2082800"/>
                  <a:gd name="connsiteX10" fmla="*/ 520700 w 520700"/>
                  <a:gd name="connsiteY10" fmla="*/ 1924050 h 2082800"/>
                  <a:gd name="connsiteX11" fmla="*/ 495300 w 520700"/>
                  <a:gd name="connsiteY11" fmla="*/ 2032000 h 2082800"/>
                  <a:gd name="connsiteX12" fmla="*/ 406400 w 520700"/>
                  <a:gd name="connsiteY12" fmla="*/ 2082800 h 2082800"/>
                  <a:gd name="connsiteX0" fmla="*/ 0 w 520700"/>
                  <a:gd name="connsiteY0" fmla="*/ 0 h 2032000"/>
                  <a:gd name="connsiteX1" fmla="*/ 184150 w 520700"/>
                  <a:gd name="connsiteY1" fmla="*/ 660400 h 2032000"/>
                  <a:gd name="connsiteX2" fmla="*/ 260350 w 520700"/>
                  <a:gd name="connsiteY2" fmla="*/ 927100 h 2032000"/>
                  <a:gd name="connsiteX3" fmla="*/ 330200 w 520700"/>
                  <a:gd name="connsiteY3" fmla="*/ 1028700 h 2032000"/>
                  <a:gd name="connsiteX4" fmla="*/ 381000 w 520700"/>
                  <a:gd name="connsiteY4" fmla="*/ 1066800 h 2032000"/>
                  <a:gd name="connsiteX5" fmla="*/ 406400 w 520700"/>
                  <a:gd name="connsiteY5" fmla="*/ 1104900 h 2032000"/>
                  <a:gd name="connsiteX6" fmla="*/ 438150 w 520700"/>
                  <a:gd name="connsiteY6" fmla="*/ 1219200 h 2032000"/>
                  <a:gd name="connsiteX7" fmla="*/ 450850 w 520700"/>
                  <a:gd name="connsiteY7" fmla="*/ 1390650 h 2032000"/>
                  <a:gd name="connsiteX8" fmla="*/ 457200 w 520700"/>
                  <a:gd name="connsiteY8" fmla="*/ 1568450 h 2032000"/>
                  <a:gd name="connsiteX9" fmla="*/ 495300 w 520700"/>
                  <a:gd name="connsiteY9" fmla="*/ 1809750 h 2032000"/>
                  <a:gd name="connsiteX10" fmla="*/ 520700 w 520700"/>
                  <a:gd name="connsiteY10" fmla="*/ 1924050 h 2032000"/>
                  <a:gd name="connsiteX11" fmla="*/ 495300 w 520700"/>
                  <a:gd name="connsiteY11" fmla="*/ 2032000 h 2032000"/>
                  <a:gd name="connsiteX0" fmla="*/ 0 w 520700"/>
                  <a:gd name="connsiteY0" fmla="*/ 0 h 1924050"/>
                  <a:gd name="connsiteX1" fmla="*/ 184150 w 520700"/>
                  <a:gd name="connsiteY1" fmla="*/ 660400 h 1924050"/>
                  <a:gd name="connsiteX2" fmla="*/ 260350 w 520700"/>
                  <a:gd name="connsiteY2" fmla="*/ 927100 h 1924050"/>
                  <a:gd name="connsiteX3" fmla="*/ 330200 w 520700"/>
                  <a:gd name="connsiteY3" fmla="*/ 1028700 h 1924050"/>
                  <a:gd name="connsiteX4" fmla="*/ 381000 w 520700"/>
                  <a:gd name="connsiteY4" fmla="*/ 1066800 h 1924050"/>
                  <a:gd name="connsiteX5" fmla="*/ 406400 w 520700"/>
                  <a:gd name="connsiteY5" fmla="*/ 1104900 h 1924050"/>
                  <a:gd name="connsiteX6" fmla="*/ 438150 w 520700"/>
                  <a:gd name="connsiteY6" fmla="*/ 1219200 h 1924050"/>
                  <a:gd name="connsiteX7" fmla="*/ 450850 w 520700"/>
                  <a:gd name="connsiteY7" fmla="*/ 1390650 h 1924050"/>
                  <a:gd name="connsiteX8" fmla="*/ 457200 w 520700"/>
                  <a:gd name="connsiteY8" fmla="*/ 1568450 h 1924050"/>
                  <a:gd name="connsiteX9" fmla="*/ 495300 w 520700"/>
                  <a:gd name="connsiteY9" fmla="*/ 1809750 h 1924050"/>
                  <a:gd name="connsiteX10" fmla="*/ 520700 w 520700"/>
                  <a:gd name="connsiteY10" fmla="*/ 1924050 h 1924050"/>
                  <a:gd name="connsiteX0" fmla="*/ 0 w 520700"/>
                  <a:gd name="connsiteY0" fmla="*/ 0 h 1890428"/>
                  <a:gd name="connsiteX1" fmla="*/ 184150 w 520700"/>
                  <a:gd name="connsiteY1" fmla="*/ 660400 h 1890428"/>
                  <a:gd name="connsiteX2" fmla="*/ 260350 w 520700"/>
                  <a:gd name="connsiteY2" fmla="*/ 927100 h 1890428"/>
                  <a:gd name="connsiteX3" fmla="*/ 330200 w 520700"/>
                  <a:gd name="connsiteY3" fmla="*/ 1028700 h 1890428"/>
                  <a:gd name="connsiteX4" fmla="*/ 381000 w 520700"/>
                  <a:gd name="connsiteY4" fmla="*/ 1066800 h 1890428"/>
                  <a:gd name="connsiteX5" fmla="*/ 406400 w 520700"/>
                  <a:gd name="connsiteY5" fmla="*/ 1104900 h 1890428"/>
                  <a:gd name="connsiteX6" fmla="*/ 438150 w 520700"/>
                  <a:gd name="connsiteY6" fmla="*/ 1219200 h 1890428"/>
                  <a:gd name="connsiteX7" fmla="*/ 450850 w 520700"/>
                  <a:gd name="connsiteY7" fmla="*/ 1390650 h 1890428"/>
                  <a:gd name="connsiteX8" fmla="*/ 457200 w 520700"/>
                  <a:gd name="connsiteY8" fmla="*/ 1568450 h 1890428"/>
                  <a:gd name="connsiteX9" fmla="*/ 495300 w 520700"/>
                  <a:gd name="connsiteY9" fmla="*/ 1809750 h 1890428"/>
                  <a:gd name="connsiteX10" fmla="*/ 520700 w 520700"/>
                  <a:gd name="connsiteY10" fmla="*/ 1890428 h 1890428"/>
                  <a:gd name="connsiteX0" fmla="*/ 0 w 520700"/>
                  <a:gd name="connsiteY0" fmla="*/ 0 h 1890428"/>
                  <a:gd name="connsiteX1" fmla="*/ 184150 w 520700"/>
                  <a:gd name="connsiteY1" fmla="*/ 660400 h 1890428"/>
                  <a:gd name="connsiteX2" fmla="*/ 260350 w 520700"/>
                  <a:gd name="connsiteY2" fmla="*/ 927100 h 1890428"/>
                  <a:gd name="connsiteX3" fmla="*/ 330200 w 520700"/>
                  <a:gd name="connsiteY3" fmla="*/ 1028700 h 1890428"/>
                  <a:gd name="connsiteX4" fmla="*/ 381000 w 520700"/>
                  <a:gd name="connsiteY4" fmla="*/ 1066800 h 1890428"/>
                  <a:gd name="connsiteX5" fmla="*/ 406400 w 520700"/>
                  <a:gd name="connsiteY5" fmla="*/ 1104900 h 1890428"/>
                  <a:gd name="connsiteX6" fmla="*/ 438150 w 520700"/>
                  <a:gd name="connsiteY6" fmla="*/ 1219200 h 1890428"/>
                  <a:gd name="connsiteX7" fmla="*/ 450850 w 520700"/>
                  <a:gd name="connsiteY7" fmla="*/ 1390650 h 1890428"/>
                  <a:gd name="connsiteX8" fmla="*/ 457200 w 520700"/>
                  <a:gd name="connsiteY8" fmla="*/ 1568450 h 1890428"/>
                  <a:gd name="connsiteX9" fmla="*/ 495300 w 520700"/>
                  <a:gd name="connsiteY9" fmla="*/ 1809750 h 1890428"/>
                  <a:gd name="connsiteX10" fmla="*/ 520700 w 520700"/>
                  <a:gd name="connsiteY10" fmla="*/ 1890428 h 1890428"/>
                  <a:gd name="connsiteX0" fmla="*/ 0 w 520700"/>
                  <a:gd name="connsiteY0" fmla="*/ 0 h 1922141"/>
                  <a:gd name="connsiteX1" fmla="*/ 184150 w 520700"/>
                  <a:gd name="connsiteY1" fmla="*/ 660400 h 1922141"/>
                  <a:gd name="connsiteX2" fmla="*/ 260350 w 520700"/>
                  <a:gd name="connsiteY2" fmla="*/ 927100 h 1922141"/>
                  <a:gd name="connsiteX3" fmla="*/ 330200 w 520700"/>
                  <a:gd name="connsiteY3" fmla="*/ 1028700 h 1922141"/>
                  <a:gd name="connsiteX4" fmla="*/ 381000 w 520700"/>
                  <a:gd name="connsiteY4" fmla="*/ 1066800 h 1922141"/>
                  <a:gd name="connsiteX5" fmla="*/ 406400 w 520700"/>
                  <a:gd name="connsiteY5" fmla="*/ 1104900 h 1922141"/>
                  <a:gd name="connsiteX6" fmla="*/ 438150 w 520700"/>
                  <a:gd name="connsiteY6" fmla="*/ 1219200 h 1922141"/>
                  <a:gd name="connsiteX7" fmla="*/ 450850 w 520700"/>
                  <a:gd name="connsiteY7" fmla="*/ 1390650 h 1922141"/>
                  <a:gd name="connsiteX8" fmla="*/ 457200 w 520700"/>
                  <a:gd name="connsiteY8" fmla="*/ 1568450 h 1922141"/>
                  <a:gd name="connsiteX9" fmla="*/ 495300 w 520700"/>
                  <a:gd name="connsiteY9" fmla="*/ 1809750 h 1922141"/>
                  <a:gd name="connsiteX10" fmla="*/ 520700 w 520700"/>
                  <a:gd name="connsiteY10" fmla="*/ 1922141 h 1922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20700" h="1922141">
                    <a:moveTo>
                      <a:pt x="0" y="0"/>
                    </a:moveTo>
                    <a:lnTo>
                      <a:pt x="184150" y="660400"/>
                    </a:lnTo>
                    <a:cubicBezTo>
                      <a:pt x="227542" y="814917"/>
                      <a:pt x="236008" y="865717"/>
                      <a:pt x="260350" y="927100"/>
                    </a:cubicBezTo>
                    <a:cubicBezTo>
                      <a:pt x="284692" y="988483"/>
                      <a:pt x="310092" y="1005417"/>
                      <a:pt x="330200" y="1028700"/>
                    </a:cubicBezTo>
                    <a:cubicBezTo>
                      <a:pt x="350308" y="1051983"/>
                      <a:pt x="368300" y="1054100"/>
                      <a:pt x="381000" y="1066800"/>
                    </a:cubicBezTo>
                    <a:cubicBezTo>
                      <a:pt x="393700" y="1079500"/>
                      <a:pt x="396875" y="1079500"/>
                      <a:pt x="406400" y="1104900"/>
                    </a:cubicBezTo>
                    <a:cubicBezTo>
                      <a:pt x="415925" y="1130300"/>
                      <a:pt x="430742" y="1171575"/>
                      <a:pt x="438150" y="1219200"/>
                    </a:cubicBezTo>
                    <a:cubicBezTo>
                      <a:pt x="445558" y="1266825"/>
                      <a:pt x="447675" y="1332442"/>
                      <a:pt x="450850" y="1390650"/>
                    </a:cubicBezTo>
                    <a:cubicBezTo>
                      <a:pt x="454025" y="1448858"/>
                      <a:pt x="449792" y="1498600"/>
                      <a:pt x="457200" y="1568450"/>
                    </a:cubicBezTo>
                    <a:cubicBezTo>
                      <a:pt x="464608" y="1638300"/>
                      <a:pt x="484717" y="1750801"/>
                      <a:pt x="495300" y="1809750"/>
                    </a:cubicBezTo>
                    <a:cubicBezTo>
                      <a:pt x="505883" y="1868699"/>
                      <a:pt x="514130" y="1866600"/>
                      <a:pt x="520700" y="1922141"/>
                    </a:cubicBezTo>
                  </a:path>
                </a:pathLst>
              </a:custGeom>
              <a:ln w="25400">
                <a:solidFill>
                  <a:srgbClr val="FF0000"/>
                </a:solidFill>
                <a:headEnd type="oval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2049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40" name="Полилиния 39"/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>
              <a:xfrm>
                <a:off x="1572698" y="4372161"/>
                <a:ext cx="2132391" cy="1499247"/>
              </a:xfrm>
              <a:custGeom>
                <a:avLst/>
                <a:gdLst>
                  <a:gd name="connsiteX0" fmla="*/ 2950763 w 2950763"/>
                  <a:gd name="connsiteY0" fmla="*/ 1870 h 2228967"/>
                  <a:gd name="connsiteX1" fmla="*/ 2703932 w 2950763"/>
                  <a:gd name="connsiteY1" fmla="*/ 1870 h 2228967"/>
                  <a:gd name="connsiteX2" fmla="*/ 2490759 w 2950763"/>
                  <a:gd name="connsiteY2" fmla="*/ 13089 h 2228967"/>
                  <a:gd name="connsiteX3" fmla="*/ 2356123 w 2950763"/>
                  <a:gd name="connsiteY3" fmla="*/ 63578 h 2228967"/>
                  <a:gd name="connsiteX4" fmla="*/ 2238317 w 2950763"/>
                  <a:gd name="connsiteY4" fmla="*/ 186994 h 2228967"/>
                  <a:gd name="connsiteX5" fmla="*/ 2131730 w 2950763"/>
                  <a:gd name="connsiteY5" fmla="*/ 321629 h 2228967"/>
                  <a:gd name="connsiteX6" fmla="*/ 1991485 w 2950763"/>
                  <a:gd name="connsiteY6" fmla="*/ 489924 h 2228967"/>
                  <a:gd name="connsiteX7" fmla="*/ 1946606 w 2950763"/>
                  <a:gd name="connsiteY7" fmla="*/ 590900 h 2228967"/>
                  <a:gd name="connsiteX8" fmla="*/ 1946606 w 2950763"/>
                  <a:gd name="connsiteY8" fmla="*/ 787244 h 2228967"/>
                  <a:gd name="connsiteX9" fmla="*/ 1890508 w 2950763"/>
                  <a:gd name="connsiteY9" fmla="*/ 966758 h 2228967"/>
                  <a:gd name="connsiteX10" fmla="*/ 1840020 w 2950763"/>
                  <a:gd name="connsiteY10" fmla="*/ 1045296 h 2228967"/>
                  <a:gd name="connsiteX11" fmla="*/ 1705384 w 2950763"/>
                  <a:gd name="connsiteY11" fmla="*/ 1078954 h 2228967"/>
                  <a:gd name="connsiteX12" fmla="*/ 1632457 w 2950763"/>
                  <a:gd name="connsiteY12" fmla="*/ 1107004 h 2228967"/>
                  <a:gd name="connsiteX13" fmla="*/ 1598798 w 2950763"/>
                  <a:gd name="connsiteY13" fmla="*/ 1202370 h 2228967"/>
                  <a:gd name="connsiteX14" fmla="*/ 1559529 w 2950763"/>
                  <a:gd name="connsiteY14" fmla="*/ 1286518 h 2228967"/>
                  <a:gd name="connsiteX15" fmla="*/ 1475382 w 2950763"/>
                  <a:gd name="connsiteY15" fmla="*/ 1325786 h 2228967"/>
                  <a:gd name="connsiteX16" fmla="*/ 1385625 w 2950763"/>
                  <a:gd name="connsiteY16" fmla="*/ 1331396 h 2228967"/>
                  <a:gd name="connsiteX17" fmla="*/ 1290258 w 2950763"/>
                  <a:gd name="connsiteY17" fmla="*/ 1376275 h 2228967"/>
                  <a:gd name="connsiteX18" fmla="*/ 1262209 w 2950763"/>
                  <a:gd name="connsiteY18" fmla="*/ 1471642 h 2228967"/>
                  <a:gd name="connsiteX19" fmla="*/ 1228550 w 2950763"/>
                  <a:gd name="connsiteY19" fmla="*/ 1522130 h 2228967"/>
                  <a:gd name="connsiteX20" fmla="*/ 1093914 w 2950763"/>
                  <a:gd name="connsiteY20" fmla="*/ 1578228 h 2228967"/>
                  <a:gd name="connsiteX21" fmla="*/ 796594 w 2950763"/>
                  <a:gd name="connsiteY21" fmla="*/ 1667985 h 2228967"/>
                  <a:gd name="connsiteX22" fmla="*/ 532933 w 2950763"/>
                  <a:gd name="connsiteY22" fmla="*/ 1746523 h 2228967"/>
                  <a:gd name="connsiteX23" fmla="*/ 387078 w 2950763"/>
                  <a:gd name="connsiteY23" fmla="*/ 1825060 h 2228967"/>
                  <a:gd name="connsiteX24" fmla="*/ 246832 w 2950763"/>
                  <a:gd name="connsiteY24" fmla="*/ 1970915 h 2228967"/>
                  <a:gd name="connsiteX25" fmla="*/ 140246 w 2950763"/>
                  <a:gd name="connsiteY25" fmla="*/ 2116770 h 2228967"/>
                  <a:gd name="connsiteX26" fmla="*/ 0 w 2950763"/>
                  <a:gd name="connsiteY26" fmla="*/ 2228967 h 2228967"/>
                  <a:gd name="connsiteX0" fmla="*/ 2703932 w 2703932"/>
                  <a:gd name="connsiteY0" fmla="*/ 0 h 2227097"/>
                  <a:gd name="connsiteX1" fmla="*/ 2490759 w 2703932"/>
                  <a:gd name="connsiteY1" fmla="*/ 11219 h 2227097"/>
                  <a:gd name="connsiteX2" fmla="*/ 2356123 w 2703932"/>
                  <a:gd name="connsiteY2" fmla="*/ 61708 h 2227097"/>
                  <a:gd name="connsiteX3" fmla="*/ 2238317 w 2703932"/>
                  <a:gd name="connsiteY3" fmla="*/ 185124 h 2227097"/>
                  <a:gd name="connsiteX4" fmla="*/ 2131730 w 2703932"/>
                  <a:gd name="connsiteY4" fmla="*/ 319759 h 2227097"/>
                  <a:gd name="connsiteX5" fmla="*/ 1991485 w 2703932"/>
                  <a:gd name="connsiteY5" fmla="*/ 488054 h 2227097"/>
                  <a:gd name="connsiteX6" fmla="*/ 1946606 w 2703932"/>
                  <a:gd name="connsiteY6" fmla="*/ 589030 h 2227097"/>
                  <a:gd name="connsiteX7" fmla="*/ 1946606 w 2703932"/>
                  <a:gd name="connsiteY7" fmla="*/ 785374 h 2227097"/>
                  <a:gd name="connsiteX8" fmla="*/ 1890508 w 2703932"/>
                  <a:gd name="connsiteY8" fmla="*/ 964888 h 2227097"/>
                  <a:gd name="connsiteX9" fmla="*/ 1840020 w 2703932"/>
                  <a:gd name="connsiteY9" fmla="*/ 1043426 h 2227097"/>
                  <a:gd name="connsiteX10" fmla="*/ 1705384 w 2703932"/>
                  <a:gd name="connsiteY10" fmla="*/ 1077084 h 2227097"/>
                  <a:gd name="connsiteX11" fmla="*/ 1632457 w 2703932"/>
                  <a:gd name="connsiteY11" fmla="*/ 1105134 h 2227097"/>
                  <a:gd name="connsiteX12" fmla="*/ 1598798 w 2703932"/>
                  <a:gd name="connsiteY12" fmla="*/ 1200500 h 2227097"/>
                  <a:gd name="connsiteX13" fmla="*/ 1559529 w 2703932"/>
                  <a:gd name="connsiteY13" fmla="*/ 1284648 h 2227097"/>
                  <a:gd name="connsiteX14" fmla="*/ 1475382 w 2703932"/>
                  <a:gd name="connsiteY14" fmla="*/ 1323916 h 2227097"/>
                  <a:gd name="connsiteX15" fmla="*/ 1385625 w 2703932"/>
                  <a:gd name="connsiteY15" fmla="*/ 1329526 h 2227097"/>
                  <a:gd name="connsiteX16" fmla="*/ 1290258 w 2703932"/>
                  <a:gd name="connsiteY16" fmla="*/ 1374405 h 2227097"/>
                  <a:gd name="connsiteX17" fmla="*/ 1262209 w 2703932"/>
                  <a:gd name="connsiteY17" fmla="*/ 1469772 h 2227097"/>
                  <a:gd name="connsiteX18" fmla="*/ 1228550 w 2703932"/>
                  <a:gd name="connsiteY18" fmla="*/ 1520260 h 2227097"/>
                  <a:gd name="connsiteX19" fmla="*/ 1093914 w 2703932"/>
                  <a:gd name="connsiteY19" fmla="*/ 1576358 h 2227097"/>
                  <a:gd name="connsiteX20" fmla="*/ 796594 w 2703932"/>
                  <a:gd name="connsiteY20" fmla="*/ 1666115 h 2227097"/>
                  <a:gd name="connsiteX21" fmla="*/ 532933 w 2703932"/>
                  <a:gd name="connsiteY21" fmla="*/ 1744653 h 2227097"/>
                  <a:gd name="connsiteX22" fmla="*/ 387078 w 2703932"/>
                  <a:gd name="connsiteY22" fmla="*/ 1823190 h 2227097"/>
                  <a:gd name="connsiteX23" fmla="*/ 246832 w 2703932"/>
                  <a:gd name="connsiteY23" fmla="*/ 1969045 h 2227097"/>
                  <a:gd name="connsiteX24" fmla="*/ 140246 w 2703932"/>
                  <a:gd name="connsiteY24" fmla="*/ 2114900 h 2227097"/>
                  <a:gd name="connsiteX25" fmla="*/ 0 w 2703932"/>
                  <a:gd name="connsiteY25" fmla="*/ 2227097 h 2227097"/>
                  <a:gd name="connsiteX0" fmla="*/ 2490759 w 2490759"/>
                  <a:gd name="connsiteY0" fmla="*/ 0 h 2215878"/>
                  <a:gd name="connsiteX1" fmla="*/ 2356123 w 2490759"/>
                  <a:gd name="connsiteY1" fmla="*/ 50489 h 2215878"/>
                  <a:gd name="connsiteX2" fmla="*/ 2238317 w 2490759"/>
                  <a:gd name="connsiteY2" fmla="*/ 173905 h 2215878"/>
                  <a:gd name="connsiteX3" fmla="*/ 2131730 w 2490759"/>
                  <a:gd name="connsiteY3" fmla="*/ 308540 h 2215878"/>
                  <a:gd name="connsiteX4" fmla="*/ 1991485 w 2490759"/>
                  <a:gd name="connsiteY4" fmla="*/ 476835 h 2215878"/>
                  <a:gd name="connsiteX5" fmla="*/ 1946606 w 2490759"/>
                  <a:gd name="connsiteY5" fmla="*/ 577811 h 2215878"/>
                  <a:gd name="connsiteX6" fmla="*/ 1946606 w 2490759"/>
                  <a:gd name="connsiteY6" fmla="*/ 774155 h 2215878"/>
                  <a:gd name="connsiteX7" fmla="*/ 1890508 w 2490759"/>
                  <a:gd name="connsiteY7" fmla="*/ 953669 h 2215878"/>
                  <a:gd name="connsiteX8" fmla="*/ 1840020 w 2490759"/>
                  <a:gd name="connsiteY8" fmla="*/ 1032207 h 2215878"/>
                  <a:gd name="connsiteX9" fmla="*/ 1705384 w 2490759"/>
                  <a:gd name="connsiteY9" fmla="*/ 1065865 h 2215878"/>
                  <a:gd name="connsiteX10" fmla="*/ 1632457 w 2490759"/>
                  <a:gd name="connsiteY10" fmla="*/ 1093915 h 2215878"/>
                  <a:gd name="connsiteX11" fmla="*/ 1598798 w 2490759"/>
                  <a:gd name="connsiteY11" fmla="*/ 1189281 h 2215878"/>
                  <a:gd name="connsiteX12" fmla="*/ 1559529 w 2490759"/>
                  <a:gd name="connsiteY12" fmla="*/ 1273429 h 2215878"/>
                  <a:gd name="connsiteX13" fmla="*/ 1475382 w 2490759"/>
                  <a:gd name="connsiteY13" fmla="*/ 1312697 h 2215878"/>
                  <a:gd name="connsiteX14" fmla="*/ 1385625 w 2490759"/>
                  <a:gd name="connsiteY14" fmla="*/ 1318307 h 2215878"/>
                  <a:gd name="connsiteX15" fmla="*/ 1290258 w 2490759"/>
                  <a:gd name="connsiteY15" fmla="*/ 1363186 h 2215878"/>
                  <a:gd name="connsiteX16" fmla="*/ 1262209 w 2490759"/>
                  <a:gd name="connsiteY16" fmla="*/ 1458553 h 2215878"/>
                  <a:gd name="connsiteX17" fmla="*/ 1228550 w 2490759"/>
                  <a:gd name="connsiteY17" fmla="*/ 1509041 h 2215878"/>
                  <a:gd name="connsiteX18" fmla="*/ 1093914 w 2490759"/>
                  <a:gd name="connsiteY18" fmla="*/ 1565139 h 2215878"/>
                  <a:gd name="connsiteX19" fmla="*/ 796594 w 2490759"/>
                  <a:gd name="connsiteY19" fmla="*/ 1654896 h 2215878"/>
                  <a:gd name="connsiteX20" fmla="*/ 532933 w 2490759"/>
                  <a:gd name="connsiteY20" fmla="*/ 1733434 h 2215878"/>
                  <a:gd name="connsiteX21" fmla="*/ 387078 w 2490759"/>
                  <a:gd name="connsiteY21" fmla="*/ 1811971 h 2215878"/>
                  <a:gd name="connsiteX22" fmla="*/ 246832 w 2490759"/>
                  <a:gd name="connsiteY22" fmla="*/ 1957826 h 2215878"/>
                  <a:gd name="connsiteX23" fmla="*/ 140246 w 2490759"/>
                  <a:gd name="connsiteY23" fmla="*/ 2103681 h 2215878"/>
                  <a:gd name="connsiteX24" fmla="*/ 0 w 2490759"/>
                  <a:gd name="connsiteY24" fmla="*/ 2215878 h 2215878"/>
                  <a:gd name="connsiteX0" fmla="*/ 2356123 w 2356123"/>
                  <a:gd name="connsiteY0" fmla="*/ 0 h 2165389"/>
                  <a:gd name="connsiteX1" fmla="*/ 2238317 w 2356123"/>
                  <a:gd name="connsiteY1" fmla="*/ 123416 h 2165389"/>
                  <a:gd name="connsiteX2" fmla="*/ 2131730 w 2356123"/>
                  <a:gd name="connsiteY2" fmla="*/ 258051 h 2165389"/>
                  <a:gd name="connsiteX3" fmla="*/ 1991485 w 2356123"/>
                  <a:gd name="connsiteY3" fmla="*/ 426346 h 2165389"/>
                  <a:gd name="connsiteX4" fmla="*/ 1946606 w 2356123"/>
                  <a:gd name="connsiteY4" fmla="*/ 527322 h 2165389"/>
                  <a:gd name="connsiteX5" fmla="*/ 1946606 w 2356123"/>
                  <a:gd name="connsiteY5" fmla="*/ 723666 h 2165389"/>
                  <a:gd name="connsiteX6" fmla="*/ 1890508 w 2356123"/>
                  <a:gd name="connsiteY6" fmla="*/ 903180 h 2165389"/>
                  <a:gd name="connsiteX7" fmla="*/ 1840020 w 2356123"/>
                  <a:gd name="connsiteY7" fmla="*/ 981718 h 2165389"/>
                  <a:gd name="connsiteX8" fmla="*/ 1705384 w 2356123"/>
                  <a:gd name="connsiteY8" fmla="*/ 1015376 h 2165389"/>
                  <a:gd name="connsiteX9" fmla="*/ 1632457 w 2356123"/>
                  <a:gd name="connsiteY9" fmla="*/ 1043426 h 2165389"/>
                  <a:gd name="connsiteX10" fmla="*/ 1598798 w 2356123"/>
                  <a:gd name="connsiteY10" fmla="*/ 1138792 h 2165389"/>
                  <a:gd name="connsiteX11" fmla="*/ 1559529 w 2356123"/>
                  <a:gd name="connsiteY11" fmla="*/ 1222940 h 2165389"/>
                  <a:gd name="connsiteX12" fmla="*/ 1475382 w 2356123"/>
                  <a:gd name="connsiteY12" fmla="*/ 1262208 h 2165389"/>
                  <a:gd name="connsiteX13" fmla="*/ 1385625 w 2356123"/>
                  <a:gd name="connsiteY13" fmla="*/ 1267818 h 2165389"/>
                  <a:gd name="connsiteX14" fmla="*/ 1290258 w 2356123"/>
                  <a:gd name="connsiteY14" fmla="*/ 1312697 h 2165389"/>
                  <a:gd name="connsiteX15" fmla="*/ 1262209 w 2356123"/>
                  <a:gd name="connsiteY15" fmla="*/ 1408064 h 2165389"/>
                  <a:gd name="connsiteX16" fmla="*/ 1228550 w 2356123"/>
                  <a:gd name="connsiteY16" fmla="*/ 1458552 h 2165389"/>
                  <a:gd name="connsiteX17" fmla="*/ 1093914 w 2356123"/>
                  <a:gd name="connsiteY17" fmla="*/ 1514650 h 2165389"/>
                  <a:gd name="connsiteX18" fmla="*/ 796594 w 2356123"/>
                  <a:gd name="connsiteY18" fmla="*/ 1604407 h 2165389"/>
                  <a:gd name="connsiteX19" fmla="*/ 532933 w 2356123"/>
                  <a:gd name="connsiteY19" fmla="*/ 1682945 h 2165389"/>
                  <a:gd name="connsiteX20" fmla="*/ 387078 w 2356123"/>
                  <a:gd name="connsiteY20" fmla="*/ 1761482 h 2165389"/>
                  <a:gd name="connsiteX21" fmla="*/ 246832 w 2356123"/>
                  <a:gd name="connsiteY21" fmla="*/ 1907337 h 2165389"/>
                  <a:gd name="connsiteX22" fmla="*/ 140246 w 2356123"/>
                  <a:gd name="connsiteY22" fmla="*/ 2053192 h 2165389"/>
                  <a:gd name="connsiteX23" fmla="*/ 0 w 2356123"/>
                  <a:gd name="connsiteY23" fmla="*/ 2165389 h 2165389"/>
                  <a:gd name="connsiteX0" fmla="*/ 2238317 w 2238317"/>
                  <a:gd name="connsiteY0" fmla="*/ 0 h 2041973"/>
                  <a:gd name="connsiteX1" fmla="*/ 2131730 w 2238317"/>
                  <a:gd name="connsiteY1" fmla="*/ 134635 h 2041973"/>
                  <a:gd name="connsiteX2" fmla="*/ 1991485 w 2238317"/>
                  <a:gd name="connsiteY2" fmla="*/ 302930 h 2041973"/>
                  <a:gd name="connsiteX3" fmla="*/ 1946606 w 2238317"/>
                  <a:gd name="connsiteY3" fmla="*/ 403906 h 2041973"/>
                  <a:gd name="connsiteX4" fmla="*/ 1946606 w 2238317"/>
                  <a:gd name="connsiteY4" fmla="*/ 600250 h 2041973"/>
                  <a:gd name="connsiteX5" fmla="*/ 1890508 w 2238317"/>
                  <a:gd name="connsiteY5" fmla="*/ 779764 h 2041973"/>
                  <a:gd name="connsiteX6" fmla="*/ 1840020 w 2238317"/>
                  <a:gd name="connsiteY6" fmla="*/ 858302 h 2041973"/>
                  <a:gd name="connsiteX7" fmla="*/ 1705384 w 2238317"/>
                  <a:gd name="connsiteY7" fmla="*/ 891960 h 2041973"/>
                  <a:gd name="connsiteX8" fmla="*/ 1632457 w 2238317"/>
                  <a:gd name="connsiteY8" fmla="*/ 920010 h 2041973"/>
                  <a:gd name="connsiteX9" fmla="*/ 1598798 w 2238317"/>
                  <a:gd name="connsiteY9" fmla="*/ 1015376 h 2041973"/>
                  <a:gd name="connsiteX10" fmla="*/ 1559529 w 2238317"/>
                  <a:gd name="connsiteY10" fmla="*/ 1099524 h 2041973"/>
                  <a:gd name="connsiteX11" fmla="*/ 1475382 w 2238317"/>
                  <a:gd name="connsiteY11" fmla="*/ 1138792 h 2041973"/>
                  <a:gd name="connsiteX12" fmla="*/ 1385625 w 2238317"/>
                  <a:gd name="connsiteY12" fmla="*/ 1144402 h 2041973"/>
                  <a:gd name="connsiteX13" fmla="*/ 1290258 w 2238317"/>
                  <a:gd name="connsiteY13" fmla="*/ 1189281 h 2041973"/>
                  <a:gd name="connsiteX14" fmla="*/ 1262209 w 2238317"/>
                  <a:gd name="connsiteY14" fmla="*/ 1284648 h 2041973"/>
                  <a:gd name="connsiteX15" fmla="*/ 1228550 w 2238317"/>
                  <a:gd name="connsiteY15" fmla="*/ 1335136 h 2041973"/>
                  <a:gd name="connsiteX16" fmla="*/ 1093914 w 2238317"/>
                  <a:gd name="connsiteY16" fmla="*/ 1391234 h 2041973"/>
                  <a:gd name="connsiteX17" fmla="*/ 796594 w 2238317"/>
                  <a:gd name="connsiteY17" fmla="*/ 1480991 h 2041973"/>
                  <a:gd name="connsiteX18" fmla="*/ 532933 w 2238317"/>
                  <a:gd name="connsiteY18" fmla="*/ 1559529 h 2041973"/>
                  <a:gd name="connsiteX19" fmla="*/ 387078 w 2238317"/>
                  <a:gd name="connsiteY19" fmla="*/ 1638066 h 2041973"/>
                  <a:gd name="connsiteX20" fmla="*/ 246832 w 2238317"/>
                  <a:gd name="connsiteY20" fmla="*/ 1783921 h 2041973"/>
                  <a:gd name="connsiteX21" fmla="*/ 140246 w 2238317"/>
                  <a:gd name="connsiteY21" fmla="*/ 1929776 h 2041973"/>
                  <a:gd name="connsiteX22" fmla="*/ 0 w 2238317"/>
                  <a:gd name="connsiteY22" fmla="*/ 2041973 h 2041973"/>
                  <a:gd name="connsiteX0" fmla="*/ 2131730 w 2131730"/>
                  <a:gd name="connsiteY0" fmla="*/ 0 h 1907338"/>
                  <a:gd name="connsiteX1" fmla="*/ 1991485 w 2131730"/>
                  <a:gd name="connsiteY1" fmla="*/ 168295 h 1907338"/>
                  <a:gd name="connsiteX2" fmla="*/ 1946606 w 2131730"/>
                  <a:gd name="connsiteY2" fmla="*/ 269271 h 1907338"/>
                  <a:gd name="connsiteX3" fmla="*/ 1946606 w 2131730"/>
                  <a:gd name="connsiteY3" fmla="*/ 465615 h 1907338"/>
                  <a:gd name="connsiteX4" fmla="*/ 1890508 w 2131730"/>
                  <a:gd name="connsiteY4" fmla="*/ 645129 h 1907338"/>
                  <a:gd name="connsiteX5" fmla="*/ 1840020 w 2131730"/>
                  <a:gd name="connsiteY5" fmla="*/ 723667 h 1907338"/>
                  <a:gd name="connsiteX6" fmla="*/ 1705384 w 2131730"/>
                  <a:gd name="connsiteY6" fmla="*/ 757325 h 1907338"/>
                  <a:gd name="connsiteX7" fmla="*/ 1632457 w 2131730"/>
                  <a:gd name="connsiteY7" fmla="*/ 785375 h 1907338"/>
                  <a:gd name="connsiteX8" fmla="*/ 1598798 w 2131730"/>
                  <a:gd name="connsiteY8" fmla="*/ 880741 h 1907338"/>
                  <a:gd name="connsiteX9" fmla="*/ 1559529 w 2131730"/>
                  <a:gd name="connsiteY9" fmla="*/ 964889 h 1907338"/>
                  <a:gd name="connsiteX10" fmla="*/ 1475382 w 2131730"/>
                  <a:gd name="connsiteY10" fmla="*/ 1004157 h 1907338"/>
                  <a:gd name="connsiteX11" fmla="*/ 1385625 w 2131730"/>
                  <a:gd name="connsiteY11" fmla="*/ 1009767 h 1907338"/>
                  <a:gd name="connsiteX12" fmla="*/ 1290258 w 2131730"/>
                  <a:gd name="connsiteY12" fmla="*/ 1054646 h 1907338"/>
                  <a:gd name="connsiteX13" fmla="*/ 1262209 w 2131730"/>
                  <a:gd name="connsiteY13" fmla="*/ 1150013 h 1907338"/>
                  <a:gd name="connsiteX14" fmla="*/ 1228550 w 2131730"/>
                  <a:gd name="connsiteY14" fmla="*/ 1200501 h 1907338"/>
                  <a:gd name="connsiteX15" fmla="*/ 1093914 w 2131730"/>
                  <a:gd name="connsiteY15" fmla="*/ 1256599 h 1907338"/>
                  <a:gd name="connsiteX16" fmla="*/ 796594 w 2131730"/>
                  <a:gd name="connsiteY16" fmla="*/ 1346356 h 1907338"/>
                  <a:gd name="connsiteX17" fmla="*/ 532933 w 2131730"/>
                  <a:gd name="connsiteY17" fmla="*/ 1424894 h 1907338"/>
                  <a:gd name="connsiteX18" fmla="*/ 387078 w 2131730"/>
                  <a:gd name="connsiteY18" fmla="*/ 1503431 h 1907338"/>
                  <a:gd name="connsiteX19" fmla="*/ 246832 w 2131730"/>
                  <a:gd name="connsiteY19" fmla="*/ 1649286 h 1907338"/>
                  <a:gd name="connsiteX20" fmla="*/ 140246 w 2131730"/>
                  <a:gd name="connsiteY20" fmla="*/ 1795141 h 1907338"/>
                  <a:gd name="connsiteX21" fmla="*/ 0 w 2131730"/>
                  <a:gd name="connsiteY21" fmla="*/ 1907338 h 1907338"/>
                  <a:gd name="connsiteX0" fmla="*/ 1991485 w 1991485"/>
                  <a:gd name="connsiteY0" fmla="*/ 0 h 1739043"/>
                  <a:gd name="connsiteX1" fmla="*/ 1946606 w 1991485"/>
                  <a:gd name="connsiteY1" fmla="*/ 100976 h 1739043"/>
                  <a:gd name="connsiteX2" fmla="*/ 1946606 w 1991485"/>
                  <a:gd name="connsiteY2" fmla="*/ 297320 h 1739043"/>
                  <a:gd name="connsiteX3" fmla="*/ 1890508 w 1991485"/>
                  <a:gd name="connsiteY3" fmla="*/ 476834 h 1739043"/>
                  <a:gd name="connsiteX4" fmla="*/ 1840020 w 1991485"/>
                  <a:gd name="connsiteY4" fmla="*/ 555372 h 1739043"/>
                  <a:gd name="connsiteX5" fmla="*/ 1705384 w 1991485"/>
                  <a:gd name="connsiteY5" fmla="*/ 589030 h 1739043"/>
                  <a:gd name="connsiteX6" fmla="*/ 1632457 w 1991485"/>
                  <a:gd name="connsiteY6" fmla="*/ 617080 h 1739043"/>
                  <a:gd name="connsiteX7" fmla="*/ 1598798 w 1991485"/>
                  <a:gd name="connsiteY7" fmla="*/ 712446 h 1739043"/>
                  <a:gd name="connsiteX8" fmla="*/ 1559529 w 1991485"/>
                  <a:gd name="connsiteY8" fmla="*/ 796594 h 1739043"/>
                  <a:gd name="connsiteX9" fmla="*/ 1475382 w 1991485"/>
                  <a:gd name="connsiteY9" fmla="*/ 835862 h 1739043"/>
                  <a:gd name="connsiteX10" fmla="*/ 1385625 w 1991485"/>
                  <a:gd name="connsiteY10" fmla="*/ 841472 h 1739043"/>
                  <a:gd name="connsiteX11" fmla="*/ 1290258 w 1991485"/>
                  <a:gd name="connsiteY11" fmla="*/ 886351 h 1739043"/>
                  <a:gd name="connsiteX12" fmla="*/ 1262209 w 1991485"/>
                  <a:gd name="connsiteY12" fmla="*/ 981718 h 1739043"/>
                  <a:gd name="connsiteX13" fmla="*/ 1228550 w 1991485"/>
                  <a:gd name="connsiteY13" fmla="*/ 1032206 h 1739043"/>
                  <a:gd name="connsiteX14" fmla="*/ 1093914 w 1991485"/>
                  <a:gd name="connsiteY14" fmla="*/ 1088304 h 1739043"/>
                  <a:gd name="connsiteX15" fmla="*/ 796594 w 1991485"/>
                  <a:gd name="connsiteY15" fmla="*/ 1178061 h 1739043"/>
                  <a:gd name="connsiteX16" fmla="*/ 532933 w 1991485"/>
                  <a:gd name="connsiteY16" fmla="*/ 1256599 h 1739043"/>
                  <a:gd name="connsiteX17" fmla="*/ 387078 w 1991485"/>
                  <a:gd name="connsiteY17" fmla="*/ 1335136 h 1739043"/>
                  <a:gd name="connsiteX18" fmla="*/ 246832 w 1991485"/>
                  <a:gd name="connsiteY18" fmla="*/ 1480991 h 1739043"/>
                  <a:gd name="connsiteX19" fmla="*/ 140246 w 1991485"/>
                  <a:gd name="connsiteY19" fmla="*/ 1626846 h 1739043"/>
                  <a:gd name="connsiteX20" fmla="*/ 0 w 1991485"/>
                  <a:gd name="connsiteY20" fmla="*/ 1739043 h 1739043"/>
                  <a:gd name="connsiteX0" fmla="*/ 1946606 w 1955956"/>
                  <a:gd name="connsiteY0" fmla="*/ 0 h 1638067"/>
                  <a:gd name="connsiteX1" fmla="*/ 1946606 w 1955956"/>
                  <a:gd name="connsiteY1" fmla="*/ 196344 h 1638067"/>
                  <a:gd name="connsiteX2" fmla="*/ 1890508 w 1955956"/>
                  <a:gd name="connsiteY2" fmla="*/ 375858 h 1638067"/>
                  <a:gd name="connsiteX3" fmla="*/ 1840020 w 1955956"/>
                  <a:gd name="connsiteY3" fmla="*/ 454396 h 1638067"/>
                  <a:gd name="connsiteX4" fmla="*/ 1705384 w 1955956"/>
                  <a:gd name="connsiteY4" fmla="*/ 488054 h 1638067"/>
                  <a:gd name="connsiteX5" fmla="*/ 1632457 w 1955956"/>
                  <a:gd name="connsiteY5" fmla="*/ 516104 h 1638067"/>
                  <a:gd name="connsiteX6" fmla="*/ 1598798 w 1955956"/>
                  <a:gd name="connsiteY6" fmla="*/ 611470 h 1638067"/>
                  <a:gd name="connsiteX7" fmla="*/ 1559529 w 1955956"/>
                  <a:gd name="connsiteY7" fmla="*/ 695618 h 1638067"/>
                  <a:gd name="connsiteX8" fmla="*/ 1475382 w 1955956"/>
                  <a:gd name="connsiteY8" fmla="*/ 734886 h 1638067"/>
                  <a:gd name="connsiteX9" fmla="*/ 1385625 w 1955956"/>
                  <a:gd name="connsiteY9" fmla="*/ 740496 h 1638067"/>
                  <a:gd name="connsiteX10" fmla="*/ 1290258 w 1955956"/>
                  <a:gd name="connsiteY10" fmla="*/ 785375 h 1638067"/>
                  <a:gd name="connsiteX11" fmla="*/ 1262209 w 1955956"/>
                  <a:gd name="connsiteY11" fmla="*/ 880742 h 1638067"/>
                  <a:gd name="connsiteX12" fmla="*/ 1228550 w 1955956"/>
                  <a:gd name="connsiteY12" fmla="*/ 931230 h 1638067"/>
                  <a:gd name="connsiteX13" fmla="*/ 1093914 w 1955956"/>
                  <a:gd name="connsiteY13" fmla="*/ 987328 h 1638067"/>
                  <a:gd name="connsiteX14" fmla="*/ 796594 w 1955956"/>
                  <a:gd name="connsiteY14" fmla="*/ 1077085 h 1638067"/>
                  <a:gd name="connsiteX15" fmla="*/ 532933 w 1955956"/>
                  <a:gd name="connsiteY15" fmla="*/ 1155623 h 1638067"/>
                  <a:gd name="connsiteX16" fmla="*/ 387078 w 1955956"/>
                  <a:gd name="connsiteY16" fmla="*/ 1234160 h 1638067"/>
                  <a:gd name="connsiteX17" fmla="*/ 246832 w 1955956"/>
                  <a:gd name="connsiteY17" fmla="*/ 1380015 h 1638067"/>
                  <a:gd name="connsiteX18" fmla="*/ 140246 w 1955956"/>
                  <a:gd name="connsiteY18" fmla="*/ 1525870 h 1638067"/>
                  <a:gd name="connsiteX19" fmla="*/ 0 w 1955956"/>
                  <a:gd name="connsiteY19" fmla="*/ 1638067 h 1638067"/>
                  <a:gd name="connsiteX0" fmla="*/ 1946606 w 1946606"/>
                  <a:gd name="connsiteY0" fmla="*/ 0 h 1441723"/>
                  <a:gd name="connsiteX1" fmla="*/ 1890508 w 1946606"/>
                  <a:gd name="connsiteY1" fmla="*/ 179514 h 1441723"/>
                  <a:gd name="connsiteX2" fmla="*/ 1840020 w 1946606"/>
                  <a:gd name="connsiteY2" fmla="*/ 258052 h 1441723"/>
                  <a:gd name="connsiteX3" fmla="*/ 1705384 w 1946606"/>
                  <a:gd name="connsiteY3" fmla="*/ 291710 h 1441723"/>
                  <a:gd name="connsiteX4" fmla="*/ 1632457 w 1946606"/>
                  <a:gd name="connsiteY4" fmla="*/ 319760 h 1441723"/>
                  <a:gd name="connsiteX5" fmla="*/ 1598798 w 1946606"/>
                  <a:gd name="connsiteY5" fmla="*/ 415126 h 1441723"/>
                  <a:gd name="connsiteX6" fmla="*/ 1559529 w 1946606"/>
                  <a:gd name="connsiteY6" fmla="*/ 499274 h 1441723"/>
                  <a:gd name="connsiteX7" fmla="*/ 1475382 w 1946606"/>
                  <a:gd name="connsiteY7" fmla="*/ 538542 h 1441723"/>
                  <a:gd name="connsiteX8" fmla="*/ 1385625 w 1946606"/>
                  <a:gd name="connsiteY8" fmla="*/ 544152 h 1441723"/>
                  <a:gd name="connsiteX9" fmla="*/ 1290258 w 1946606"/>
                  <a:gd name="connsiteY9" fmla="*/ 589031 h 1441723"/>
                  <a:gd name="connsiteX10" fmla="*/ 1262209 w 1946606"/>
                  <a:gd name="connsiteY10" fmla="*/ 684398 h 1441723"/>
                  <a:gd name="connsiteX11" fmla="*/ 1228550 w 1946606"/>
                  <a:gd name="connsiteY11" fmla="*/ 734886 h 1441723"/>
                  <a:gd name="connsiteX12" fmla="*/ 1093914 w 1946606"/>
                  <a:gd name="connsiteY12" fmla="*/ 790984 h 1441723"/>
                  <a:gd name="connsiteX13" fmla="*/ 796594 w 1946606"/>
                  <a:gd name="connsiteY13" fmla="*/ 880741 h 1441723"/>
                  <a:gd name="connsiteX14" fmla="*/ 532933 w 1946606"/>
                  <a:gd name="connsiteY14" fmla="*/ 959279 h 1441723"/>
                  <a:gd name="connsiteX15" fmla="*/ 387078 w 1946606"/>
                  <a:gd name="connsiteY15" fmla="*/ 1037816 h 1441723"/>
                  <a:gd name="connsiteX16" fmla="*/ 246832 w 1946606"/>
                  <a:gd name="connsiteY16" fmla="*/ 1183671 h 1441723"/>
                  <a:gd name="connsiteX17" fmla="*/ 140246 w 1946606"/>
                  <a:gd name="connsiteY17" fmla="*/ 1329526 h 1441723"/>
                  <a:gd name="connsiteX18" fmla="*/ 0 w 1946606"/>
                  <a:gd name="connsiteY18" fmla="*/ 1441723 h 1441723"/>
                  <a:gd name="connsiteX0" fmla="*/ 1890508 w 1890508"/>
                  <a:gd name="connsiteY0" fmla="*/ 0 h 1262209"/>
                  <a:gd name="connsiteX1" fmla="*/ 1840020 w 1890508"/>
                  <a:gd name="connsiteY1" fmla="*/ 78538 h 1262209"/>
                  <a:gd name="connsiteX2" fmla="*/ 1705384 w 1890508"/>
                  <a:gd name="connsiteY2" fmla="*/ 112196 h 1262209"/>
                  <a:gd name="connsiteX3" fmla="*/ 1632457 w 1890508"/>
                  <a:gd name="connsiteY3" fmla="*/ 140246 h 1262209"/>
                  <a:gd name="connsiteX4" fmla="*/ 1598798 w 1890508"/>
                  <a:gd name="connsiteY4" fmla="*/ 235612 h 1262209"/>
                  <a:gd name="connsiteX5" fmla="*/ 1559529 w 1890508"/>
                  <a:gd name="connsiteY5" fmla="*/ 319760 h 1262209"/>
                  <a:gd name="connsiteX6" fmla="*/ 1475382 w 1890508"/>
                  <a:gd name="connsiteY6" fmla="*/ 359028 h 1262209"/>
                  <a:gd name="connsiteX7" fmla="*/ 1385625 w 1890508"/>
                  <a:gd name="connsiteY7" fmla="*/ 364638 h 1262209"/>
                  <a:gd name="connsiteX8" fmla="*/ 1290258 w 1890508"/>
                  <a:gd name="connsiteY8" fmla="*/ 409517 h 1262209"/>
                  <a:gd name="connsiteX9" fmla="*/ 1262209 w 1890508"/>
                  <a:gd name="connsiteY9" fmla="*/ 504884 h 1262209"/>
                  <a:gd name="connsiteX10" fmla="*/ 1228550 w 1890508"/>
                  <a:gd name="connsiteY10" fmla="*/ 555372 h 1262209"/>
                  <a:gd name="connsiteX11" fmla="*/ 1093914 w 1890508"/>
                  <a:gd name="connsiteY11" fmla="*/ 611470 h 1262209"/>
                  <a:gd name="connsiteX12" fmla="*/ 796594 w 1890508"/>
                  <a:gd name="connsiteY12" fmla="*/ 701227 h 1262209"/>
                  <a:gd name="connsiteX13" fmla="*/ 532933 w 1890508"/>
                  <a:gd name="connsiteY13" fmla="*/ 779765 h 1262209"/>
                  <a:gd name="connsiteX14" fmla="*/ 387078 w 1890508"/>
                  <a:gd name="connsiteY14" fmla="*/ 858302 h 1262209"/>
                  <a:gd name="connsiteX15" fmla="*/ 246832 w 1890508"/>
                  <a:gd name="connsiteY15" fmla="*/ 1004157 h 1262209"/>
                  <a:gd name="connsiteX16" fmla="*/ 140246 w 1890508"/>
                  <a:gd name="connsiteY16" fmla="*/ 1150012 h 1262209"/>
                  <a:gd name="connsiteX17" fmla="*/ 0 w 1890508"/>
                  <a:gd name="connsiteY17" fmla="*/ 1262209 h 1262209"/>
                  <a:gd name="connsiteX0" fmla="*/ 1840020 w 1840020"/>
                  <a:gd name="connsiteY0" fmla="*/ 0 h 1183671"/>
                  <a:gd name="connsiteX1" fmla="*/ 1705384 w 1840020"/>
                  <a:gd name="connsiteY1" fmla="*/ 33658 h 1183671"/>
                  <a:gd name="connsiteX2" fmla="*/ 1632457 w 1840020"/>
                  <a:gd name="connsiteY2" fmla="*/ 61708 h 1183671"/>
                  <a:gd name="connsiteX3" fmla="*/ 1598798 w 1840020"/>
                  <a:gd name="connsiteY3" fmla="*/ 157074 h 1183671"/>
                  <a:gd name="connsiteX4" fmla="*/ 1559529 w 1840020"/>
                  <a:gd name="connsiteY4" fmla="*/ 241222 h 1183671"/>
                  <a:gd name="connsiteX5" fmla="*/ 1475382 w 1840020"/>
                  <a:gd name="connsiteY5" fmla="*/ 280490 h 1183671"/>
                  <a:gd name="connsiteX6" fmla="*/ 1385625 w 1840020"/>
                  <a:gd name="connsiteY6" fmla="*/ 286100 h 1183671"/>
                  <a:gd name="connsiteX7" fmla="*/ 1290258 w 1840020"/>
                  <a:gd name="connsiteY7" fmla="*/ 330979 h 1183671"/>
                  <a:gd name="connsiteX8" fmla="*/ 1262209 w 1840020"/>
                  <a:gd name="connsiteY8" fmla="*/ 426346 h 1183671"/>
                  <a:gd name="connsiteX9" fmla="*/ 1228550 w 1840020"/>
                  <a:gd name="connsiteY9" fmla="*/ 476834 h 1183671"/>
                  <a:gd name="connsiteX10" fmla="*/ 1093914 w 1840020"/>
                  <a:gd name="connsiteY10" fmla="*/ 532932 h 1183671"/>
                  <a:gd name="connsiteX11" fmla="*/ 796594 w 1840020"/>
                  <a:gd name="connsiteY11" fmla="*/ 622689 h 1183671"/>
                  <a:gd name="connsiteX12" fmla="*/ 532933 w 1840020"/>
                  <a:gd name="connsiteY12" fmla="*/ 701227 h 1183671"/>
                  <a:gd name="connsiteX13" fmla="*/ 387078 w 1840020"/>
                  <a:gd name="connsiteY13" fmla="*/ 779764 h 1183671"/>
                  <a:gd name="connsiteX14" fmla="*/ 246832 w 1840020"/>
                  <a:gd name="connsiteY14" fmla="*/ 925619 h 1183671"/>
                  <a:gd name="connsiteX15" fmla="*/ 140246 w 1840020"/>
                  <a:gd name="connsiteY15" fmla="*/ 1071474 h 1183671"/>
                  <a:gd name="connsiteX16" fmla="*/ 0 w 1840020"/>
                  <a:gd name="connsiteY16" fmla="*/ 1183671 h 1183671"/>
                  <a:gd name="connsiteX0" fmla="*/ 1705384 w 1705384"/>
                  <a:gd name="connsiteY0" fmla="*/ 0 h 1150013"/>
                  <a:gd name="connsiteX1" fmla="*/ 1632457 w 1705384"/>
                  <a:gd name="connsiteY1" fmla="*/ 28050 h 1150013"/>
                  <a:gd name="connsiteX2" fmla="*/ 1598798 w 1705384"/>
                  <a:gd name="connsiteY2" fmla="*/ 123416 h 1150013"/>
                  <a:gd name="connsiteX3" fmla="*/ 1559529 w 1705384"/>
                  <a:gd name="connsiteY3" fmla="*/ 207564 h 1150013"/>
                  <a:gd name="connsiteX4" fmla="*/ 1475382 w 1705384"/>
                  <a:gd name="connsiteY4" fmla="*/ 246832 h 1150013"/>
                  <a:gd name="connsiteX5" fmla="*/ 1385625 w 1705384"/>
                  <a:gd name="connsiteY5" fmla="*/ 252442 h 1150013"/>
                  <a:gd name="connsiteX6" fmla="*/ 1290258 w 1705384"/>
                  <a:gd name="connsiteY6" fmla="*/ 297321 h 1150013"/>
                  <a:gd name="connsiteX7" fmla="*/ 1262209 w 1705384"/>
                  <a:gd name="connsiteY7" fmla="*/ 392688 h 1150013"/>
                  <a:gd name="connsiteX8" fmla="*/ 1228550 w 1705384"/>
                  <a:gd name="connsiteY8" fmla="*/ 443176 h 1150013"/>
                  <a:gd name="connsiteX9" fmla="*/ 1093914 w 1705384"/>
                  <a:gd name="connsiteY9" fmla="*/ 499274 h 1150013"/>
                  <a:gd name="connsiteX10" fmla="*/ 796594 w 1705384"/>
                  <a:gd name="connsiteY10" fmla="*/ 589031 h 1150013"/>
                  <a:gd name="connsiteX11" fmla="*/ 532933 w 1705384"/>
                  <a:gd name="connsiteY11" fmla="*/ 667569 h 1150013"/>
                  <a:gd name="connsiteX12" fmla="*/ 387078 w 1705384"/>
                  <a:gd name="connsiteY12" fmla="*/ 746106 h 1150013"/>
                  <a:gd name="connsiteX13" fmla="*/ 246832 w 1705384"/>
                  <a:gd name="connsiteY13" fmla="*/ 891961 h 1150013"/>
                  <a:gd name="connsiteX14" fmla="*/ 140246 w 1705384"/>
                  <a:gd name="connsiteY14" fmla="*/ 1037816 h 1150013"/>
                  <a:gd name="connsiteX15" fmla="*/ 0 w 1705384"/>
                  <a:gd name="connsiteY15" fmla="*/ 1150013 h 1150013"/>
                  <a:gd name="connsiteX0" fmla="*/ 1632457 w 1632457"/>
                  <a:gd name="connsiteY0" fmla="*/ 0 h 1121963"/>
                  <a:gd name="connsiteX1" fmla="*/ 1598798 w 1632457"/>
                  <a:gd name="connsiteY1" fmla="*/ 95366 h 1121963"/>
                  <a:gd name="connsiteX2" fmla="*/ 1559529 w 1632457"/>
                  <a:gd name="connsiteY2" fmla="*/ 179514 h 1121963"/>
                  <a:gd name="connsiteX3" fmla="*/ 1475382 w 1632457"/>
                  <a:gd name="connsiteY3" fmla="*/ 218782 h 1121963"/>
                  <a:gd name="connsiteX4" fmla="*/ 1385625 w 1632457"/>
                  <a:gd name="connsiteY4" fmla="*/ 224392 h 1121963"/>
                  <a:gd name="connsiteX5" fmla="*/ 1290258 w 1632457"/>
                  <a:gd name="connsiteY5" fmla="*/ 269271 h 1121963"/>
                  <a:gd name="connsiteX6" fmla="*/ 1262209 w 1632457"/>
                  <a:gd name="connsiteY6" fmla="*/ 364638 h 1121963"/>
                  <a:gd name="connsiteX7" fmla="*/ 1228550 w 1632457"/>
                  <a:gd name="connsiteY7" fmla="*/ 415126 h 1121963"/>
                  <a:gd name="connsiteX8" fmla="*/ 1093914 w 1632457"/>
                  <a:gd name="connsiteY8" fmla="*/ 471224 h 1121963"/>
                  <a:gd name="connsiteX9" fmla="*/ 796594 w 1632457"/>
                  <a:gd name="connsiteY9" fmla="*/ 560981 h 1121963"/>
                  <a:gd name="connsiteX10" fmla="*/ 532933 w 1632457"/>
                  <a:gd name="connsiteY10" fmla="*/ 639519 h 1121963"/>
                  <a:gd name="connsiteX11" fmla="*/ 387078 w 1632457"/>
                  <a:gd name="connsiteY11" fmla="*/ 718056 h 1121963"/>
                  <a:gd name="connsiteX12" fmla="*/ 246832 w 1632457"/>
                  <a:gd name="connsiteY12" fmla="*/ 863911 h 1121963"/>
                  <a:gd name="connsiteX13" fmla="*/ 140246 w 1632457"/>
                  <a:gd name="connsiteY13" fmla="*/ 1009766 h 1121963"/>
                  <a:gd name="connsiteX14" fmla="*/ 0 w 1632457"/>
                  <a:gd name="connsiteY14" fmla="*/ 1121963 h 1121963"/>
                  <a:gd name="connsiteX0" fmla="*/ 1632457 w 1637103"/>
                  <a:gd name="connsiteY0" fmla="*/ 0 h 1121963"/>
                  <a:gd name="connsiteX1" fmla="*/ 1598798 w 1637103"/>
                  <a:gd name="connsiteY1" fmla="*/ 95366 h 1121963"/>
                  <a:gd name="connsiteX2" fmla="*/ 1559529 w 1637103"/>
                  <a:gd name="connsiteY2" fmla="*/ 179514 h 1121963"/>
                  <a:gd name="connsiteX3" fmla="*/ 1475382 w 1637103"/>
                  <a:gd name="connsiteY3" fmla="*/ 218782 h 1121963"/>
                  <a:gd name="connsiteX4" fmla="*/ 1385625 w 1637103"/>
                  <a:gd name="connsiteY4" fmla="*/ 224392 h 1121963"/>
                  <a:gd name="connsiteX5" fmla="*/ 1290258 w 1637103"/>
                  <a:gd name="connsiteY5" fmla="*/ 269271 h 1121963"/>
                  <a:gd name="connsiteX6" fmla="*/ 1262209 w 1637103"/>
                  <a:gd name="connsiteY6" fmla="*/ 364638 h 1121963"/>
                  <a:gd name="connsiteX7" fmla="*/ 1228550 w 1637103"/>
                  <a:gd name="connsiteY7" fmla="*/ 415126 h 1121963"/>
                  <a:gd name="connsiteX8" fmla="*/ 1093914 w 1637103"/>
                  <a:gd name="connsiteY8" fmla="*/ 471224 h 1121963"/>
                  <a:gd name="connsiteX9" fmla="*/ 796594 w 1637103"/>
                  <a:gd name="connsiteY9" fmla="*/ 560981 h 1121963"/>
                  <a:gd name="connsiteX10" fmla="*/ 532933 w 1637103"/>
                  <a:gd name="connsiteY10" fmla="*/ 639519 h 1121963"/>
                  <a:gd name="connsiteX11" fmla="*/ 387078 w 1637103"/>
                  <a:gd name="connsiteY11" fmla="*/ 718056 h 1121963"/>
                  <a:gd name="connsiteX12" fmla="*/ 246832 w 1637103"/>
                  <a:gd name="connsiteY12" fmla="*/ 863911 h 1121963"/>
                  <a:gd name="connsiteX13" fmla="*/ 140246 w 1637103"/>
                  <a:gd name="connsiteY13" fmla="*/ 1009766 h 1121963"/>
                  <a:gd name="connsiteX14" fmla="*/ 0 w 1637103"/>
                  <a:gd name="connsiteY14" fmla="*/ 1121963 h 1121963"/>
                  <a:gd name="connsiteX0" fmla="*/ 1576223 w 1601580"/>
                  <a:gd name="connsiteY0" fmla="*/ 0 h 1121963"/>
                  <a:gd name="connsiteX1" fmla="*/ 1598798 w 1601580"/>
                  <a:gd name="connsiteY1" fmla="*/ 95366 h 1121963"/>
                  <a:gd name="connsiteX2" fmla="*/ 1559529 w 1601580"/>
                  <a:gd name="connsiteY2" fmla="*/ 179514 h 1121963"/>
                  <a:gd name="connsiteX3" fmla="*/ 1475382 w 1601580"/>
                  <a:gd name="connsiteY3" fmla="*/ 218782 h 1121963"/>
                  <a:gd name="connsiteX4" fmla="*/ 1385625 w 1601580"/>
                  <a:gd name="connsiteY4" fmla="*/ 224392 h 1121963"/>
                  <a:gd name="connsiteX5" fmla="*/ 1290258 w 1601580"/>
                  <a:gd name="connsiteY5" fmla="*/ 269271 h 1121963"/>
                  <a:gd name="connsiteX6" fmla="*/ 1262209 w 1601580"/>
                  <a:gd name="connsiteY6" fmla="*/ 364638 h 1121963"/>
                  <a:gd name="connsiteX7" fmla="*/ 1228550 w 1601580"/>
                  <a:gd name="connsiteY7" fmla="*/ 415126 h 1121963"/>
                  <a:gd name="connsiteX8" fmla="*/ 1093914 w 1601580"/>
                  <a:gd name="connsiteY8" fmla="*/ 471224 h 1121963"/>
                  <a:gd name="connsiteX9" fmla="*/ 796594 w 1601580"/>
                  <a:gd name="connsiteY9" fmla="*/ 560981 h 1121963"/>
                  <a:gd name="connsiteX10" fmla="*/ 532933 w 1601580"/>
                  <a:gd name="connsiteY10" fmla="*/ 639519 h 1121963"/>
                  <a:gd name="connsiteX11" fmla="*/ 387078 w 1601580"/>
                  <a:gd name="connsiteY11" fmla="*/ 718056 h 1121963"/>
                  <a:gd name="connsiteX12" fmla="*/ 246832 w 1601580"/>
                  <a:gd name="connsiteY12" fmla="*/ 863911 h 1121963"/>
                  <a:gd name="connsiteX13" fmla="*/ 140246 w 1601580"/>
                  <a:gd name="connsiteY13" fmla="*/ 1009766 h 1121963"/>
                  <a:gd name="connsiteX14" fmla="*/ 0 w 1601580"/>
                  <a:gd name="connsiteY14" fmla="*/ 1121963 h 1121963"/>
                  <a:gd name="connsiteX0" fmla="*/ 1576223 w 1601580"/>
                  <a:gd name="connsiteY0" fmla="*/ 0 h 1121963"/>
                  <a:gd name="connsiteX1" fmla="*/ 1598798 w 1601580"/>
                  <a:gd name="connsiteY1" fmla="*/ 95366 h 1121963"/>
                  <a:gd name="connsiteX2" fmla="*/ 1559529 w 1601580"/>
                  <a:gd name="connsiteY2" fmla="*/ 179514 h 1121963"/>
                  <a:gd name="connsiteX3" fmla="*/ 1475382 w 1601580"/>
                  <a:gd name="connsiteY3" fmla="*/ 218782 h 1121963"/>
                  <a:gd name="connsiteX4" fmla="*/ 1385625 w 1601580"/>
                  <a:gd name="connsiteY4" fmla="*/ 224392 h 1121963"/>
                  <a:gd name="connsiteX5" fmla="*/ 1290258 w 1601580"/>
                  <a:gd name="connsiteY5" fmla="*/ 269271 h 1121963"/>
                  <a:gd name="connsiteX6" fmla="*/ 1262209 w 1601580"/>
                  <a:gd name="connsiteY6" fmla="*/ 364638 h 1121963"/>
                  <a:gd name="connsiteX7" fmla="*/ 1228550 w 1601580"/>
                  <a:gd name="connsiteY7" fmla="*/ 415126 h 1121963"/>
                  <a:gd name="connsiteX8" fmla="*/ 1093914 w 1601580"/>
                  <a:gd name="connsiteY8" fmla="*/ 471224 h 1121963"/>
                  <a:gd name="connsiteX9" fmla="*/ 796594 w 1601580"/>
                  <a:gd name="connsiteY9" fmla="*/ 560981 h 1121963"/>
                  <a:gd name="connsiteX10" fmla="*/ 532933 w 1601580"/>
                  <a:gd name="connsiteY10" fmla="*/ 639519 h 1121963"/>
                  <a:gd name="connsiteX11" fmla="*/ 387078 w 1601580"/>
                  <a:gd name="connsiteY11" fmla="*/ 718056 h 1121963"/>
                  <a:gd name="connsiteX12" fmla="*/ 246832 w 1601580"/>
                  <a:gd name="connsiteY12" fmla="*/ 863911 h 1121963"/>
                  <a:gd name="connsiteX13" fmla="*/ 140246 w 1601580"/>
                  <a:gd name="connsiteY13" fmla="*/ 1009766 h 1121963"/>
                  <a:gd name="connsiteX14" fmla="*/ 0 w 1601580"/>
                  <a:gd name="connsiteY14" fmla="*/ 1121963 h 1121963"/>
                  <a:gd name="connsiteX0" fmla="*/ 1576223 w 1576336"/>
                  <a:gd name="connsiteY0" fmla="*/ 0 h 1121963"/>
                  <a:gd name="connsiteX1" fmla="*/ 1559529 w 1576336"/>
                  <a:gd name="connsiteY1" fmla="*/ 179514 h 1121963"/>
                  <a:gd name="connsiteX2" fmla="*/ 1475382 w 1576336"/>
                  <a:gd name="connsiteY2" fmla="*/ 218782 h 1121963"/>
                  <a:gd name="connsiteX3" fmla="*/ 1385625 w 1576336"/>
                  <a:gd name="connsiteY3" fmla="*/ 224392 h 1121963"/>
                  <a:gd name="connsiteX4" fmla="*/ 1290258 w 1576336"/>
                  <a:gd name="connsiteY4" fmla="*/ 269271 h 1121963"/>
                  <a:gd name="connsiteX5" fmla="*/ 1262209 w 1576336"/>
                  <a:gd name="connsiteY5" fmla="*/ 364638 h 1121963"/>
                  <a:gd name="connsiteX6" fmla="*/ 1228550 w 1576336"/>
                  <a:gd name="connsiteY6" fmla="*/ 415126 h 1121963"/>
                  <a:gd name="connsiteX7" fmla="*/ 1093914 w 1576336"/>
                  <a:gd name="connsiteY7" fmla="*/ 471224 h 1121963"/>
                  <a:gd name="connsiteX8" fmla="*/ 796594 w 1576336"/>
                  <a:gd name="connsiteY8" fmla="*/ 560981 h 1121963"/>
                  <a:gd name="connsiteX9" fmla="*/ 532933 w 1576336"/>
                  <a:gd name="connsiteY9" fmla="*/ 639519 h 1121963"/>
                  <a:gd name="connsiteX10" fmla="*/ 387078 w 1576336"/>
                  <a:gd name="connsiteY10" fmla="*/ 718056 h 1121963"/>
                  <a:gd name="connsiteX11" fmla="*/ 246832 w 1576336"/>
                  <a:gd name="connsiteY11" fmla="*/ 863911 h 1121963"/>
                  <a:gd name="connsiteX12" fmla="*/ 140246 w 1576336"/>
                  <a:gd name="connsiteY12" fmla="*/ 1009766 h 1121963"/>
                  <a:gd name="connsiteX13" fmla="*/ 0 w 1576336"/>
                  <a:gd name="connsiteY13" fmla="*/ 1121963 h 1121963"/>
                  <a:gd name="connsiteX0" fmla="*/ 1576223 w 1595777"/>
                  <a:gd name="connsiteY0" fmla="*/ 0 h 1121963"/>
                  <a:gd name="connsiteX1" fmla="*/ 1559529 w 1595777"/>
                  <a:gd name="connsiteY1" fmla="*/ 179514 h 1121963"/>
                  <a:gd name="connsiteX2" fmla="*/ 1475382 w 1595777"/>
                  <a:gd name="connsiteY2" fmla="*/ 218782 h 1121963"/>
                  <a:gd name="connsiteX3" fmla="*/ 1385625 w 1595777"/>
                  <a:gd name="connsiteY3" fmla="*/ 224392 h 1121963"/>
                  <a:gd name="connsiteX4" fmla="*/ 1290258 w 1595777"/>
                  <a:gd name="connsiteY4" fmla="*/ 269271 h 1121963"/>
                  <a:gd name="connsiteX5" fmla="*/ 1262209 w 1595777"/>
                  <a:gd name="connsiteY5" fmla="*/ 364638 h 1121963"/>
                  <a:gd name="connsiteX6" fmla="*/ 1228550 w 1595777"/>
                  <a:gd name="connsiteY6" fmla="*/ 415126 h 1121963"/>
                  <a:gd name="connsiteX7" fmla="*/ 1093914 w 1595777"/>
                  <a:gd name="connsiteY7" fmla="*/ 471224 h 1121963"/>
                  <a:gd name="connsiteX8" fmla="*/ 796594 w 1595777"/>
                  <a:gd name="connsiteY8" fmla="*/ 560981 h 1121963"/>
                  <a:gd name="connsiteX9" fmla="*/ 532933 w 1595777"/>
                  <a:gd name="connsiteY9" fmla="*/ 639519 h 1121963"/>
                  <a:gd name="connsiteX10" fmla="*/ 387078 w 1595777"/>
                  <a:gd name="connsiteY10" fmla="*/ 718056 h 1121963"/>
                  <a:gd name="connsiteX11" fmla="*/ 246832 w 1595777"/>
                  <a:gd name="connsiteY11" fmla="*/ 863911 h 1121963"/>
                  <a:gd name="connsiteX12" fmla="*/ 140246 w 1595777"/>
                  <a:gd name="connsiteY12" fmla="*/ 1009766 h 1121963"/>
                  <a:gd name="connsiteX13" fmla="*/ 0 w 1595777"/>
                  <a:gd name="connsiteY13" fmla="*/ 1121963 h 1121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95777" h="1121963">
                    <a:moveTo>
                      <a:pt x="1576223" y="0"/>
                    </a:moveTo>
                    <a:cubicBezTo>
                      <a:pt x="1595777" y="111397"/>
                      <a:pt x="1576336" y="143050"/>
                      <a:pt x="1559529" y="179514"/>
                    </a:cubicBezTo>
                    <a:cubicBezTo>
                      <a:pt x="1542722" y="215978"/>
                      <a:pt x="1504366" y="211302"/>
                      <a:pt x="1475382" y="218782"/>
                    </a:cubicBezTo>
                    <a:cubicBezTo>
                      <a:pt x="1446398" y="226262"/>
                      <a:pt x="1416479" y="215977"/>
                      <a:pt x="1385625" y="224392"/>
                    </a:cubicBezTo>
                    <a:cubicBezTo>
                      <a:pt x="1354771" y="232807"/>
                      <a:pt x="1310827" y="245897"/>
                      <a:pt x="1290258" y="269271"/>
                    </a:cubicBezTo>
                    <a:cubicBezTo>
                      <a:pt x="1269689" y="292645"/>
                      <a:pt x="1272494" y="340329"/>
                      <a:pt x="1262209" y="364638"/>
                    </a:cubicBezTo>
                    <a:cubicBezTo>
                      <a:pt x="1251924" y="388947"/>
                      <a:pt x="1256599" y="397362"/>
                      <a:pt x="1228550" y="415126"/>
                    </a:cubicBezTo>
                    <a:cubicBezTo>
                      <a:pt x="1200501" y="432890"/>
                      <a:pt x="1165907" y="446915"/>
                      <a:pt x="1093914" y="471224"/>
                    </a:cubicBezTo>
                    <a:cubicBezTo>
                      <a:pt x="1021921" y="495533"/>
                      <a:pt x="796594" y="560981"/>
                      <a:pt x="796594" y="560981"/>
                    </a:cubicBezTo>
                    <a:cubicBezTo>
                      <a:pt x="703097" y="589030"/>
                      <a:pt x="601186" y="613340"/>
                      <a:pt x="532933" y="639519"/>
                    </a:cubicBezTo>
                    <a:cubicBezTo>
                      <a:pt x="464680" y="665698"/>
                      <a:pt x="434762" y="680657"/>
                      <a:pt x="387078" y="718056"/>
                    </a:cubicBezTo>
                    <a:cubicBezTo>
                      <a:pt x="339394" y="755455"/>
                      <a:pt x="287971" y="815293"/>
                      <a:pt x="246832" y="863911"/>
                    </a:cubicBezTo>
                    <a:cubicBezTo>
                      <a:pt x="205693" y="912529"/>
                      <a:pt x="181385" y="966757"/>
                      <a:pt x="140246" y="1009766"/>
                    </a:cubicBezTo>
                    <a:cubicBezTo>
                      <a:pt x="99107" y="1052775"/>
                      <a:pt x="49553" y="1087369"/>
                      <a:pt x="0" y="1121963"/>
                    </a:cubicBezTo>
                  </a:path>
                </a:pathLst>
              </a:custGeom>
              <a:ln w="25400">
                <a:solidFill>
                  <a:srgbClr val="FF0000"/>
                </a:solidFill>
                <a:headEnd type="non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2049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41" name="Полилиния 40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>
              <a:xfrm>
                <a:off x="3886308" y="5167321"/>
                <a:ext cx="471760" cy="2109732"/>
              </a:xfrm>
              <a:custGeom>
                <a:avLst/>
                <a:gdLst>
                  <a:gd name="connsiteX0" fmla="*/ 353042 w 353042"/>
                  <a:gd name="connsiteY0" fmla="*/ 1578820 h 1578820"/>
                  <a:gd name="connsiteX1" fmla="*/ 297125 w 353042"/>
                  <a:gd name="connsiteY1" fmla="*/ 1496590 h 1578820"/>
                  <a:gd name="connsiteX2" fmla="*/ 254365 w 353042"/>
                  <a:gd name="connsiteY2" fmla="*/ 1365021 h 1578820"/>
                  <a:gd name="connsiteX3" fmla="*/ 198449 w 353042"/>
                  <a:gd name="connsiteY3" fmla="*/ 1161090 h 1578820"/>
                  <a:gd name="connsiteX4" fmla="*/ 126086 w 353042"/>
                  <a:gd name="connsiteY4" fmla="*/ 980184 h 1578820"/>
                  <a:gd name="connsiteX5" fmla="*/ 73459 w 353042"/>
                  <a:gd name="connsiteY5" fmla="*/ 848616 h 1578820"/>
                  <a:gd name="connsiteX6" fmla="*/ 24121 w 353042"/>
                  <a:gd name="connsiteY6" fmla="*/ 730204 h 1578820"/>
                  <a:gd name="connsiteX7" fmla="*/ 20832 w 353042"/>
                  <a:gd name="connsiteY7" fmla="*/ 595347 h 1578820"/>
                  <a:gd name="connsiteX8" fmla="*/ 1096 w 353042"/>
                  <a:gd name="connsiteY8" fmla="*/ 348656 h 1578820"/>
                  <a:gd name="connsiteX9" fmla="*/ 14253 w 353042"/>
                  <a:gd name="connsiteY9" fmla="*/ 180906 h 1578820"/>
                  <a:gd name="connsiteX10" fmla="*/ 60302 w 353042"/>
                  <a:gd name="connsiteY10" fmla="*/ 105254 h 1578820"/>
                  <a:gd name="connsiteX11" fmla="*/ 83327 w 353042"/>
                  <a:gd name="connsiteY11" fmla="*/ 0 h 157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3042" h="1578820">
                    <a:moveTo>
                      <a:pt x="353042" y="1578820"/>
                    </a:moveTo>
                    <a:cubicBezTo>
                      <a:pt x="333306" y="1555521"/>
                      <a:pt x="313571" y="1532223"/>
                      <a:pt x="297125" y="1496590"/>
                    </a:cubicBezTo>
                    <a:cubicBezTo>
                      <a:pt x="280679" y="1460957"/>
                      <a:pt x="270811" y="1420938"/>
                      <a:pt x="254365" y="1365021"/>
                    </a:cubicBezTo>
                    <a:cubicBezTo>
                      <a:pt x="237919" y="1309104"/>
                      <a:pt x="219829" y="1225229"/>
                      <a:pt x="198449" y="1161090"/>
                    </a:cubicBezTo>
                    <a:cubicBezTo>
                      <a:pt x="177069" y="1096951"/>
                      <a:pt x="126086" y="980184"/>
                      <a:pt x="126086" y="980184"/>
                    </a:cubicBezTo>
                    <a:cubicBezTo>
                      <a:pt x="105254" y="928105"/>
                      <a:pt x="90453" y="890279"/>
                      <a:pt x="73459" y="848616"/>
                    </a:cubicBezTo>
                    <a:cubicBezTo>
                      <a:pt x="56465" y="806953"/>
                      <a:pt x="32892" y="772415"/>
                      <a:pt x="24121" y="730204"/>
                    </a:cubicBezTo>
                    <a:cubicBezTo>
                      <a:pt x="15350" y="687993"/>
                      <a:pt x="24669" y="658938"/>
                      <a:pt x="20832" y="595347"/>
                    </a:cubicBezTo>
                    <a:cubicBezTo>
                      <a:pt x="16995" y="531756"/>
                      <a:pt x="2192" y="417729"/>
                      <a:pt x="1096" y="348656"/>
                    </a:cubicBezTo>
                    <a:cubicBezTo>
                      <a:pt x="0" y="279583"/>
                      <a:pt x="4385" y="221473"/>
                      <a:pt x="14253" y="180906"/>
                    </a:cubicBezTo>
                    <a:cubicBezTo>
                      <a:pt x="24121" y="140339"/>
                      <a:pt x="48790" y="135405"/>
                      <a:pt x="60302" y="105254"/>
                    </a:cubicBezTo>
                    <a:cubicBezTo>
                      <a:pt x="71814" y="75103"/>
                      <a:pt x="77570" y="37551"/>
                      <a:pt x="83327" y="0"/>
                    </a:cubicBezTo>
                  </a:path>
                </a:pathLst>
              </a:custGeom>
              <a:ln w="25400">
                <a:solidFill>
                  <a:schemeClr val="accent4">
                    <a:lumMod val="20000"/>
                    <a:lumOff val="80000"/>
                  </a:schemeClr>
                </a:solidFill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2049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42" name="Полилиния 41"/>
              <p:cNvSpPr>
                <a:spLocks noChangeAspect="1"/>
              </p:cNvSpPr>
              <p:nvPr>
                <p:custDataLst>
                  <p:tags r:id="rId50"/>
                </p:custDataLst>
              </p:nvPr>
            </p:nvSpPr>
            <p:spPr>
              <a:xfrm>
                <a:off x="2273394" y="3049624"/>
                <a:ext cx="3043473" cy="3918033"/>
              </a:xfrm>
              <a:custGeom>
                <a:avLst/>
                <a:gdLst>
                  <a:gd name="connsiteX0" fmla="*/ 1857784 w 2277585"/>
                  <a:gd name="connsiteY0" fmla="*/ 2645028 h 2932063"/>
                  <a:gd name="connsiteX1" fmla="*/ 2048518 w 2277585"/>
                  <a:gd name="connsiteY1" fmla="*/ 2459904 h 2932063"/>
                  <a:gd name="connsiteX2" fmla="*/ 2228032 w 2277585"/>
                  <a:gd name="connsiteY2" fmla="*/ 2252340 h 2932063"/>
                  <a:gd name="connsiteX3" fmla="*/ 2250471 w 2277585"/>
                  <a:gd name="connsiteY3" fmla="*/ 2089656 h 2932063"/>
                  <a:gd name="connsiteX4" fmla="*/ 2222422 w 2277585"/>
                  <a:gd name="connsiteY4" fmla="*/ 1887702 h 2932063"/>
                  <a:gd name="connsiteX5" fmla="*/ 2261691 w 2277585"/>
                  <a:gd name="connsiteY5" fmla="*/ 1696969 h 2932063"/>
                  <a:gd name="connsiteX6" fmla="*/ 2272910 w 2277585"/>
                  <a:gd name="connsiteY6" fmla="*/ 1405258 h 2932063"/>
                  <a:gd name="connsiteX7" fmla="*/ 2272910 w 2277585"/>
                  <a:gd name="connsiteY7" fmla="*/ 1012571 h 2932063"/>
                  <a:gd name="connsiteX8" fmla="*/ 2250471 w 2277585"/>
                  <a:gd name="connsiteY8" fmla="*/ 799398 h 2932063"/>
                  <a:gd name="connsiteX9" fmla="*/ 2110226 w 2277585"/>
                  <a:gd name="connsiteY9" fmla="*/ 614274 h 2932063"/>
                  <a:gd name="connsiteX10" fmla="*/ 1885833 w 2277585"/>
                  <a:gd name="connsiteY10" fmla="*/ 406711 h 2932063"/>
                  <a:gd name="connsiteX11" fmla="*/ 1678270 w 2277585"/>
                  <a:gd name="connsiteY11" fmla="*/ 227197 h 2932063"/>
                  <a:gd name="connsiteX12" fmla="*/ 1498756 w 2277585"/>
                  <a:gd name="connsiteY12" fmla="*/ 148660 h 2932063"/>
                  <a:gd name="connsiteX13" fmla="*/ 1263144 w 2277585"/>
                  <a:gd name="connsiteY13" fmla="*/ 126220 h 2932063"/>
                  <a:gd name="connsiteX14" fmla="*/ 1033141 w 2277585"/>
                  <a:gd name="connsiteY14" fmla="*/ 14024 h 2932063"/>
                  <a:gd name="connsiteX15" fmla="*/ 791919 w 2277585"/>
                  <a:gd name="connsiteY15" fmla="*/ 42073 h 2932063"/>
                  <a:gd name="connsiteX16" fmla="*/ 629234 w 2277585"/>
                  <a:gd name="connsiteY16" fmla="*/ 148660 h 2932063"/>
                  <a:gd name="connsiteX17" fmla="*/ 460940 w 2277585"/>
                  <a:gd name="connsiteY17" fmla="*/ 249636 h 2932063"/>
                  <a:gd name="connsiteX18" fmla="*/ 253377 w 2277585"/>
                  <a:gd name="connsiteY18" fmla="*/ 328174 h 2932063"/>
                  <a:gd name="connsiteX19" fmla="*/ 118741 w 2277585"/>
                  <a:gd name="connsiteY19" fmla="*/ 457199 h 2932063"/>
                  <a:gd name="connsiteX20" fmla="*/ 113131 w 2277585"/>
                  <a:gd name="connsiteY20" fmla="*/ 659153 h 2932063"/>
                  <a:gd name="connsiteX21" fmla="*/ 57033 w 2277585"/>
                  <a:gd name="connsiteY21" fmla="*/ 956473 h 2932063"/>
                  <a:gd name="connsiteX22" fmla="*/ 12155 w 2277585"/>
                  <a:gd name="connsiteY22" fmla="*/ 1124767 h 2932063"/>
                  <a:gd name="connsiteX23" fmla="*/ 12155 w 2277585"/>
                  <a:gd name="connsiteY23" fmla="*/ 1354770 h 2932063"/>
                  <a:gd name="connsiteX24" fmla="*/ 85082 w 2277585"/>
                  <a:gd name="connsiteY24" fmla="*/ 1702579 h 2932063"/>
                  <a:gd name="connsiteX25" fmla="*/ 225328 w 2277585"/>
                  <a:gd name="connsiteY25" fmla="*/ 1977460 h 2932063"/>
                  <a:gd name="connsiteX26" fmla="*/ 348744 w 2277585"/>
                  <a:gd name="connsiteY26" fmla="*/ 2196242 h 2932063"/>
                  <a:gd name="connsiteX27" fmla="*/ 573136 w 2277585"/>
                  <a:gd name="connsiteY27" fmla="*/ 2555271 h 2932063"/>
                  <a:gd name="connsiteX28" fmla="*/ 707772 w 2277585"/>
                  <a:gd name="connsiteY28" fmla="*/ 2712345 h 2932063"/>
                  <a:gd name="connsiteX29" fmla="*/ 898506 w 2277585"/>
                  <a:gd name="connsiteY29" fmla="*/ 2790883 h 2932063"/>
                  <a:gd name="connsiteX30" fmla="*/ 1195826 w 2277585"/>
                  <a:gd name="connsiteY30" fmla="*/ 2897469 h 2932063"/>
                  <a:gd name="connsiteX31" fmla="*/ 1408999 w 2277585"/>
                  <a:gd name="connsiteY31" fmla="*/ 2925518 h 2932063"/>
                  <a:gd name="connsiteX32" fmla="*/ 1599733 w 2277585"/>
                  <a:gd name="connsiteY32" fmla="*/ 2858201 h 2932063"/>
                  <a:gd name="connsiteX33" fmla="*/ 1717539 w 2277585"/>
                  <a:gd name="connsiteY33" fmla="*/ 2774053 h 2932063"/>
                  <a:gd name="connsiteX34" fmla="*/ 1857784 w 2277585"/>
                  <a:gd name="connsiteY34" fmla="*/ 2645028 h 2932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2277585" h="2932063">
                    <a:moveTo>
                      <a:pt x="1857784" y="2645028"/>
                    </a:moveTo>
                    <a:cubicBezTo>
                      <a:pt x="1912947" y="2592670"/>
                      <a:pt x="1986810" y="2525352"/>
                      <a:pt x="2048518" y="2459904"/>
                    </a:cubicBezTo>
                    <a:cubicBezTo>
                      <a:pt x="2110226" y="2394456"/>
                      <a:pt x="2194373" y="2314048"/>
                      <a:pt x="2228032" y="2252340"/>
                    </a:cubicBezTo>
                    <a:cubicBezTo>
                      <a:pt x="2261691" y="2190632"/>
                      <a:pt x="2251406" y="2150429"/>
                      <a:pt x="2250471" y="2089656"/>
                    </a:cubicBezTo>
                    <a:cubicBezTo>
                      <a:pt x="2249536" y="2028883"/>
                      <a:pt x="2220552" y="1953150"/>
                      <a:pt x="2222422" y="1887702"/>
                    </a:cubicBezTo>
                    <a:cubicBezTo>
                      <a:pt x="2224292" y="1822254"/>
                      <a:pt x="2253276" y="1777376"/>
                      <a:pt x="2261691" y="1696969"/>
                    </a:cubicBezTo>
                    <a:cubicBezTo>
                      <a:pt x="2270106" y="1616562"/>
                      <a:pt x="2271040" y="1519324"/>
                      <a:pt x="2272910" y="1405258"/>
                    </a:cubicBezTo>
                    <a:cubicBezTo>
                      <a:pt x="2274780" y="1291192"/>
                      <a:pt x="2276650" y="1113548"/>
                      <a:pt x="2272910" y="1012571"/>
                    </a:cubicBezTo>
                    <a:cubicBezTo>
                      <a:pt x="2269170" y="911594"/>
                      <a:pt x="2277585" y="865781"/>
                      <a:pt x="2250471" y="799398"/>
                    </a:cubicBezTo>
                    <a:cubicBezTo>
                      <a:pt x="2223357" y="733015"/>
                      <a:pt x="2170999" y="679722"/>
                      <a:pt x="2110226" y="614274"/>
                    </a:cubicBezTo>
                    <a:cubicBezTo>
                      <a:pt x="2049453" y="548826"/>
                      <a:pt x="1957826" y="471224"/>
                      <a:pt x="1885833" y="406711"/>
                    </a:cubicBezTo>
                    <a:cubicBezTo>
                      <a:pt x="1813840" y="342198"/>
                      <a:pt x="1742783" y="270205"/>
                      <a:pt x="1678270" y="227197"/>
                    </a:cubicBezTo>
                    <a:cubicBezTo>
                      <a:pt x="1613757" y="184189"/>
                      <a:pt x="1567944" y="165489"/>
                      <a:pt x="1498756" y="148660"/>
                    </a:cubicBezTo>
                    <a:cubicBezTo>
                      <a:pt x="1429568" y="131831"/>
                      <a:pt x="1340746" y="148659"/>
                      <a:pt x="1263144" y="126220"/>
                    </a:cubicBezTo>
                    <a:cubicBezTo>
                      <a:pt x="1185542" y="103781"/>
                      <a:pt x="1111678" y="28048"/>
                      <a:pt x="1033141" y="14024"/>
                    </a:cubicBezTo>
                    <a:cubicBezTo>
                      <a:pt x="954604" y="0"/>
                      <a:pt x="859237" y="19634"/>
                      <a:pt x="791919" y="42073"/>
                    </a:cubicBezTo>
                    <a:cubicBezTo>
                      <a:pt x="724601" y="64512"/>
                      <a:pt x="684397" y="114066"/>
                      <a:pt x="629234" y="148660"/>
                    </a:cubicBezTo>
                    <a:cubicBezTo>
                      <a:pt x="574071" y="183254"/>
                      <a:pt x="523583" y="219717"/>
                      <a:pt x="460940" y="249636"/>
                    </a:cubicBezTo>
                    <a:cubicBezTo>
                      <a:pt x="398297" y="279555"/>
                      <a:pt x="310410" y="293580"/>
                      <a:pt x="253377" y="328174"/>
                    </a:cubicBezTo>
                    <a:cubicBezTo>
                      <a:pt x="196344" y="362768"/>
                      <a:pt x="142115" y="402036"/>
                      <a:pt x="118741" y="457199"/>
                    </a:cubicBezTo>
                    <a:cubicBezTo>
                      <a:pt x="95367" y="512362"/>
                      <a:pt x="123416" y="575941"/>
                      <a:pt x="113131" y="659153"/>
                    </a:cubicBezTo>
                    <a:cubicBezTo>
                      <a:pt x="102846" y="742365"/>
                      <a:pt x="73862" y="878871"/>
                      <a:pt x="57033" y="956473"/>
                    </a:cubicBezTo>
                    <a:cubicBezTo>
                      <a:pt x="40204" y="1034075"/>
                      <a:pt x="19635" y="1058384"/>
                      <a:pt x="12155" y="1124767"/>
                    </a:cubicBezTo>
                    <a:cubicBezTo>
                      <a:pt x="4675" y="1191150"/>
                      <a:pt x="0" y="1258468"/>
                      <a:pt x="12155" y="1354770"/>
                    </a:cubicBezTo>
                    <a:cubicBezTo>
                      <a:pt x="24310" y="1451072"/>
                      <a:pt x="49553" y="1598797"/>
                      <a:pt x="85082" y="1702579"/>
                    </a:cubicBezTo>
                    <a:cubicBezTo>
                      <a:pt x="120611" y="1806361"/>
                      <a:pt x="181384" y="1895183"/>
                      <a:pt x="225328" y="1977460"/>
                    </a:cubicBezTo>
                    <a:cubicBezTo>
                      <a:pt x="269272" y="2059737"/>
                      <a:pt x="290776" y="2099940"/>
                      <a:pt x="348744" y="2196242"/>
                    </a:cubicBezTo>
                    <a:cubicBezTo>
                      <a:pt x="406712" y="2292544"/>
                      <a:pt x="513298" y="2469254"/>
                      <a:pt x="573136" y="2555271"/>
                    </a:cubicBezTo>
                    <a:cubicBezTo>
                      <a:pt x="632974" y="2641288"/>
                      <a:pt x="653544" y="2673076"/>
                      <a:pt x="707772" y="2712345"/>
                    </a:cubicBezTo>
                    <a:cubicBezTo>
                      <a:pt x="762000" y="2751614"/>
                      <a:pt x="817164" y="2760029"/>
                      <a:pt x="898506" y="2790883"/>
                    </a:cubicBezTo>
                    <a:cubicBezTo>
                      <a:pt x="979848" y="2821737"/>
                      <a:pt x="1110744" y="2875030"/>
                      <a:pt x="1195826" y="2897469"/>
                    </a:cubicBezTo>
                    <a:cubicBezTo>
                      <a:pt x="1280908" y="2919908"/>
                      <a:pt x="1341681" y="2932063"/>
                      <a:pt x="1408999" y="2925518"/>
                    </a:cubicBezTo>
                    <a:cubicBezTo>
                      <a:pt x="1476317" y="2918973"/>
                      <a:pt x="1548310" y="2883445"/>
                      <a:pt x="1599733" y="2858201"/>
                    </a:cubicBezTo>
                    <a:cubicBezTo>
                      <a:pt x="1651156" y="2832957"/>
                      <a:pt x="1675466" y="2809582"/>
                      <a:pt x="1717539" y="2774053"/>
                    </a:cubicBezTo>
                    <a:cubicBezTo>
                      <a:pt x="1759613" y="2738524"/>
                      <a:pt x="1802621" y="2697386"/>
                      <a:pt x="1857784" y="2645028"/>
                    </a:cubicBezTo>
                    <a:close/>
                  </a:path>
                </a:pathLst>
              </a:custGeom>
              <a:noFill/>
              <a:ln>
                <a:solidFill>
                  <a:schemeClr val="bg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49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43" name="TextBox 42"/>
              <p:cNvSpPr txBox="1"/>
              <p:nvPr>
                <p:custDataLst>
                  <p:tags r:id="rId51"/>
                </p:custDataLst>
              </p:nvPr>
            </p:nvSpPr>
            <p:spPr>
              <a:xfrm>
                <a:off x="-47139" y="2241234"/>
                <a:ext cx="1996043" cy="632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b="1" dirty="0">
                    <a:solidFill>
                      <a:prstClr val="white"/>
                    </a:solidFill>
                    <a:latin typeface="+mj-lt"/>
                  </a:rPr>
                  <a:t>Зеленоград</a:t>
                </a:r>
                <a:endParaRPr lang="ru-RU" sz="800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44" name="TextBox 43"/>
              <p:cNvSpPr txBox="1"/>
              <p:nvPr>
                <p:custDataLst>
                  <p:tags r:id="rId52"/>
                </p:custDataLst>
              </p:nvPr>
            </p:nvSpPr>
            <p:spPr>
              <a:xfrm>
                <a:off x="2947081" y="1523862"/>
                <a:ext cx="1408692" cy="632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b="1" dirty="0">
                    <a:solidFill>
                      <a:prstClr val="white"/>
                    </a:solidFill>
                    <a:latin typeface="+mj-lt"/>
                  </a:rPr>
                  <a:t>Лобня</a:t>
                </a:r>
                <a:endParaRPr lang="ru-RU" sz="800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45" name="TextBox 44"/>
              <p:cNvSpPr txBox="1"/>
              <p:nvPr>
                <p:custDataLst>
                  <p:tags r:id="rId53"/>
                </p:custDataLst>
              </p:nvPr>
            </p:nvSpPr>
            <p:spPr>
              <a:xfrm>
                <a:off x="5291003" y="1535665"/>
                <a:ext cx="1669538" cy="632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b="1" dirty="0">
                    <a:solidFill>
                      <a:prstClr val="white"/>
                    </a:solidFill>
                    <a:latin typeface="+mj-lt"/>
                  </a:rPr>
                  <a:t>Пушкино</a:t>
                </a:r>
                <a:endParaRPr lang="ru-RU" sz="800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46" name="TextBox 45"/>
              <p:cNvSpPr txBox="1"/>
              <p:nvPr>
                <p:custDataLst>
                  <p:tags r:id="rId54"/>
                </p:custDataLst>
              </p:nvPr>
            </p:nvSpPr>
            <p:spPr>
              <a:xfrm>
                <a:off x="5373548" y="2915364"/>
                <a:ext cx="2060772" cy="632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b="1" dirty="0">
                    <a:solidFill>
                      <a:prstClr val="white"/>
                    </a:solidFill>
                    <a:latin typeface="+mj-lt"/>
                  </a:rPr>
                  <a:t>Королёв</a:t>
                </a:r>
                <a:endParaRPr lang="ru-RU" sz="800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47" name="TextBox 46"/>
              <p:cNvSpPr txBox="1"/>
              <p:nvPr>
                <p:custDataLst>
                  <p:tags r:id="rId55"/>
                </p:custDataLst>
              </p:nvPr>
            </p:nvSpPr>
            <p:spPr>
              <a:xfrm>
                <a:off x="-23338" y="4010898"/>
                <a:ext cx="2313918" cy="632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b="1" dirty="0">
                    <a:solidFill>
                      <a:prstClr val="white"/>
                    </a:solidFill>
                    <a:latin typeface="+mj-lt"/>
                  </a:rPr>
                  <a:t>Нахабино</a:t>
                </a:r>
                <a:endParaRPr lang="ru-RU" sz="800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48" name="TextBox 47"/>
              <p:cNvSpPr txBox="1"/>
              <p:nvPr>
                <p:custDataLst>
                  <p:tags r:id="rId56"/>
                </p:custDataLst>
              </p:nvPr>
            </p:nvSpPr>
            <p:spPr>
              <a:xfrm>
                <a:off x="8762" y="5792494"/>
                <a:ext cx="2243559" cy="632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b="1" dirty="0">
                    <a:solidFill>
                      <a:prstClr val="white"/>
                    </a:solidFill>
                    <a:latin typeface="+mj-lt"/>
                  </a:rPr>
                  <a:t>Одинцово</a:t>
                </a:r>
                <a:endParaRPr lang="ru-RU" sz="800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49" name="TextBox 48"/>
              <p:cNvSpPr txBox="1"/>
              <p:nvPr>
                <p:custDataLst>
                  <p:tags r:id="rId57"/>
                </p:custDataLst>
              </p:nvPr>
            </p:nvSpPr>
            <p:spPr>
              <a:xfrm>
                <a:off x="-21276" y="7229676"/>
                <a:ext cx="2329370" cy="632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b="1" dirty="0">
                    <a:solidFill>
                      <a:prstClr val="white"/>
                    </a:solidFill>
                    <a:latin typeface="+mj-lt"/>
                  </a:rPr>
                  <a:t>Апрелевка</a:t>
                </a:r>
                <a:endParaRPr lang="ru-RU" sz="800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50" name="TextBox 49"/>
              <p:cNvSpPr txBox="1"/>
              <p:nvPr>
                <p:custDataLst>
                  <p:tags r:id="rId58"/>
                </p:custDataLst>
              </p:nvPr>
            </p:nvSpPr>
            <p:spPr>
              <a:xfrm>
                <a:off x="3512749" y="8229652"/>
                <a:ext cx="2054029" cy="632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b="1" dirty="0">
                    <a:solidFill>
                      <a:prstClr val="white"/>
                    </a:solidFill>
                    <a:latin typeface="+mj-lt"/>
                  </a:rPr>
                  <a:t>Подольск</a:t>
                </a:r>
                <a:endParaRPr lang="ru-RU" sz="800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51" name="TextBox 50"/>
              <p:cNvSpPr txBox="1"/>
              <p:nvPr>
                <p:custDataLst>
                  <p:tags r:id="rId59"/>
                </p:custDataLst>
              </p:nvPr>
            </p:nvSpPr>
            <p:spPr>
              <a:xfrm>
                <a:off x="5420384" y="4926263"/>
                <a:ext cx="3795236" cy="632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b="1" dirty="0">
                    <a:solidFill>
                      <a:prstClr val="white"/>
                    </a:solidFill>
                    <a:latin typeface="+mj-lt"/>
                  </a:rPr>
                  <a:t>Железнодорожный</a:t>
                </a:r>
                <a:endParaRPr lang="ru-RU" sz="800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52" name="Прямоугольник 51"/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>
              <a:xfrm>
                <a:off x="5578082" y="2566331"/>
                <a:ext cx="449722" cy="415781"/>
              </a:xfrm>
              <a:prstGeom prst="rect">
                <a:avLst/>
              </a:prstGeom>
              <a:solidFill>
                <a:srgbClr val="00B0F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193" b="1" dirty="0">
                    <a:solidFill>
                      <a:prstClr val="black"/>
                    </a:solidFill>
                    <a:latin typeface="+mj-lt"/>
                  </a:rPr>
                  <a:t>5</a:t>
                </a:r>
              </a:p>
            </p:txBody>
          </p:sp>
        </p:grpSp>
        <p:sp>
          <p:nvSpPr>
            <p:cNvPr id="53" name="Прямоугольник 52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4047719" y="1573276"/>
              <a:ext cx="383195" cy="354275"/>
            </a:xfrm>
            <a:prstGeom prst="rect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49" dirty="0">
                  <a:solidFill>
                    <a:prstClr val="white"/>
                  </a:solidFill>
                  <a:latin typeface="+mj-lt"/>
                </a:rPr>
                <a:t>1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D572BD0-90A1-402F-943B-D5CEE1FE09F6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4435933" y="1606408"/>
              <a:ext cx="1604254" cy="275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93" dirty="0">
                  <a:solidFill>
                    <a:prstClr val="black"/>
                  </a:solidFill>
                  <a:latin typeface="+mj-lt"/>
                </a:rPr>
                <a:t>Лобня – Одинцово</a:t>
              </a:r>
            </a:p>
          </p:txBody>
        </p:sp>
        <p:sp>
          <p:nvSpPr>
            <p:cNvPr id="55" name="Прямоугольник 54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4047719" y="2060789"/>
              <a:ext cx="383195" cy="354275"/>
            </a:xfrm>
            <a:prstGeom prst="rect">
              <a:avLst/>
            </a:prstGeom>
            <a:solidFill>
              <a:srgbClr val="F7963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49" dirty="0">
                  <a:solidFill>
                    <a:prstClr val="white"/>
                  </a:solidFill>
                  <a:latin typeface="+mj-lt"/>
                </a:rPr>
                <a:t>2</a:t>
              </a:r>
            </a:p>
          </p:txBody>
        </p:sp>
        <p:sp>
          <p:nvSpPr>
            <p:cNvPr id="56" name="Прямоугольник 55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4047719" y="2534677"/>
              <a:ext cx="383195" cy="354275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49" dirty="0">
                  <a:solidFill>
                    <a:prstClr val="black"/>
                  </a:solidFill>
                  <a:latin typeface="+mj-lt"/>
                </a:rPr>
                <a:t>3</a:t>
              </a:r>
            </a:p>
          </p:txBody>
        </p:sp>
        <p:sp>
          <p:nvSpPr>
            <p:cNvPr id="57" name="Прямоугольник 56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4047719" y="3034707"/>
              <a:ext cx="383195" cy="354275"/>
            </a:xfrm>
            <a:prstGeom prst="rect">
              <a:avLst/>
            </a:prstGeom>
            <a:solidFill>
              <a:srgbClr val="13FF0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49" dirty="0">
                  <a:solidFill>
                    <a:prstClr val="black"/>
                  </a:solidFill>
                  <a:latin typeface="+mj-lt"/>
                </a:rPr>
                <a:t>4</a:t>
              </a:r>
            </a:p>
          </p:txBody>
        </p:sp>
        <p:sp>
          <p:nvSpPr>
            <p:cNvPr id="58" name="Прямоугольник 57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4047719" y="3494013"/>
              <a:ext cx="383195" cy="354275"/>
            </a:xfrm>
            <a:prstGeom prst="rect">
              <a:avLst/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49" dirty="0">
                  <a:solidFill>
                    <a:prstClr val="black"/>
                  </a:solidFill>
                  <a:latin typeface="+mj-lt"/>
                </a:rPr>
                <a:t>5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DD572BD0-90A1-402F-943B-D5CEE1FE09F6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4435933" y="2007829"/>
              <a:ext cx="1839271" cy="4594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93" dirty="0">
                  <a:solidFill>
                    <a:prstClr val="black"/>
                  </a:solidFill>
                  <a:latin typeface="+mj-lt"/>
                </a:rPr>
                <a:t>Нахабино – Железно-дорожный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DD572BD0-90A1-402F-943B-D5CEE1FE09F6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4435934" y="2481606"/>
              <a:ext cx="1768352" cy="4594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93" dirty="0">
                  <a:solidFill>
                    <a:prstClr val="black"/>
                  </a:solidFill>
                  <a:latin typeface="+mj-lt"/>
                </a:rPr>
                <a:t>Зеленоград (Крюково) – </a:t>
              </a:r>
            </a:p>
            <a:p>
              <a:r>
                <a:rPr lang="ru-RU" sz="1193" dirty="0">
                  <a:solidFill>
                    <a:prstClr val="black"/>
                  </a:solidFill>
                  <a:latin typeface="+mj-lt"/>
                </a:rPr>
                <a:t>Раменское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D572BD0-90A1-402F-943B-D5CEE1FE09F6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4435933" y="3067376"/>
              <a:ext cx="1631734" cy="275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93" dirty="0">
                  <a:solidFill>
                    <a:prstClr val="black"/>
                  </a:solidFill>
                  <a:latin typeface="+mj-lt"/>
                </a:rPr>
                <a:t>Пушкино – Подольск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D572BD0-90A1-402F-943B-D5CEE1FE09F6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4435934" y="3551726"/>
              <a:ext cx="1704776" cy="2759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93" dirty="0">
                  <a:solidFill>
                    <a:prstClr val="black"/>
                  </a:solidFill>
                  <a:latin typeface="+mj-lt"/>
                </a:rPr>
                <a:t>Королёв – Апрелевка</a:t>
              </a:r>
            </a:p>
          </p:txBody>
        </p:sp>
        <p:sp>
          <p:nvSpPr>
            <p:cNvPr id="63" name="Line 6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4001727" y="1473295"/>
              <a:ext cx="5814361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2049">
                <a:latin typeface="+mj-lt"/>
              </a:endParaRPr>
            </a:p>
          </p:txBody>
        </p:sp>
        <p:sp>
          <p:nvSpPr>
            <p:cNvPr id="64" name="Rectangle 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4026076" y="1325036"/>
              <a:ext cx="1145704" cy="14202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762924">
                <a:buClr>
                  <a:schemeClr val="tx2"/>
                </a:buClr>
              </a:pPr>
              <a:r>
                <a:rPr lang="ru-RU" sz="923" dirty="0">
                  <a:latin typeface="+mj-lt"/>
                </a:rPr>
                <a:t>Диаметр (маршрут)</a:t>
              </a:r>
            </a:p>
          </p:txBody>
        </p:sp>
        <p:grpSp>
          <p:nvGrpSpPr>
            <p:cNvPr id="68" name="Группа 67"/>
            <p:cNvGrpSpPr/>
            <p:nvPr/>
          </p:nvGrpSpPr>
          <p:grpSpPr>
            <a:xfrm>
              <a:off x="6131637" y="1486707"/>
              <a:ext cx="1502969" cy="2498166"/>
              <a:chOff x="6332350" y="628025"/>
              <a:chExt cx="3038475" cy="6197600"/>
            </a:xfrm>
          </p:grpSpPr>
          <p:graphicFrame>
            <p:nvGraphicFramePr>
              <p:cNvPr id="65" name="Объект 64"/>
              <p:cNvGraphicFramePr>
                <a:graphicFrameLocks/>
              </p:cNvGraphicFramePr>
              <p:nvPr>
                <p:custDataLst>
                  <p:tags r:id="rId35"/>
                </p:custDataLst>
              </p:nvPr>
            </p:nvGraphicFramePr>
            <p:xfrm>
              <a:off x="6332350" y="628025"/>
              <a:ext cx="1384300" cy="61976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034" name="Chart" r:id="rId64" imgW="1384300" imgH="6197600" progId="MSGraph.Chart.8">
                      <p:embed followColorScheme="full"/>
                    </p:oleObj>
                  </mc:Choice>
                  <mc:Fallback>
                    <p:oleObj name="Chart" r:id="rId64" imgW="1384300" imgH="6197600" progId="MSGraph.Chart.8">
                      <p:embed followColorScheme="full"/>
                      <p:pic>
                        <p:nvPicPr>
                          <p:cNvPr id="65" name="Объект 64"/>
                          <p:cNvPicPr/>
                          <p:nvPr/>
                        </p:nvPicPr>
                        <p:blipFill>
                          <a:blip r:embed="rId65"/>
                          <a:stretch>
                            <a:fillRect/>
                          </a:stretch>
                        </p:blipFill>
                        <p:spPr>
                          <a:xfrm>
                            <a:off x="6332350" y="628025"/>
                            <a:ext cx="1384300" cy="61976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6" name="Объект 65"/>
              <p:cNvGraphicFramePr>
                <a:graphicFrameLocks/>
              </p:cNvGraphicFramePr>
              <p:nvPr>
                <p:custDataLst>
                  <p:tags r:id="rId36"/>
                </p:custDataLst>
              </p:nvPr>
            </p:nvGraphicFramePr>
            <p:xfrm>
              <a:off x="7116575" y="628025"/>
              <a:ext cx="1384300" cy="61976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035" name="Chart" r:id="rId66" imgW="1384300" imgH="6197600" progId="MSGraph.Chart.8">
                      <p:embed followColorScheme="full"/>
                    </p:oleObj>
                  </mc:Choice>
                  <mc:Fallback>
                    <p:oleObj name="Chart" r:id="rId66" imgW="1384300" imgH="6197600" progId="MSGraph.Chart.8">
                      <p:embed followColorScheme="full"/>
                      <p:pic>
                        <p:nvPicPr>
                          <p:cNvPr id="66" name="Объект 65"/>
                          <p:cNvPicPr/>
                          <p:nvPr/>
                        </p:nvPicPr>
                        <p:blipFill>
                          <a:blip r:embed="rId67"/>
                          <a:stretch>
                            <a:fillRect/>
                          </a:stretch>
                        </p:blipFill>
                        <p:spPr>
                          <a:xfrm>
                            <a:off x="7116575" y="628025"/>
                            <a:ext cx="1384300" cy="61976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7" name="Объект 66"/>
              <p:cNvGraphicFramePr>
                <a:graphicFrameLocks/>
              </p:cNvGraphicFramePr>
              <p:nvPr>
                <p:custDataLst>
                  <p:tags r:id="rId37"/>
                </p:custDataLst>
              </p:nvPr>
            </p:nvGraphicFramePr>
            <p:xfrm>
              <a:off x="7884925" y="628025"/>
              <a:ext cx="1485900" cy="61976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036" name="Chart" r:id="rId68" imgW="1485900" imgH="6197600" progId="MSGraph.Chart.8">
                      <p:embed followColorScheme="full"/>
                    </p:oleObj>
                  </mc:Choice>
                  <mc:Fallback>
                    <p:oleObj name="Chart" r:id="rId68" imgW="1485900" imgH="6197600" progId="MSGraph.Chart.8">
                      <p:embed followColorScheme="full"/>
                      <p:pic>
                        <p:nvPicPr>
                          <p:cNvPr id="67" name="Объект 66"/>
                          <p:cNvPicPr/>
                          <p:nvPr/>
                        </p:nvPicPr>
                        <p:blipFill>
                          <a:blip r:embed="rId69"/>
                          <a:stretch>
                            <a:fillRect/>
                          </a:stretch>
                        </p:blipFill>
                        <p:spPr>
                          <a:xfrm>
                            <a:off x="7884925" y="628025"/>
                            <a:ext cx="1485900" cy="619760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sp>
          <p:nvSpPr>
            <p:cNvPr id="72" name="Прямоугольник 71"/>
            <p:cNvSpPr/>
            <p:nvPr>
              <p:custDataLst>
                <p:tags r:id="rId16"/>
              </p:custDataLst>
            </p:nvPr>
          </p:nvSpPr>
          <p:spPr bwMode="auto">
            <a:xfrm>
              <a:off x="6202810" y="1663236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</a:rPr>
                <a:t>52</a:t>
              </a:r>
              <a:endParaRPr lang="ru-RU" sz="1023" dirty="0">
                <a:solidFill>
                  <a:schemeClr val="tx1"/>
                </a:solidFill>
                <a:latin typeface="+mj-lt"/>
                <a:sym typeface="Calibri"/>
              </a:endParaRPr>
            </a:p>
          </p:txBody>
        </p:sp>
        <p:sp>
          <p:nvSpPr>
            <p:cNvPr id="73" name="Прямоугольник 72"/>
            <p:cNvSpPr/>
            <p:nvPr>
              <p:custDataLst>
                <p:tags r:id="rId17"/>
              </p:custDataLst>
            </p:nvPr>
          </p:nvSpPr>
          <p:spPr bwMode="auto">
            <a:xfrm>
              <a:off x="6595395" y="1657193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</a:rPr>
                <a:t>26</a:t>
              </a:r>
              <a:endParaRPr lang="ru-RU" sz="1023" dirty="0">
                <a:solidFill>
                  <a:schemeClr val="tx1"/>
                </a:solidFill>
                <a:latin typeface="+mj-lt"/>
                <a:sym typeface="Calibri"/>
              </a:endParaRPr>
            </a:p>
          </p:txBody>
        </p:sp>
        <p:sp>
          <p:nvSpPr>
            <p:cNvPr id="74" name="Прямоугольник 73"/>
            <p:cNvSpPr/>
            <p:nvPr>
              <p:custDataLst>
                <p:tags r:id="rId18"/>
              </p:custDataLst>
            </p:nvPr>
          </p:nvSpPr>
          <p:spPr bwMode="auto">
            <a:xfrm>
              <a:off x="7093774" y="1657193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</a:rPr>
                <a:t>68</a:t>
              </a:r>
              <a:endParaRPr lang="ru-RU" sz="1023" dirty="0">
                <a:solidFill>
                  <a:schemeClr val="tx1"/>
                </a:solidFill>
                <a:latin typeface="+mj-lt"/>
                <a:sym typeface="Calibri"/>
              </a:endParaRPr>
            </a:p>
          </p:txBody>
        </p:sp>
        <p:sp>
          <p:nvSpPr>
            <p:cNvPr id="75" name="Прямоугольник 74"/>
            <p:cNvSpPr/>
            <p:nvPr>
              <p:custDataLst>
                <p:tags r:id="rId19"/>
              </p:custDataLst>
            </p:nvPr>
          </p:nvSpPr>
          <p:spPr bwMode="auto">
            <a:xfrm>
              <a:off x="6220394" y="2137910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  <a:sym typeface="Calibri"/>
                </a:rPr>
                <a:t>62</a:t>
              </a:r>
            </a:p>
          </p:txBody>
        </p:sp>
        <p:sp>
          <p:nvSpPr>
            <p:cNvPr id="76" name="Прямоугольник 75"/>
            <p:cNvSpPr/>
            <p:nvPr>
              <p:custDataLst>
                <p:tags r:id="rId20"/>
              </p:custDataLst>
            </p:nvPr>
          </p:nvSpPr>
          <p:spPr bwMode="auto">
            <a:xfrm>
              <a:off x="6612979" y="2140929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</a:rPr>
                <a:t>28</a:t>
              </a:r>
              <a:endParaRPr lang="ru-RU" sz="1023" dirty="0">
                <a:solidFill>
                  <a:schemeClr val="tx1"/>
                </a:solidFill>
                <a:latin typeface="+mj-lt"/>
                <a:sym typeface="Calibri"/>
              </a:endParaRPr>
            </a:p>
          </p:txBody>
        </p:sp>
        <p:sp>
          <p:nvSpPr>
            <p:cNvPr id="77" name="Прямоугольник 76"/>
            <p:cNvSpPr/>
            <p:nvPr>
              <p:custDataLst>
                <p:tags r:id="rId21"/>
              </p:custDataLst>
            </p:nvPr>
          </p:nvSpPr>
          <p:spPr bwMode="auto">
            <a:xfrm>
              <a:off x="7165718" y="2131869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  <a:sym typeface="Calibri"/>
                </a:rPr>
                <a:t>89</a:t>
              </a:r>
            </a:p>
          </p:txBody>
        </p:sp>
        <p:sp>
          <p:nvSpPr>
            <p:cNvPr id="78" name="Прямоугольник 77"/>
            <p:cNvSpPr/>
            <p:nvPr>
              <p:custDataLst>
                <p:tags r:id="rId22"/>
              </p:custDataLst>
            </p:nvPr>
          </p:nvSpPr>
          <p:spPr bwMode="auto">
            <a:xfrm>
              <a:off x="6237979" y="2630706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  <a:sym typeface="Calibri"/>
                </a:rPr>
                <a:t>84</a:t>
              </a:r>
            </a:p>
          </p:txBody>
        </p:sp>
        <p:sp>
          <p:nvSpPr>
            <p:cNvPr id="79" name="Прямоугольник 78"/>
            <p:cNvSpPr/>
            <p:nvPr>
              <p:custDataLst>
                <p:tags r:id="rId23"/>
              </p:custDataLst>
            </p:nvPr>
          </p:nvSpPr>
          <p:spPr bwMode="auto">
            <a:xfrm>
              <a:off x="6630564" y="2633725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</a:rPr>
                <a:t>40</a:t>
              </a:r>
              <a:endParaRPr lang="ru-RU" sz="1023" dirty="0">
                <a:solidFill>
                  <a:schemeClr val="tx1"/>
                </a:solidFill>
                <a:latin typeface="+mj-lt"/>
                <a:sym typeface="Calibri"/>
              </a:endParaRPr>
            </a:p>
          </p:txBody>
        </p:sp>
        <p:sp>
          <p:nvSpPr>
            <p:cNvPr id="80" name="Прямоугольник 79"/>
            <p:cNvSpPr/>
            <p:nvPr>
              <p:custDataLst>
                <p:tags r:id="rId24"/>
              </p:custDataLst>
            </p:nvPr>
          </p:nvSpPr>
          <p:spPr bwMode="auto">
            <a:xfrm>
              <a:off x="7183302" y="2624665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  <a:sym typeface="Calibri"/>
                </a:rPr>
                <a:t>87</a:t>
              </a:r>
            </a:p>
          </p:txBody>
        </p:sp>
        <p:sp>
          <p:nvSpPr>
            <p:cNvPr id="81" name="Прямоугольник 80"/>
            <p:cNvSpPr/>
            <p:nvPr>
              <p:custDataLst>
                <p:tags r:id="rId25"/>
              </p:custDataLst>
            </p:nvPr>
          </p:nvSpPr>
          <p:spPr bwMode="auto">
            <a:xfrm>
              <a:off x="6332664" y="3102154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  <a:sym typeface="Calibri"/>
                </a:rPr>
                <a:t>36</a:t>
              </a:r>
            </a:p>
          </p:txBody>
        </p:sp>
        <p:sp>
          <p:nvSpPr>
            <p:cNvPr id="82" name="Прямоугольник 81"/>
            <p:cNvSpPr/>
            <p:nvPr>
              <p:custDataLst>
                <p:tags r:id="rId26"/>
              </p:custDataLst>
            </p:nvPr>
          </p:nvSpPr>
          <p:spPr bwMode="auto">
            <a:xfrm>
              <a:off x="6652769" y="3096112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</a:rPr>
                <a:t>36</a:t>
              </a:r>
              <a:endParaRPr lang="ru-RU" sz="1023" dirty="0">
                <a:solidFill>
                  <a:schemeClr val="tx1"/>
                </a:solidFill>
                <a:latin typeface="+mj-lt"/>
                <a:sym typeface="Calibri"/>
              </a:endParaRPr>
            </a:p>
          </p:txBody>
        </p:sp>
        <p:sp>
          <p:nvSpPr>
            <p:cNvPr id="83" name="Прямоугольник 82"/>
            <p:cNvSpPr/>
            <p:nvPr>
              <p:custDataLst>
                <p:tags r:id="rId27"/>
              </p:custDataLst>
            </p:nvPr>
          </p:nvSpPr>
          <p:spPr bwMode="auto">
            <a:xfrm>
              <a:off x="7187388" y="3105172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  <a:sym typeface="Calibri"/>
                </a:rPr>
                <a:t>86</a:t>
              </a:r>
            </a:p>
          </p:txBody>
        </p:sp>
        <p:sp>
          <p:nvSpPr>
            <p:cNvPr id="84" name="Прямоугольник 83"/>
            <p:cNvSpPr/>
            <p:nvPr>
              <p:custDataLst>
                <p:tags r:id="rId28"/>
              </p:custDataLst>
            </p:nvPr>
          </p:nvSpPr>
          <p:spPr bwMode="auto">
            <a:xfrm>
              <a:off x="6242065" y="3604373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  <a:sym typeface="Calibri"/>
                </a:rPr>
                <a:t>75</a:t>
              </a:r>
            </a:p>
          </p:txBody>
        </p:sp>
        <p:sp>
          <p:nvSpPr>
            <p:cNvPr id="85" name="Прямоугольник 84"/>
            <p:cNvSpPr/>
            <p:nvPr>
              <p:custDataLst>
                <p:tags r:id="rId29"/>
              </p:custDataLst>
            </p:nvPr>
          </p:nvSpPr>
          <p:spPr bwMode="auto">
            <a:xfrm>
              <a:off x="6580289" y="3598330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  <a:sym typeface="Calibri"/>
                </a:rPr>
                <a:t>21</a:t>
              </a:r>
            </a:p>
          </p:txBody>
        </p:sp>
        <p:sp>
          <p:nvSpPr>
            <p:cNvPr id="86" name="Прямоугольник 85"/>
            <p:cNvSpPr/>
            <p:nvPr>
              <p:custDataLst>
                <p:tags r:id="rId30"/>
              </p:custDataLst>
            </p:nvPr>
          </p:nvSpPr>
          <p:spPr bwMode="auto">
            <a:xfrm>
              <a:off x="7096790" y="3598330"/>
              <a:ext cx="224542" cy="2083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4348" tIns="0" rIns="24348" bIns="0"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sz="1023" dirty="0">
                  <a:solidFill>
                    <a:schemeClr val="tx1"/>
                  </a:solidFill>
                  <a:latin typeface="+mj-lt"/>
                  <a:sym typeface="Calibri"/>
                </a:rPr>
                <a:t>67</a:t>
              </a:r>
            </a:p>
          </p:txBody>
        </p:sp>
        <p:sp>
          <p:nvSpPr>
            <p:cNvPr id="88" name="Rectangle 7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7007005" y="1208780"/>
              <a:ext cx="1356529" cy="2622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762924">
                <a:buClr>
                  <a:schemeClr val="tx2"/>
                </a:buClr>
              </a:pPr>
              <a:r>
                <a:rPr lang="ru-RU" sz="852" dirty="0">
                  <a:latin typeface="+mj-lt"/>
                </a:rPr>
                <a:t>Диаметральный пасс. поток</a:t>
              </a:r>
            </a:p>
            <a:p>
              <a:pPr defTabSz="762924">
                <a:buClr>
                  <a:schemeClr val="tx2"/>
                </a:buClr>
              </a:pPr>
              <a:r>
                <a:rPr lang="ru-RU" sz="852" dirty="0">
                  <a:latin typeface="+mj-lt"/>
                </a:rPr>
                <a:t>(тыс. чел/сут)</a:t>
              </a:r>
            </a:p>
          </p:txBody>
        </p:sp>
        <p:sp>
          <p:nvSpPr>
            <p:cNvPr id="90" name="Rectangle 7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6200713" y="1220458"/>
              <a:ext cx="379576" cy="2434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algn="ctr" defTabSz="762924">
                <a:buClr>
                  <a:schemeClr val="tx2"/>
                </a:buClr>
              </a:pPr>
              <a:r>
                <a:rPr lang="ru-RU" sz="791" dirty="0">
                  <a:latin typeface="+mj-lt"/>
                </a:rPr>
                <a:t>Длина</a:t>
              </a:r>
            </a:p>
            <a:p>
              <a:pPr algn="ctr" defTabSz="762924">
                <a:buClr>
                  <a:schemeClr val="tx2"/>
                </a:buClr>
              </a:pPr>
              <a:r>
                <a:rPr lang="ru-RU" sz="791" dirty="0">
                  <a:latin typeface="+mj-lt"/>
                </a:rPr>
                <a:t>(км)</a:t>
              </a:r>
            </a:p>
          </p:txBody>
        </p:sp>
        <p:sp>
          <p:nvSpPr>
            <p:cNvPr id="92" name="Rectangle 7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6609643" y="1218579"/>
              <a:ext cx="854422" cy="2434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762924">
                <a:buClr>
                  <a:schemeClr val="tx2"/>
                </a:buClr>
              </a:pPr>
              <a:r>
                <a:rPr lang="ru-RU" sz="791" dirty="0">
                  <a:latin typeface="+mj-lt"/>
                </a:rPr>
                <a:t>Кол-во </a:t>
              </a:r>
            </a:p>
            <a:p>
              <a:pPr defTabSz="762924">
                <a:buClr>
                  <a:schemeClr val="tx2"/>
                </a:buClr>
              </a:pPr>
              <a:r>
                <a:rPr lang="ru-RU" sz="791" dirty="0">
                  <a:latin typeface="+mj-lt"/>
                </a:rPr>
                <a:t>станций</a:t>
              </a:r>
            </a:p>
          </p:txBody>
        </p:sp>
        <p:sp>
          <p:nvSpPr>
            <p:cNvPr id="93" name="TextBox 92"/>
            <p:cNvSpPr txBox="1"/>
            <p:nvPr>
              <p:custDataLst>
                <p:tags r:id="rId34"/>
              </p:custDataLst>
            </p:nvPr>
          </p:nvSpPr>
          <p:spPr>
            <a:xfrm>
              <a:off x="7696928" y="1865910"/>
              <a:ext cx="2055751" cy="15696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>
                  <a:solidFill>
                    <a:schemeClr val="bg1"/>
                  </a:solidFill>
                </a:defRPr>
              </a:lvl1pPr>
            </a:lstStyle>
            <a:p>
              <a:r>
                <a:rPr lang="ru-RU" sz="1200" b="1" dirty="0">
                  <a:solidFill>
                    <a:schemeClr val="tx1"/>
                  </a:solidFill>
                  <a:latin typeface="+mj-lt"/>
                </a:rPr>
                <a:t>Суммарный общий </a:t>
              </a:r>
            </a:p>
            <a:p>
              <a:r>
                <a:rPr lang="ru-RU" sz="1200" b="1" dirty="0">
                  <a:solidFill>
                    <a:schemeClr val="tx1"/>
                  </a:solidFill>
                  <a:latin typeface="+mj-lt"/>
                </a:rPr>
                <a:t>пассажиропоток: </a:t>
              </a:r>
            </a:p>
            <a:p>
              <a:r>
                <a:rPr lang="ru-RU" sz="1600" b="1" dirty="0">
                  <a:solidFill>
                    <a:schemeClr val="tx1"/>
                  </a:solidFill>
                  <a:latin typeface="+mj-lt"/>
                </a:rPr>
                <a:t>2270,8 тыс. чел/сут</a:t>
              </a:r>
            </a:p>
            <a:p>
              <a:endParaRPr lang="ru-RU" sz="1600" b="1" dirty="0">
                <a:solidFill>
                  <a:schemeClr val="tx1"/>
                </a:solidFill>
                <a:latin typeface="+mj-lt"/>
              </a:endParaRPr>
            </a:p>
            <a:p>
              <a:r>
                <a:rPr lang="ru-RU" sz="1200" b="1" dirty="0">
                  <a:solidFill>
                    <a:schemeClr val="tx1"/>
                  </a:solidFill>
                  <a:latin typeface="+mj-lt"/>
                </a:rPr>
                <a:t>Суммарный диаметральный пассажиропоток:</a:t>
              </a:r>
            </a:p>
            <a:p>
              <a:r>
                <a:rPr lang="ru-RU" sz="1600" b="1" dirty="0">
                  <a:solidFill>
                    <a:schemeClr val="tx1"/>
                  </a:solidFill>
                  <a:latin typeface="+mj-lt"/>
                </a:rPr>
                <a:t>397,3 тыс. чел/сут</a:t>
              </a:r>
              <a:endParaRPr lang="ru-RU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99" name="Прямоугольник 98"/>
          <p:cNvSpPr/>
          <p:nvPr/>
        </p:nvSpPr>
        <p:spPr>
          <a:xfrm>
            <a:off x="213406" y="834102"/>
            <a:ext cx="9443557" cy="7013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19" dirty="0">
                <a:latin typeface="+mj-lt"/>
                <a:ea typeface="Times New Roman" panose="02020603050405020304" pitchFamily="18" charset="0"/>
              </a:rPr>
              <a:t>Разработана </a:t>
            </a:r>
            <a:r>
              <a:rPr lang="ru-RU" sz="1319" dirty="0">
                <a:solidFill>
                  <a:srgbClr val="CC0000"/>
                </a:solidFill>
                <a:latin typeface="+mj-lt"/>
                <a:ea typeface="Times New Roman" panose="02020603050405020304" pitchFamily="18" charset="0"/>
              </a:rPr>
              <a:t>Целевая схема МЦД</a:t>
            </a:r>
            <a:r>
              <a:rPr lang="ru-RU" sz="1319" dirty="0">
                <a:latin typeface="+mj-lt"/>
                <a:ea typeface="Times New Roman" panose="02020603050405020304" pitchFamily="18" charset="0"/>
              </a:rPr>
              <a:t> — оптимальная комбинация маршрутов с точки зрения </a:t>
            </a:r>
            <a:r>
              <a:rPr lang="ru-RU" sz="1319" dirty="0">
                <a:solidFill>
                  <a:srgbClr val="C00000"/>
                </a:solidFill>
                <a:latin typeface="+mj-lt"/>
                <a:ea typeface="Times New Roman" panose="02020603050405020304" pitchFamily="18" charset="0"/>
              </a:rPr>
              <a:t>максимального диаметрального пассажиропотока.</a:t>
            </a:r>
            <a:r>
              <a:rPr lang="ru-RU" sz="1319" dirty="0">
                <a:latin typeface="+mj-lt"/>
                <a:ea typeface="Times New Roman" panose="02020603050405020304" pitchFamily="18" charset="0"/>
              </a:rPr>
              <a:t> С помощью современных методов моделирования рассчитаны </a:t>
            </a:r>
            <a:r>
              <a:rPr lang="ru-RU" sz="1319" dirty="0">
                <a:solidFill>
                  <a:srgbClr val="CC0000"/>
                </a:solidFill>
                <a:latin typeface="+mj-lt"/>
                <a:ea typeface="Times New Roman" panose="02020603050405020304" pitchFamily="18" charset="0"/>
              </a:rPr>
              <a:t>перспективные пассажиропотоки </a:t>
            </a:r>
            <a:r>
              <a:rPr lang="ru-RU" sz="1319" dirty="0">
                <a:latin typeface="+mj-lt"/>
                <a:ea typeface="Times New Roman" panose="02020603050405020304" pitchFamily="18" charset="0"/>
              </a:rPr>
              <a:t>по всем остановочным пунктам МЦД-1 и МЦД-2 на 2020, 2030 и 2045 годы.</a:t>
            </a:r>
            <a:endParaRPr lang="ru-RU" sz="1319" dirty="0">
              <a:latin typeface="+mj-lt"/>
            </a:endParaRPr>
          </a:p>
        </p:txBody>
      </p:sp>
      <p:sp>
        <p:nvSpPr>
          <p:cNvPr id="69" name="Line 6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307884" y="4356927"/>
            <a:ext cx="9049125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ru-RU" sz="2049">
              <a:latin typeface="+mj-lt"/>
            </a:endParaRPr>
          </a:p>
        </p:txBody>
      </p:sp>
      <p:grpSp>
        <p:nvGrpSpPr>
          <p:cNvPr id="70" name="Группа 69"/>
          <p:cNvGrpSpPr/>
          <p:nvPr/>
        </p:nvGrpSpPr>
        <p:grpSpPr>
          <a:xfrm>
            <a:off x="791399" y="5408716"/>
            <a:ext cx="615151" cy="439906"/>
            <a:chOff x="740840" y="4434201"/>
            <a:chExt cx="932978" cy="667191"/>
          </a:xfrm>
        </p:grpSpPr>
        <p:pic>
          <p:nvPicPr>
            <p:cNvPr id="71" name="Рисунок 43">
              <a:extLst>
                <a:ext uri="{FF2B5EF4-FFF2-40B4-BE49-F238E27FC236}">
                  <a16:creationId xmlns:a16="http://schemas.microsoft.com/office/drawing/2014/main" id="{6CCC4E26-808C-DF41-9E58-9EEDD5D9EF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0" cstate="print">
              <a:extLst>
                <a:ext uri="{BEBA8EAE-BF5A-486C-A8C5-ECC9F3942E4B}">
                  <a14:imgProps xmlns:a14="http://schemas.microsoft.com/office/drawing/2010/main">
                    <a14:imgLayer r:embed="rId71">
                      <a14:imgEffect>
                        <a14:backgroundRemoval t="0" b="100000" l="0" r="100000">
                          <a14:foregroundMark x1="38586" y1="7251" x2="38586" y2="7251"/>
                          <a14:foregroundMark x1="81762" y1="11364" x2="81762" y2="11364"/>
                          <a14:foregroundMark x1="85484" y1="12879" x2="85484" y2="12879"/>
                          <a14:foregroundMark x1="77543" y1="14286" x2="77543" y2="14286"/>
                          <a14:foregroundMark x1="77047" y1="16450" x2="77047" y2="16450"/>
                          <a14:foregroundMark x1="66501" y1="17532" x2="66501" y2="17532"/>
                          <a14:foregroundMark x1="71216" y1="22294" x2="71216" y2="22294"/>
                          <a14:foregroundMark x1="71216" y1="23485" x2="74566" y2="27814"/>
                          <a14:foregroundMark x1="93548" y1="25433" x2="83747" y2="42857"/>
                          <a14:foregroundMark x1="87345" y1="15152" x2="94417" y2="28680"/>
                          <a14:foregroundMark x1="78288" y1="19697" x2="83375" y2="19913"/>
                          <a14:foregroundMark x1="66253" y1="13203" x2="68859" y2="13420"/>
                          <a14:foregroundMark x1="79280" y1="39286" x2="79901" y2="43398"/>
                          <a14:foregroundMark x1="83127" y1="49134" x2="66253" y2="97835"/>
                          <a14:foregroundMark x1="70968" y1="58225" x2="70968" y2="77273"/>
                          <a14:foregroundMark x1="95161" y1="34632" x2="94789" y2="3290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1831" y="4434201"/>
              <a:ext cx="581987" cy="667191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94" name="Рисунок 44">
              <a:extLst>
                <a:ext uri="{FF2B5EF4-FFF2-40B4-BE49-F238E27FC236}">
                  <a16:creationId xmlns:a16="http://schemas.microsoft.com/office/drawing/2014/main" id="{ED5B70B9-3D45-9844-8AF1-17995BE102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2" cstate="print">
              <a:extLst>
                <a:ext uri="{BEBA8EAE-BF5A-486C-A8C5-ECC9F3942E4B}">
                  <a14:imgProps xmlns:a14="http://schemas.microsoft.com/office/drawing/2010/main">
                    <a14:imgLayer r:embed="rId73">
                      <a14:imgEffect>
                        <a14:backgroundRemoval t="0" b="100000" l="0" r="100000">
                          <a14:foregroundMark x1="15119" y1="72799" x2="15119" y2="72799"/>
                          <a14:foregroundMark x1="14921" y1="70597" x2="14921" y2="70597"/>
                          <a14:foregroundMark x1="25099" y1="71384" x2="25099" y2="71384"/>
                          <a14:foregroundMark x1="26877" y1="70597" x2="26877" y2="70597"/>
                          <a14:foregroundMark x1="24506" y1="77830" x2="24506" y2="77830"/>
                          <a14:foregroundMark x1="28458" y1="77830" x2="28458" y2="77830"/>
                          <a14:foregroundMark x1="16502" y1="68868" x2="16502" y2="68868"/>
                          <a14:foregroundMark x1="16502" y1="70283" x2="16502" y2="70283"/>
                          <a14:foregroundMark x1="14723" y1="79245" x2="14723" y2="79245"/>
                          <a14:foregroundMark x1="14921" y1="75943" x2="14921" y2="75943"/>
                          <a14:foregroundMark x1="27569" y1="70283" x2="27569" y2="70283"/>
                          <a14:foregroundMark x1="29348" y1="72484" x2="29348" y2="72484"/>
                          <a14:foregroundMark x1="29842" y1="72484" x2="29842" y2="72484"/>
                          <a14:foregroundMark x1="29842" y1="72484" x2="29842" y2="72484"/>
                          <a14:foregroundMark x1="29348" y1="74843" x2="24901" y2="78774"/>
                          <a14:foregroundMark x1="38043" y1="71698" x2="37549" y2="78774"/>
                          <a14:foregroundMark x1="42688" y1="73428" x2="42490" y2="78459"/>
                          <a14:foregroundMark x1="50296" y1="73113" x2="50296" y2="73113"/>
                          <a14:foregroundMark x1="50296" y1="73113" x2="51186" y2="83491"/>
                          <a14:foregroundMark x1="52075" y1="79245" x2="54743" y2="74214"/>
                          <a14:foregroundMark x1="56522" y1="70283" x2="56522" y2="76258"/>
                          <a14:foregroundMark x1="64921" y1="73428" x2="64921" y2="80975"/>
                          <a14:foregroundMark x1="66304" y1="76730" x2="67787" y2="75314"/>
                          <a14:foregroundMark x1="77569" y1="81604" x2="81818" y2="7389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40840" y="4465650"/>
              <a:ext cx="308766" cy="193813"/>
            </a:xfrm>
            <a:prstGeom prst="roundRect">
              <a:avLst>
                <a:gd name="adj" fmla="val 6369"/>
              </a:avLst>
            </a:prstGeom>
            <a:ln w="9525">
              <a:solidFill>
                <a:srgbClr val="002060"/>
              </a:solidFill>
            </a:ln>
          </p:spPr>
        </p:pic>
        <p:pic>
          <p:nvPicPr>
            <p:cNvPr id="95" name="Рисунок 45">
              <a:extLst>
                <a:ext uri="{FF2B5EF4-FFF2-40B4-BE49-F238E27FC236}">
                  <a16:creationId xmlns:a16="http://schemas.microsoft.com/office/drawing/2014/main" id="{0A4AD080-4439-A943-AD2D-737E3D7E07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4" cstate="print">
              <a:extLst>
                <a:ext uri="{BEBA8EAE-BF5A-486C-A8C5-ECC9F3942E4B}">
                  <a14:imgProps xmlns:a14="http://schemas.microsoft.com/office/drawing/2010/main">
                    <a14:imgLayer r:embed="rId75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9286" y="4889413"/>
              <a:ext cx="318719" cy="198754"/>
            </a:xfrm>
            <a:prstGeom prst="roundRect">
              <a:avLst>
                <a:gd name="adj" fmla="val 6369"/>
              </a:avLst>
            </a:prstGeom>
            <a:ln w="9525">
              <a:solidFill>
                <a:srgbClr val="002060"/>
              </a:solidFill>
            </a:ln>
          </p:spPr>
        </p:pic>
        <p:pic>
          <p:nvPicPr>
            <p:cNvPr id="96" name="Рисунок 46">
              <a:extLst>
                <a:ext uri="{FF2B5EF4-FFF2-40B4-BE49-F238E27FC236}">
                  <a16:creationId xmlns:a16="http://schemas.microsoft.com/office/drawing/2014/main" id="{D1BFB5F5-7A37-3045-830F-316D9DC3A1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0647" y="4674116"/>
              <a:ext cx="312739" cy="196663"/>
            </a:xfrm>
            <a:prstGeom prst="roundRect">
              <a:avLst>
                <a:gd name="adj" fmla="val 6369"/>
              </a:avLst>
            </a:prstGeom>
            <a:ln w="9525">
              <a:solidFill>
                <a:srgbClr val="002060"/>
              </a:solidFill>
            </a:ln>
          </p:spPr>
        </p:pic>
      </p:grp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0435C3C7-2339-BA41-999F-BFF17DA73744}"/>
              </a:ext>
            </a:extLst>
          </p:cNvPr>
          <p:cNvSpPr/>
          <p:nvPr/>
        </p:nvSpPr>
        <p:spPr>
          <a:xfrm>
            <a:off x="670622" y="4859260"/>
            <a:ext cx="2395371" cy="1508085"/>
          </a:xfrm>
          <a:prstGeom prst="rect">
            <a:avLst/>
          </a:prstGeom>
          <a:noFill/>
          <a:ln w="9525" cmpd="sng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47" b="1" dirty="0">
                <a:latin typeface="+mj-lt"/>
              </a:rPr>
              <a:t> </a:t>
            </a:r>
          </a:p>
        </p:txBody>
      </p:sp>
      <p:pic>
        <p:nvPicPr>
          <p:cNvPr id="98" name="Рисунок 32">
            <a:extLst>
              <a:ext uri="{FF2B5EF4-FFF2-40B4-BE49-F238E27FC236}">
                <a16:creationId xmlns:a16="http://schemas.microsoft.com/office/drawing/2014/main" id="{7FD6EDF1-46CC-2A40-8FED-54CCB8C14F39}"/>
              </a:ext>
            </a:extLst>
          </p:cNvPr>
          <p:cNvPicPr>
            <a:picLocks noChangeAspect="1"/>
          </p:cNvPicPr>
          <p:nvPr/>
        </p:nvPicPr>
        <p:blipFill rotWithShape="1">
          <a:blip r:embed="rId77" cstate="print">
            <a:clrChange>
              <a:clrFrom>
                <a:srgbClr val="F9F6F7"/>
              </a:clrFrom>
              <a:clrTo>
                <a:srgbClr val="F9F6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03782" y="4863700"/>
            <a:ext cx="1462210" cy="1503645"/>
          </a:xfrm>
          <a:prstGeom prst="rect">
            <a:avLst/>
          </a:prstGeom>
        </p:spPr>
      </p:pic>
      <p:sp>
        <p:nvSpPr>
          <p:cNvPr id="101" name="Скругленный прямоугольник 100">
            <a:extLst>
              <a:ext uri="{FF2B5EF4-FFF2-40B4-BE49-F238E27FC236}">
                <a16:creationId xmlns:a16="http://schemas.microsoft.com/office/drawing/2014/main" id="{F8786D3B-D8B8-D344-9C7B-6D38441962AD}"/>
              </a:ext>
            </a:extLst>
          </p:cNvPr>
          <p:cNvSpPr/>
          <p:nvPr/>
        </p:nvSpPr>
        <p:spPr>
          <a:xfrm>
            <a:off x="612043" y="4715468"/>
            <a:ext cx="1944214" cy="489667"/>
          </a:xfrm>
          <a:prstGeom prst="roundRect">
            <a:avLst>
              <a:gd name="adj" fmla="val 1300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23" b="1" dirty="0">
                <a:latin typeface="+mj-lt"/>
              </a:rPr>
              <a:t>Исходные данные: </a:t>
            </a:r>
            <a:r>
              <a:rPr lang="ru-RU" sz="923" b="1" dirty="0" err="1">
                <a:latin typeface="+mj-lt"/>
              </a:rPr>
              <a:t>валидации</a:t>
            </a:r>
            <a:r>
              <a:rPr lang="ru-RU" sz="923" b="1" dirty="0">
                <a:latin typeface="+mj-lt"/>
              </a:rPr>
              <a:t> билетов НГПТ и скорость движения транспортных средств</a:t>
            </a:r>
          </a:p>
        </p:txBody>
      </p: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B3AE236E-0766-9E4A-9E02-A28062996133}"/>
              </a:ext>
            </a:extLst>
          </p:cNvPr>
          <p:cNvGrpSpPr/>
          <p:nvPr/>
        </p:nvGrpSpPr>
        <p:grpSpPr>
          <a:xfrm>
            <a:off x="2752164" y="4877492"/>
            <a:ext cx="395519" cy="251736"/>
            <a:chOff x="6182201" y="1598301"/>
            <a:chExt cx="839818" cy="534520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D34F45A0-FC88-1B45-B037-A0F3DC3E3EF3}"/>
                </a:ext>
              </a:extLst>
            </p:cNvPr>
            <p:cNvSpPr txBox="1"/>
            <p:nvPr/>
          </p:nvSpPr>
          <p:spPr>
            <a:xfrm>
              <a:off x="6252099" y="1598301"/>
              <a:ext cx="769920" cy="5345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518" dirty="0">
                  <a:latin typeface="+mj-lt"/>
                </a:rPr>
                <a:t>вход</a:t>
              </a:r>
            </a:p>
            <a:p>
              <a:r>
                <a:rPr lang="ru-RU" sz="518" dirty="0">
                  <a:latin typeface="+mj-lt"/>
                </a:rPr>
                <a:t>выход</a:t>
              </a:r>
            </a:p>
          </p:txBody>
        </p:sp>
        <p:sp>
          <p:nvSpPr>
            <p:cNvPr id="104" name="Овал 103">
              <a:extLst>
                <a:ext uri="{FF2B5EF4-FFF2-40B4-BE49-F238E27FC236}">
                  <a16:creationId xmlns:a16="http://schemas.microsoft.com/office/drawing/2014/main" id="{4CCEADDF-85AB-D84C-BBB5-D4ED691EB2EB}"/>
                </a:ext>
              </a:extLst>
            </p:cNvPr>
            <p:cNvSpPr/>
            <p:nvPr/>
          </p:nvSpPr>
          <p:spPr>
            <a:xfrm>
              <a:off x="6183489" y="1674554"/>
              <a:ext cx="134318" cy="134318"/>
            </a:xfrm>
            <a:prstGeom prst="ellipse">
              <a:avLst/>
            </a:prstGeom>
            <a:solidFill>
              <a:srgbClr val="63DA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47">
                <a:latin typeface="+mj-lt"/>
              </a:endParaRPr>
            </a:p>
          </p:txBody>
        </p:sp>
        <p:sp>
          <p:nvSpPr>
            <p:cNvPr id="105" name="Овал 104">
              <a:extLst>
                <a:ext uri="{FF2B5EF4-FFF2-40B4-BE49-F238E27FC236}">
                  <a16:creationId xmlns:a16="http://schemas.microsoft.com/office/drawing/2014/main" id="{0BC1B15C-ED24-8440-A21C-6C42F99E1841}"/>
                </a:ext>
              </a:extLst>
            </p:cNvPr>
            <p:cNvSpPr/>
            <p:nvPr/>
          </p:nvSpPr>
          <p:spPr>
            <a:xfrm>
              <a:off x="6182201" y="1839389"/>
              <a:ext cx="134318" cy="134318"/>
            </a:xfrm>
            <a:prstGeom prst="ellipse">
              <a:avLst/>
            </a:prstGeom>
            <a:solidFill>
              <a:srgbClr val="00A0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47">
                <a:latin typeface="+mj-lt"/>
              </a:endParaRPr>
            </a:p>
          </p:txBody>
        </p:sp>
      </p:grpSp>
      <p:pic>
        <p:nvPicPr>
          <p:cNvPr id="106" name="Рисунок 37">
            <a:extLst>
              <a:ext uri="{FF2B5EF4-FFF2-40B4-BE49-F238E27FC236}">
                <a16:creationId xmlns:a16="http://schemas.microsoft.com/office/drawing/2014/main" id="{F3A9D1BF-A026-3A42-873E-F87F7ECA4079}"/>
              </a:ext>
            </a:extLst>
          </p:cNvPr>
          <p:cNvPicPr>
            <a:picLocks noChangeAspect="1"/>
          </p:cNvPicPr>
          <p:nvPr/>
        </p:nvPicPr>
        <p:blipFill>
          <a:blip r:embed="rId78" cstate="print">
            <a:extLst>
              <a:ext uri="{BEBA8EAE-BF5A-486C-A8C5-ECC9F3942E4B}">
                <a14:imgProps xmlns:a14="http://schemas.microsoft.com/office/drawing/2010/main">
                  <a14:imgLayer r:embed="rId7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120" y="5789688"/>
            <a:ext cx="719595" cy="577656"/>
          </a:xfrm>
          <a:prstGeom prst="rect">
            <a:avLst/>
          </a:prstGeom>
          <a:ln w="9525">
            <a:noFill/>
          </a:ln>
        </p:spPr>
      </p:pic>
      <p:sp>
        <p:nvSpPr>
          <p:cNvPr id="107" name="Прямоугольник 106"/>
          <p:cNvSpPr/>
          <p:nvPr/>
        </p:nvSpPr>
        <p:spPr>
          <a:xfrm>
            <a:off x="210835" y="4352139"/>
            <a:ext cx="8086051" cy="295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19" b="1" dirty="0">
                <a:solidFill>
                  <a:srgbClr val="CC0000"/>
                </a:solidFill>
                <a:latin typeface="+mj-lt"/>
                <a:ea typeface="Times New Roman" panose="02020603050405020304" pitchFamily="18" charset="0"/>
              </a:rPr>
              <a:t>Методика моделирования:</a:t>
            </a:r>
            <a:endParaRPr lang="ru-RU" sz="1319" b="1" dirty="0">
              <a:solidFill>
                <a:srgbClr val="CC0000"/>
              </a:solidFill>
              <a:latin typeface="+mj-lt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747878" y="4730137"/>
            <a:ext cx="2518294" cy="1693139"/>
            <a:chOff x="4684689" y="6441274"/>
            <a:chExt cx="3819412" cy="2567928"/>
          </a:xfrm>
        </p:grpSpPr>
        <p:pic>
          <p:nvPicPr>
            <p:cNvPr id="108" name="Рисунок 101">
              <a:extLst>
                <a:ext uri="{FF2B5EF4-FFF2-40B4-BE49-F238E27FC236}">
                  <a16:creationId xmlns:a16="http://schemas.microsoft.com/office/drawing/2014/main" id="{35156029-7C02-B44F-AD8C-038A8DF452FD}"/>
                </a:ext>
              </a:extLst>
            </p:cNvPr>
            <p:cNvPicPr>
              <a:picLocks noChangeAspect="1"/>
            </p:cNvPicPr>
            <p:nvPr/>
          </p:nvPicPr>
          <p:blipFill>
            <a:blip r:embed="rId8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64337" y="6575044"/>
              <a:ext cx="2242174" cy="2427425"/>
            </a:xfrm>
            <a:prstGeom prst="rect">
              <a:avLst/>
            </a:prstGeom>
          </p:spPr>
        </p:pic>
        <p:sp>
          <p:nvSpPr>
            <p:cNvPr id="109" name="Прямоугольник 108">
              <a:extLst>
                <a:ext uri="{FF2B5EF4-FFF2-40B4-BE49-F238E27FC236}">
                  <a16:creationId xmlns:a16="http://schemas.microsoft.com/office/drawing/2014/main" id="{9983F14A-FE1D-B444-9633-3D2A6454BCBD}"/>
                </a:ext>
              </a:extLst>
            </p:cNvPr>
            <p:cNvSpPr/>
            <p:nvPr/>
          </p:nvSpPr>
          <p:spPr>
            <a:xfrm>
              <a:off x="4773532" y="6568988"/>
              <a:ext cx="3632979" cy="2440214"/>
            </a:xfrm>
            <a:prstGeom prst="rect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47" b="1" dirty="0">
                <a:latin typeface="+mj-lt"/>
              </a:endParaRPr>
            </a:p>
          </p:txBody>
        </p:sp>
        <p:sp>
          <p:nvSpPr>
            <p:cNvPr id="110" name="Скругленный прямоугольник 109">
              <a:extLst>
                <a:ext uri="{FF2B5EF4-FFF2-40B4-BE49-F238E27FC236}">
                  <a16:creationId xmlns:a16="http://schemas.microsoft.com/office/drawing/2014/main" id="{38072ABB-BBE3-0D40-90B3-F83532ED025C}"/>
                </a:ext>
              </a:extLst>
            </p:cNvPr>
            <p:cNvSpPr/>
            <p:nvPr/>
          </p:nvSpPr>
          <p:spPr>
            <a:xfrm>
              <a:off x="4684689" y="6441274"/>
              <a:ext cx="2819192" cy="466499"/>
            </a:xfrm>
            <a:prstGeom prst="roundRect">
              <a:avLst>
                <a:gd name="adj" fmla="val 13001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923" b="1" dirty="0">
                  <a:latin typeface="+mj-lt"/>
                </a:rPr>
                <a:t>Моделирование схемы </a:t>
              </a:r>
            </a:p>
            <a:p>
              <a:r>
                <a:rPr lang="ru-RU" sz="923" b="1" dirty="0">
                  <a:latin typeface="+mj-lt"/>
                </a:rPr>
                <a:t>магистральных связей</a:t>
              </a:r>
            </a:p>
          </p:txBody>
        </p:sp>
        <p:sp>
          <p:nvSpPr>
            <p:cNvPr id="112" name="Скругленный прямоугольник 111">
              <a:extLst>
                <a:ext uri="{FF2B5EF4-FFF2-40B4-BE49-F238E27FC236}">
                  <a16:creationId xmlns:a16="http://schemas.microsoft.com/office/drawing/2014/main" id="{B650450F-CBB1-534F-AB33-F7F41B475FFC}"/>
                </a:ext>
              </a:extLst>
            </p:cNvPr>
            <p:cNvSpPr/>
            <p:nvPr/>
          </p:nvSpPr>
          <p:spPr>
            <a:xfrm>
              <a:off x="4815338" y="6975644"/>
              <a:ext cx="2006390" cy="1868104"/>
            </a:xfrm>
            <a:prstGeom prst="roundRect">
              <a:avLst>
                <a:gd name="adj" fmla="val 3434"/>
              </a:avLst>
            </a:prstGeom>
            <a:solidFill>
              <a:schemeClr val="bg1"/>
            </a:solidFill>
            <a:ln w="63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726" b="1" dirty="0">
                  <a:solidFill>
                    <a:srgbClr val="CC0000"/>
                  </a:solidFill>
                  <a:latin typeface="+mj-lt"/>
                </a:rPr>
                <a:t>Принципы</a:t>
              </a:r>
            </a:p>
          </p:txBody>
        </p:sp>
        <p:cxnSp>
          <p:nvCxnSpPr>
            <p:cNvPr id="113" name="Прямая соединительная линия 112">
              <a:extLst>
                <a:ext uri="{FF2B5EF4-FFF2-40B4-BE49-F238E27FC236}">
                  <a16:creationId xmlns:a16="http://schemas.microsoft.com/office/drawing/2014/main" id="{22204A3C-C844-0144-91C4-2DB26E8934AC}"/>
                </a:ext>
              </a:extLst>
            </p:cNvPr>
            <p:cNvCxnSpPr/>
            <p:nvPr/>
          </p:nvCxnSpPr>
          <p:spPr>
            <a:xfrm>
              <a:off x="4869683" y="7275238"/>
              <a:ext cx="1786657" cy="0"/>
            </a:xfrm>
            <a:prstGeom prst="line">
              <a:avLst/>
            </a:prstGeom>
            <a:ln w="63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BB071183-FC13-3645-8947-AA5CDBA2E32B}"/>
                </a:ext>
              </a:extLst>
            </p:cNvPr>
            <p:cNvSpPr txBox="1"/>
            <p:nvPr/>
          </p:nvSpPr>
          <p:spPr>
            <a:xfrm>
              <a:off x="4803762" y="7240723"/>
              <a:ext cx="1984672" cy="1664706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sz="726" b="1" dirty="0">
                  <a:solidFill>
                    <a:srgbClr val="C00000"/>
                  </a:solidFill>
                  <a:latin typeface="+mj-lt"/>
                </a:rPr>
                <a:t>1. </a:t>
              </a:r>
              <a:r>
                <a:rPr lang="ru-RU" sz="726" dirty="0">
                  <a:latin typeface="+mj-lt"/>
                </a:rPr>
                <a:t>Задание 4000 узлов – в местах пересадочных пунктов.</a:t>
              </a:r>
            </a:p>
            <a:p>
              <a:endParaRPr lang="ru-RU" sz="726" dirty="0">
                <a:latin typeface="+mj-lt"/>
              </a:endParaRPr>
            </a:p>
            <a:p>
              <a:r>
                <a:rPr lang="ru-RU" sz="726" b="1" dirty="0">
                  <a:solidFill>
                    <a:srgbClr val="C00000"/>
                  </a:solidFill>
                  <a:latin typeface="+mj-lt"/>
                </a:rPr>
                <a:t>2. </a:t>
              </a:r>
              <a:r>
                <a:rPr lang="ru-RU" sz="726" dirty="0">
                  <a:latin typeface="+mj-lt"/>
                </a:rPr>
                <a:t>Расчёт времени в пути.</a:t>
              </a:r>
            </a:p>
            <a:p>
              <a:endParaRPr lang="ru-RU" sz="726" dirty="0">
                <a:latin typeface="+mj-lt"/>
              </a:endParaRPr>
            </a:p>
            <a:p>
              <a:r>
                <a:rPr lang="ru-RU" sz="726" b="1" dirty="0">
                  <a:solidFill>
                    <a:srgbClr val="C00000"/>
                  </a:solidFill>
                  <a:latin typeface="+mj-lt"/>
                </a:rPr>
                <a:t>3. </a:t>
              </a:r>
              <a:r>
                <a:rPr lang="ru-RU" sz="726" dirty="0">
                  <a:latin typeface="+mj-lt"/>
                </a:rPr>
                <a:t>Формирование матрицы </a:t>
              </a:r>
              <a:r>
                <a:rPr lang="ru-RU" sz="726" b="1" dirty="0">
                  <a:solidFill>
                    <a:srgbClr val="CC0000"/>
                  </a:solidFill>
                  <a:latin typeface="+mj-lt"/>
                </a:rPr>
                <a:t>по кратчайшим путям</a:t>
              </a:r>
              <a:r>
                <a:rPr lang="ru-RU" sz="726" dirty="0">
                  <a:latin typeface="+mj-lt"/>
                </a:rPr>
                <a:t>, полученным в модели.</a:t>
              </a:r>
            </a:p>
          </p:txBody>
        </p:sp>
        <p:sp>
          <p:nvSpPr>
            <p:cNvPr id="115" name="Полилиния 114">
              <a:extLst>
                <a:ext uri="{FF2B5EF4-FFF2-40B4-BE49-F238E27FC236}">
                  <a16:creationId xmlns:a16="http://schemas.microsoft.com/office/drawing/2014/main" id="{E403AC96-4D8D-0F49-97E3-0867E6EE57B5}"/>
                </a:ext>
              </a:extLst>
            </p:cNvPr>
            <p:cNvSpPr/>
            <p:nvPr/>
          </p:nvSpPr>
          <p:spPr>
            <a:xfrm>
              <a:off x="6794149" y="7953839"/>
              <a:ext cx="904384" cy="363187"/>
            </a:xfrm>
            <a:custGeom>
              <a:avLst/>
              <a:gdLst>
                <a:gd name="connsiteX0" fmla="*/ 0 w 1374588"/>
                <a:gd name="connsiteY0" fmla="*/ 0 h 653694"/>
                <a:gd name="connsiteX1" fmla="*/ 89647 w 1374588"/>
                <a:gd name="connsiteY1" fmla="*/ 286871 h 653694"/>
                <a:gd name="connsiteX2" fmla="*/ 203200 w 1374588"/>
                <a:gd name="connsiteY2" fmla="*/ 340659 h 653694"/>
                <a:gd name="connsiteX3" fmla="*/ 406400 w 1374588"/>
                <a:gd name="connsiteY3" fmla="*/ 513977 h 653694"/>
                <a:gd name="connsiteX4" fmla="*/ 454211 w 1374588"/>
                <a:gd name="connsiteY4" fmla="*/ 579718 h 653694"/>
                <a:gd name="connsiteX5" fmla="*/ 567764 w 1374588"/>
                <a:gd name="connsiteY5" fmla="*/ 591671 h 653694"/>
                <a:gd name="connsiteX6" fmla="*/ 687294 w 1374588"/>
                <a:gd name="connsiteY6" fmla="*/ 639483 h 653694"/>
                <a:gd name="connsiteX7" fmla="*/ 812800 w 1374588"/>
                <a:gd name="connsiteY7" fmla="*/ 651436 h 653694"/>
                <a:gd name="connsiteX8" fmla="*/ 992094 w 1374588"/>
                <a:gd name="connsiteY8" fmla="*/ 639483 h 653694"/>
                <a:gd name="connsiteX9" fmla="*/ 1063811 w 1374588"/>
                <a:gd name="connsiteY9" fmla="*/ 519953 h 653694"/>
                <a:gd name="connsiteX10" fmla="*/ 1177364 w 1374588"/>
                <a:gd name="connsiteY10" fmla="*/ 430306 h 653694"/>
                <a:gd name="connsiteX11" fmla="*/ 1374588 w 1374588"/>
                <a:gd name="connsiteY11" fmla="*/ 322730 h 65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74588" h="653694">
                  <a:moveTo>
                    <a:pt x="0" y="0"/>
                  </a:moveTo>
                  <a:cubicBezTo>
                    <a:pt x="27890" y="115047"/>
                    <a:pt x="55780" y="230095"/>
                    <a:pt x="89647" y="286871"/>
                  </a:cubicBezTo>
                  <a:cubicBezTo>
                    <a:pt x="123514" y="343647"/>
                    <a:pt x="150408" y="302808"/>
                    <a:pt x="203200" y="340659"/>
                  </a:cubicBezTo>
                  <a:cubicBezTo>
                    <a:pt x="255992" y="378510"/>
                    <a:pt x="364565" y="474134"/>
                    <a:pt x="406400" y="513977"/>
                  </a:cubicBezTo>
                  <a:cubicBezTo>
                    <a:pt x="448235" y="553820"/>
                    <a:pt x="427317" y="566769"/>
                    <a:pt x="454211" y="579718"/>
                  </a:cubicBezTo>
                  <a:cubicBezTo>
                    <a:pt x="481105" y="592667"/>
                    <a:pt x="528917" y="581710"/>
                    <a:pt x="567764" y="591671"/>
                  </a:cubicBezTo>
                  <a:cubicBezTo>
                    <a:pt x="606611" y="601632"/>
                    <a:pt x="646455" y="629522"/>
                    <a:pt x="687294" y="639483"/>
                  </a:cubicBezTo>
                  <a:cubicBezTo>
                    <a:pt x="728133" y="649444"/>
                    <a:pt x="762000" y="651436"/>
                    <a:pt x="812800" y="651436"/>
                  </a:cubicBezTo>
                  <a:cubicBezTo>
                    <a:pt x="863600" y="651436"/>
                    <a:pt x="950259" y="661397"/>
                    <a:pt x="992094" y="639483"/>
                  </a:cubicBezTo>
                  <a:cubicBezTo>
                    <a:pt x="1033929" y="617569"/>
                    <a:pt x="1032933" y="554816"/>
                    <a:pt x="1063811" y="519953"/>
                  </a:cubicBezTo>
                  <a:cubicBezTo>
                    <a:pt x="1094689" y="485090"/>
                    <a:pt x="1125568" y="463177"/>
                    <a:pt x="1177364" y="430306"/>
                  </a:cubicBezTo>
                  <a:cubicBezTo>
                    <a:pt x="1229160" y="397436"/>
                    <a:pt x="1301874" y="360083"/>
                    <a:pt x="1374588" y="322730"/>
                  </a:cubicBezTo>
                </a:path>
              </a:pathLst>
            </a:custGeom>
            <a:noFill/>
            <a:ln w="12700">
              <a:solidFill>
                <a:srgbClr val="63DACE"/>
              </a:solidFill>
              <a:prstDash val="sysDot"/>
              <a:headEnd type="diamond"/>
              <a:tailEnd type="diamon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47" dirty="0">
                <a:latin typeface="+mj-lt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3B2AB857-2F47-9241-817B-E19021BBD570}"/>
                </a:ext>
              </a:extLst>
            </p:cNvPr>
            <p:cNvSpPr txBox="1"/>
            <p:nvPr/>
          </p:nvSpPr>
          <p:spPr>
            <a:xfrm>
              <a:off x="7783973" y="8331072"/>
              <a:ext cx="720128" cy="316058"/>
            </a:xfrm>
            <a:prstGeom prst="rect">
              <a:avLst/>
            </a:prstGeom>
            <a:noFill/>
            <a:ln w="6350">
              <a:noFill/>
              <a:prstDash val="sysDash"/>
            </a:ln>
          </p:spPr>
          <p:txBody>
            <a:bodyPr wrap="none" rtlCol="0">
              <a:spAutoFit/>
            </a:bodyPr>
            <a:lstStyle/>
            <a:p>
              <a:r>
                <a:rPr lang="en-US" sz="754" i="1" dirty="0">
                  <a:latin typeface="+mj-lt"/>
                </a:rPr>
                <a:t>t</a:t>
              </a:r>
              <a:r>
                <a:rPr lang="ru-RU" sz="565" i="1" baseline="-25000" dirty="0">
                  <a:latin typeface="+mj-lt"/>
                </a:rPr>
                <a:t>А-В </a:t>
              </a:r>
              <a:r>
                <a:rPr lang="ru-RU" sz="518" i="1" dirty="0">
                  <a:latin typeface="+mj-lt"/>
                </a:rPr>
                <a:t>→ </a:t>
              </a:r>
              <a:r>
                <a:rPr lang="en-US" sz="518" b="1" i="1" dirty="0">
                  <a:solidFill>
                    <a:srgbClr val="C00000"/>
                  </a:solidFill>
                  <a:latin typeface="+mj-lt"/>
                </a:rPr>
                <a:t>min</a:t>
              </a:r>
              <a:endParaRPr lang="ru-RU" sz="518" b="1" i="1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90A07A48-3EF8-3E4A-B81C-08324247CA33}"/>
                </a:ext>
              </a:extLst>
            </p:cNvPr>
            <p:cNvSpPr txBox="1"/>
            <p:nvPr/>
          </p:nvSpPr>
          <p:spPr>
            <a:xfrm>
              <a:off x="6636678" y="6930986"/>
              <a:ext cx="387050" cy="3599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ru-RU" sz="942" dirty="0">
                  <a:solidFill>
                    <a:srgbClr val="C00000"/>
                  </a:solidFill>
                  <a:latin typeface="+mj-lt"/>
                </a:rPr>
                <a:t>А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7B1C43C8-8F3E-A240-8D9C-3053B71C4DB4}"/>
                </a:ext>
              </a:extLst>
            </p:cNvPr>
            <p:cNvSpPr txBox="1"/>
            <p:nvPr/>
          </p:nvSpPr>
          <p:spPr>
            <a:xfrm>
              <a:off x="8028750" y="8117093"/>
              <a:ext cx="379758" cy="35991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942" dirty="0">
                  <a:solidFill>
                    <a:srgbClr val="C00000"/>
                  </a:solidFill>
                  <a:latin typeface="+mj-lt"/>
                </a:rPr>
                <a:t>B</a:t>
              </a:r>
              <a:endParaRPr lang="ru-RU" sz="942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119" name="Полилиния 118">
              <a:extLst>
                <a:ext uri="{FF2B5EF4-FFF2-40B4-BE49-F238E27FC236}">
                  <a16:creationId xmlns:a16="http://schemas.microsoft.com/office/drawing/2014/main" id="{6E499B6F-DEEF-BC44-BFEE-6FCF76C0E7D6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6823726" y="6963964"/>
              <a:ext cx="1394127" cy="1189179"/>
            </a:xfrm>
            <a:custGeom>
              <a:avLst/>
              <a:gdLst>
                <a:gd name="connsiteX0" fmla="*/ 0 w 5005449"/>
                <a:gd name="connsiteY0" fmla="*/ 0 h 3740727"/>
                <a:gd name="connsiteX1" fmla="*/ 789709 w 5005449"/>
                <a:gd name="connsiteY1" fmla="*/ 564078 h 3740727"/>
                <a:gd name="connsiteX2" fmla="*/ 1193470 w 5005449"/>
                <a:gd name="connsiteY2" fmla="*/ 849086 h 3740727"/>
                <a:gd name="connsiteX3" fmla="*/ 1721922 w 5005449"/>
                <a:gd name="connsiteY3" fmla="*/ 1276597 h 3740727"/>
                <a:gd name="connsiteX4" fmla="*/ 1959428 w 5005449"/>
                <a:gd name="connsiteY4" fmla="*/ 1508166 h 3740727"/>
                <a:gd name="connsiteX5" fmla="*/ 2161309 w 5005449"/>
                <a:gd name="connsiteY5" fmla="*/ 1698171 h 3740727"/>
                <a:gd name="connsiteX6" fmla="*/ 2280062 w 5005449"/>
                <a:gd name="connsiteY6" fmla="*/ 1757548 h 3740727"/>
                <a:gd name="connsiteX7" fmla="*/ 2547257 w 5005449"/>
                <a:gd name="connsiteY7" fmla="*/ 1846613 h 3740727"/>
                <a:gd name="connsiteX8" fmla="*/ 2594758 w 5005449"/>
                <a:gd name="connsiteY8" fmla="*/ 1995054 h 3740727"/>
                <a:gd name="connsiteX9" fmla="*/ 2618509 w 5005449"/>
                <a:gd name="connsiteY9" fmla="*/ 2107870 h 3740727"/>
                <a:gd name="connsiteX10" fmla="*/ 2671948 w 5005449"/>
                <a:gd name="connsiteY10" fmla="*/ 2226623 h 3740727"/>
                <a:gd name="connsiteX11" fmla="*/ 2784763 w 5005449"/>
                <a:gd name="connsiteY11" fmla="*/ 2333501 h 3740727"/>
                <a:gd name="connsiteX12" fmla="*/ 3152899 w 5005449"/>
                <a:gd name="connsiteY12" fmla="*/ 2517569 h 3740727"/>
                <a:gd name="connsiteX13" fmla="*/ 3449782 w 5005449"/>
                <a:gd name="connsiteY13" fmla="*/ 2719449 h 3740727"/>
                <a:gd name="connsiteX14" fmla="*/ 3883231 w 5005449"/>
                <a:gd name="connsiteY14" fmla="*/ 3040083 h 3740727"/>
                <a:gd name="connsiteX15" fmla="*/ 4429496 w 5005449"/>
                <a:gd name="connsiteY15" fmla="*/ 3378530 h 3740727"/>
                <a:gd name="connsiteX16" fmla="*/ 5005449 w 5005449"/>
                <a:gd name="connsiteY16" fmla="*/ 3740727 h 3740727"/>
                <a:gd name="connsiteX0" fmla="*/ 181845 w 4280336"/>
                <a:gd name="connsiteY0" fmla="*/ 133452 h 3222473"/>
                <a:gd name="connsiteX1" fmla="*/ 64596 w 4280336"/>
                <a:gd name="connsiteY1" fmla="*/ 45824 h 3222473"/>
                <a:gd name="connsiteX2" fmla="*/ 468357 w 4280336"/>
                <a:gd name="connsiteY2" fmla="*/ 330832 h 3222473"/>
                <a:gd name="connsiteX3" fmla="*/ 996809 w 4280336"/>
                <a:gd name="connsiteY3" fmla="*/ 758343 h 3222473"/>
                <a:gd name="connsiteX4" fmla="*/ 1234315 w 4280336"/>
                <a:gd name="connsiteY4" fmla="*/ 989912 h 3222473"/>
                <a:gd name="connsiteX5" fmla="*/ 1436196 w 4280336"/>
                <a:gd name="connsiteY5" fmla="*/ 1179917 h 3222473"/>
                <a:gd name="connsiteX6" fmla="*/ 1554949 w 4280336"/>
                <a:gd name="connsiteY6" fmla="*/ 1239294 h 3222473"/>
                <a:gd name="connsiteX7" fmla="*/ 1822144 w 4280336"/>
                <a:gd name="connsiteY7" fmla="*/ 1328359 h 3222473"/>
                <a:gd name="connsiteX8" fmla="*/ 1869645 w 4280336"/>
                <a:gd name="connsiteY8" fmla="*/ 1476800 h 3222473"/>
                <a:gd name="connsiteX9" fmla="*/ 1893396 w 4280336"/>
                <a:gd name="connsiteY9" fmla="*/ 1589616 h 3222473"/>
                <a:gd name="connsiteX10" fmla="*/ 1946835 w 4280336"/>
                <a:gd name="connsiteY10" fmla="*/ 1708369 h 3222473"/>
                <a:gd name="connsiteX11" fmla="*/ 2059650 w 4280336"/>
                <a:gd name="connsiteY11" fmla="*/ 1815247 h 3222473"/>
                <a:gd name="connsiteX12" fmla="*/ 2427786 w 4280336"/>
                <a:gd name="connsiteY12" fmla="*/ 1999315 h 3222473"/>
                <a:gd name="connsiteX13" fmla="*/ 2724669 w 4280336"/>
                <a:gd name="connsiteY13" fmla="*/ 2201195 h 3222473"/>
                <a:gd name="connsiteX14" fmla="*/ 3158118 w 4280336"/>
                <a:gd name="connsiteY14" fmla="*/ 2521829 h 3222473"/>
                <a:gd name="connsiteX15" fmla="*/ 3704383 w 4280336"/>
                <a:gd name="connsiteY15" fmla="*/ 2860276 h 3222473"/>
                <a:gd name="connsiteX16" fmla="*/ 4280336 w 4280336"/>
                <a:gd name="connsiteY16" fmla="*/ 3222473 h 3222473"/>
                <a:gd name="connsiteX0" fmla="*/ 0 w 4473222"/>
                <a:gd name="connsiteY0" fmla="*/ 0 h 3327980"/>
                <a:gd name="connsiteX1" fmla="*/ 257482 w 4473222"/>
                <a:gd name="connsiteY1" fmla="*/ 151331 h 3327980"/>
                <a:gd name="connsiteX2" fmla="*/ 661243 w 4473222"/>
                <a:gd name="connsiteY2" fmla="*/ 436339 h 3327980"/>
                <a:gd name="connsiteX3" fmla="*/ 1189695 w 4473222"/>
                <a:gd name="connsiteY3" fmla="*/ 863850 h 3327980"/>
                <a:gd name="connsiteX4" fmla="*/ 1427201 w 4473222"/>
                <a:gd name="connsiteY4" fmla="*/ 1095419 h 3327980"/>
                <a:gd name="connsiteX5" fmla="*/ 1629082 w 4473222"/>
                <a:gd name="connsiteY5" fmla="*/ 1285424 h 3327980"/>
                <a:gd name="connsiteX6" fmla="*/ 1747835 w 4473222"/>
                <a:gd name="connsiteY6" fmla="*/ 1344801 h 3327980"/>
                <a:gd name="connsiteX7" fmla="*/ 2015030 w 4473222"/>
                <a:gd name="connsiteY7" fmla="*/ 1433866 h 3327980"/>
                <a:gd name="connsiteX8" fmla="*/ 2062531 w 4473222"/>
                <a:gd name="connsiteY8" fmla="*/ 1582307 h 3327980"/>
                <a:gd name="connsiteX9" fmla="*/ 2086282 w 4473222"/>
                <a:gd name="connsiteY9" fmla="*/ 1695123 h 3327980"/>
                <a:gd name="connsiteX10" fmla="*/ 2139721 w 4473222"/>
                <a:gd name="connsiteY10" fmla="*/ 1813876 h 3327980"/>
                <a:gd name="connsiteX11" fmla="*/ 2252536 w 4473222"/>
                <a:gd name="connsiteY11" fmla="*/ 1920754 h 3327980"/>
                <a:gd name="connsiteX12" fmla="*/ 2620672 w 4473222"/>
                <a:gd name="connsiteY12" fmla="*/ 2104822 h 3327980"/>
                <a:gd name="connsiteX13" fmla="*/ 2917555 w 4473222"/>
                <a:gd name="connsiteY13" fmla="*/ 2306702 h 3327980"/>
                <a:gd name="connsiteX14" fmla="*/ 3351004 w 4473222"/>
                <a:gd name="connsiteY14" fmla="*/ 2627336 h 3327980"/>
                <a:gd name="connsiteX15" fmla="*/ 3897269 w 4473222"/>
                <a:gd name="connsiteY15" fmla="*/ 2965783 h 3327980"/>
                <a:gd name="connsiteX16" fmla="*/ 4473222 w 4473222"/>
                <a:gd name="connsiteY16" fmla="*/ 3327980 h 3327980"/>
                <a:gd name="connsiteX0" fmla="*/ 0 w 4215740"/>
                <a:gd name="connsiteY0" fmla="*/ 0 h 3176649"/>
                <a:gd name="connsiteX1" fmla="*/ 403761 w 4215740"/>
                <a:gd name="connsiteY1" fmla="*/ 285008 h 3176649"/>
                <a:gd name="connsiteX2" fmla="*/ 932213 w 4215740"/>
                <a:gd name="connsiteY2" fmla="*/ 712519 h 3176649"/>
                <a:gd name="connsiteX3" fmla="*/ 1169719 w 4215740"/>
                <a:gd name="connsiteY3" fmla="*/ 944088 h 3176649"/>
                <a:gd name="connsiteX4" fmla="*/ 1371600 w 4215740"/>
                <a:gd name="connsiteY4" fmla="*/ 1134093 h 3176649"/>
                <a:gd name="connsiteX5" fmla="*/ 1490353 w 4215740"/>
                <a:gd name="connsiteY5" fmla="*/ 1193470 h 3176649"/>
                <a:gd name="connsiteX6" fmla="*/ 1757548 w 4215740"/>
                <a:gd name="connsiteY6" fmla="*/ 1282535 h 3176649"/>
                <a:gd name="connsiteX7" fmla="*/ 1805049 w 4215740"/>
                <a:gd name="connsiteY7" fmla="*/ 1430976 h 3176649"/>
                <a:gd name="connsiteX8" fmla="*/ 1828800 w 4215740"/>
                <a:gd name="connsiteY8" fmla="*/ 1543792 h 3176649"/>
                <a:gd name="connsiteX9" fmla="*/ 1882239 w 4215740"/>
                <a:gd name="connsiteY9" fmla="*/ 1662545 h 3176649"/>
                <a:gd name="connsiteX10" fmla="*/ 1995054 w 4215740"/>
                <a:gd name="connsiteY10" fmla="*/ 1769423 h 3176649"/>
                <a:gd name="connsiteX11" fmla="*/ 2363190 w 4215740"/>
                <a:gd name="connsiteY11" fmla="*/ 1953491 h 3176649"/>
                <a:gd name="connsiteX12" fmla="*/ 2660073 w 4215740"/>
                <a:gd name="connsiteY12" fmla="*/ 2155371 h 3176649"/>
                <a:gd name="connsiteX13" fmla="*/ 3093522 w 4215740"/>
                <a:gd name="connsiteY13" fmla="*/ 2476005 h 3176649"/>
                <a:gd name="connsiteX14" fmla="*/ 3639787 w 4215740"/>
                <a:gd name="connsiteY14" fmla="*/ 2814452 h 3176649"/>
                <a:gd name="connsiteX15" fmla="*/ 4215740 w 4215740"/>
                <a:gd name="connsiteY15" fmla="*/ 3176649 h 3176649"/>
                <a:gd name="connsiteX0" fmla="*/ 0 w 4123415"/>
                <a:gd name="connsiteY0" fmla="*/ 0 h 3111479"/>
                <a:gd name="connsiteX1" fmla="*/ 311436 w 4123415"/>
                <a:gd name="connsiteY1" fmla="*/ 219838 h 3111479"/>
                <a:gd name="connsiteX2" fmla="*/ 839888 w 4123415"/>
                <a:gd name="connsiteY2" fmla="*/ 647349 h 3111479"/>
                <a:gd name="connsiteX3" fmla="*/ 1077394 w 4123415"/>
                <a:gd name="connsiteY3" fmla="*/ 878918 h 3111479"/>
                <a:gd name="connsiteX4" fmla="*/ 1279275 w 4123415"/>
                <a:gd name="connsiteY4" fmla="*/ 1068923 h 3111479"/>
                <a:gd name="connsiteX5" fmla="*/ 1398028 w 4123415"/>
                <a:gd name="connsiteY5" fmla="*/ 1128300 h 3111479"/>
                <a:gd name="connsiteX6" fmla="*/ 1665223 w 4123415"/>
                <a:gd name="connsiteY6" fmla="*/ 1217365 h 3111479"/>
                <a:gd name="connsiteX7" fmla="*/ 1712724 w 4123415"/>
                <a:gd name="connsiteY7" fmla="*/ 1365806 h 3111479"/>
                <a:gd name="connsiteX8" fmla="*/ 1736475 w 4123415"/>
                <a:gd name="connsiteY8" fmla="*/ 1478622 h 3111479"/>
                <a:gd name="connsiteX9" fmla="*/ 1789914 w 4123415"/>
                <a:gd name="connsiteY9" fmla="*/ 1597375 h 3111479"/>
                <a:gd name="connsiteX10" fmla="*/ 1902729 w 4123415"/>
                <a:gd name="connsiteY10" fmla="*/ 1704253 h 3111479"/>
                <a:gd name="connsiteX11" fmla="*/ 2270865 w 4123415"/>
                <a:gd name="connsiteY11" fmla="*/ 1888321 h 3111479"/>
                <a:gd name="connsiteX12" fmla="*/ 2567748 w 4123415"/>
                <a:gd name="connsiteY12" fmla="*/ 2090201 h 3111479"/>
                <a:gd name="connsiteX13" fmla="*/ 3001197 w 4123415"/>
                <a:gd name="connsiteY13" fmla="*/ 2410835 h 3111479"/>
                <a:gd name="connsiteX14" fmla="*/ 3547462 w 4123415"/>
                <a:gd name="connsiteY14" fmla="*/ 2749282 h 3111479"/>
                <a:gd name="connsiteX15" fmla="*/ 4123415 w 4123415"/>
                <a:gd name="connsiteY15" fmla="*/ 3111479 h 3111479"/>
                <a:gd name="connsiteX0" fmla="*/ 0 w 3811979"/>
                <a:gd name="connsiteY0" fmla="*/ 0 h 2891641"/>
                <a:gd name="connsiteX1" fmla="*/ 528452 w 3811979"/>
                <a:gd name="connsiteY1" fmla="*/ 427511 h 2891641"/>
                <a:gd name="connsiteX2" fmla="*/ 765958 w 3811979"/>
                <a:gd name="connsiteY2" fmla="*/ 659080 h 2891641"/>
                <a:gd name="connsiteX3" fmla="*/ 967839 w 3811979"/>
                <a:gd name="connsiteY3" fmla="*/ 849085 h 2891641"/>
                <a:gd name="connsiteX4" fmla="*/ 1086592 w 3811979"/>
                <a:gd name="connsiteY4" fmla="*/ 908462 h 2891641"/>
                <a:gd name="connsiteX5" fmla="*/ 1353787 w 3811979"/>
                <a:gd name="connsiteY5" fmla="*/ 997527 h 2891641"/>
                <a:gd name="connsiteX6" fmla="*/ 1401288 w 3811979"/>
                <a:gd name="connsiteY6" fmla="*/ 1145968 h 2891641"/>
                <a:gd name="connsiteX7" fmla="*/ 1425039 w 3811979"/>
                <a:gd name="connsiteY7" fmla="*/ 1258784 h 2891641"/>
                <a:gd name="connsiteX8" fmla="*/ 1478478 w 3811979"/>
                <a:gd name="connsiteY8" fmla="*/ 1377537 h 2891641"/>
                <a:gd name="connsiteX9" fmla="*/ 1591293 w 3811979"/>
                <a:gd name="connsiteY9" fmla="*/ 1484415 h 2891641"/>
                <a:gd name="connsiteX10" fmla="*/ 1959429 w 3811979"/>
                <a:gd name="connsiteY10" fmla="*/ 1668483 h 2891641"/>
                <a:gd name="connsiteX11" fmla="*/ 2256312 w 3811979"/>
                <a:gd name="connsiteY11" fmla="*/ 1870363 h 2891641"/>
                <a:gd name="connsiteX12" fmla="*/ 2689761 w 3811979"/>
                <a:gd name="connsiteY12" fmla="*/ 2190997 h 2891641"/>
                <a:gd name="connsiteX13" fmla="*/ 3236026 w 3811979"/>
                <a:gd name="connsiteY13" fmla="*/ 2529444 h 2891641"/>
                <a:gd name="connsiteX14" fmla="*/ 3811979 w 3811979"/>
                <a:gd name="connsiteY14" fmla="*/ 2891641 h 2891641"/>
                <a:gd name="connsiteX0" fmla="*/ 0 w 3790255"/>
                <a:gd name="connsiteY0" fmla="*/ 0 h 2875348"/>
                <a:gd name="connsiteX1" fmla="*/ 506728 w 3790255"/>
                <a:gd name="connsiteY1" fmla="*/ 411218 h 2875348"/>
                <a:gd name="connsiteX2" fmla="*/ 744234 w 3790255"/>
                <a:gd name="connsiteY2" fmla="*/ 642787 h 2875348"/>
                <a:gd name="connsiteX3" fmla="*/ 946115 w 3790255"/>
                <a:gd name="connsiteY3" fmla="*/ 832792 h 2875348"/>
                <a:gd name="connsiteX4" fmla="*/ 1064868 w 3790255"/>
                <a:gd name="connsiteY4" fmla="*/ 892169 h 2875348"/>
                <a:gd name="connsiteX5" fmla="*/ 1332063 w 3790255"/>
                <a:gd name="connsiteY5" fmla="*/ 981234 h 2875348"/>
                <a:gd name="connsiteX6" fmla="*/ 1379564 w 3790255"/>
                <a:gd name="connsiteY6" fmla="*/ 1129675 h 2875348"/>
                <a:gd name="connsiteX7" fmla="*/ 1403315 w 3790255"/>
                <a:gd name="connsiteY7" fmla="*/ 1242491 h 2875348"/>
                <a:gd name="connsiteX8" fmla="*/ 1456754 w 3790255"/>
                <a:gd name="connsiteY8" fmla="*/ 1361244 h 2875348"/>
                <a:gd name="connsiteX9" fmla="*/ 1569569 w 3790255"/>
                <a:gd name="connsiteY9" fmla="*/ 1468122 h 2875348"/>
                <a:gd name="connsiteX10" fmla="*/ 1937705 w 3790255"/>
                <a:gd name="connsiteY10" fmla="*/ 1652190 h 2875348"/>
                <a:gd name="connsiteX11" fmla="*/ 2234588 w 3790255"/>
                <a:gd name="connsiteY11" fmla="*/ 1854070 h 2875348"/>
                <a:gd name="connsiteX12" fmla="*/ 2668037 w 3790255"/>
                <a:gd name="connsiteY12" fmla="*/ 2174704 h 2875348"/>
                <a:gd name="connsiteX13" fmla="*/ 3214302 w 3790255"/>
                <a:gd name="connsiteY13" fmla="*/ 2513151 h 2875348"/>
                <a:gd name="connsiteX14" fmla="*/ 3790255 w 3790255"/>
                <a:gd name="connsiteY14" fmla="*/ 2875348 h 2875348"/>
                <a:gd name="connsiteX0" fmla="*/ 0 w 3214302"/>
                <a:gd name="connsiteY0" fmla="*/ 0 h 2513151"/>
                <a:gd name="connsiteX1" fmla="*/ 506728 w 3214302"/>
                <a:gd name="connsiteY1" fmla="*/ 411218 h 2513151"/>
                <a:gd name="connsiteX2" fmla="*/ 744234 w 3214302"/>
                <a:gd name="connsiteY2" fmla="*/ 642787 h 2513151"/>
                <a:gd name="connsiteX3" fmla="*/ 946115 w 3214302"/>
                <a:gd name="connsiteY3" fmla="*/ 832792 h 2513151"/>
                <a:gd name="connsiteX4" fmla="*/ 1064868 w 3214302"/>
                <a:gd name="connsiteY4" fmla="*/ 892169 h 2513151"/>
                <a:gd name="connsiteX5" fmla="*/ 1332063 w 3214302"/>
                <a:gd name="connsiteY5" fmla="*/ 981234 h 2513151"/>
                <a:gd name="connsiteX6" fmla="*/ 1379564 w 3214302"/>
                <a:gd name="connsiteY6" fmla="*/ 1129675 h 2513151"/>
                <a:gd name="connsiteX7" fmla="*/ 1403315 w 3214302"/>
                <a:gd name="connsiteY7" fmla="*/ 1242491 h 2513151"/>
                <a:gd name="connsiteX8" fmla="*/ 1456754 w 3214302"/>
                <a:gd name="connsiteY8" fmla="*/ 1361244 h 2513151"/>
                <a:gd name="connsiteX9" fmla="*/ 1569569 w 3214302"/>
                <a:gd name="connsiteY9" fmla="*/ 1468122 h 2513151"/>
                <a:gd name="connsiteX10" fmla="*/ 1937705 w 3214302"/>
                <a:gd name="connsiteY10" fmla="*/ 1652190 h 2513151"/>
                <a:gd name="connsiteX11" fmla="*/ 2234588 w 3214302"/>
                <a:gd name="connsiteY11" fmla="*/ 1854070 h 2513151"/>
                <a:gd name="connsiteX12" fmla="*/ 2668037 w 3214302"/>
                <a:gd name="connsiteY12" fmla="*/ 2174704 h 2513151"/>
                <a:gd name="connsiteX13" fmla="*/ 3214302 w 3214302"/>
                <a:gd name="connsiteY13" fmla="*/ 2513151 h 2513151"/>
                <a:gd name="connsiteX0" fmla="*/ 0 w 2668037"/>
                <a:gd name="connsiteY0" fmla="*/ 0 h 2174704"/>
                <a:gd name="connsiteX1" fmla="*/ 506728 w 2668037"/>
                <a:gd name="connsiteY1" fmla="*/ 411218 h 2174704"/>
                <a:gd name="connsiteX2" fmla="*/ 744234 w 2668037"/>
                <a:gd name="connsiteY2" fmla="*/ 642787 h 2174704"/>
                <a:gd name="connsiteX3" fmla="*/ 946115 w 2668037"/>
                <a:gd name="connsiteY3" fmla="*/ 832792 h 2174704"/>
                <a:gd name="connsiteX4" fmla="*/ 1064868 w 2668037"/>
                <a:gd name="connsiteY4" fmla="*/ 892169 h 2174704"/>
                <a:gd name="connsiteX5" fmla="*/ 1332063 w 2668037"/>
                <a:gd name="connsiteY5" fmla="*/ 981234 h 2174704"/>
                <a:gd name="connsiteX6" fmla="*/ 1379564 w 2668037"/>
                <a:gd name="connsiteY6" fmla="*/ 1129675 h 2174704"/>
                <a:gd name="connsiteX7" fmla="*/ 1403315 w 2668037"/>
                <a:gd name="connsiteY7" fmla="*/ 1242491 h 2174704"/>
                <a:gd name="connsiteX8" fmla="*/ 1456754 w 2668037"/>
                <a:gd name="connsiteY8" fmla="*/ 1361244 h 2174704"/>
                <a:gd name="connsiteX9" fmla="*/ 1569569 w 2668037"/>
                <a:gd name="connsiteY9" fmla="*/ 1468122 h 2174704"/>
                <a:gd name="connsiteX10" fmla="*/ 1937705 w 2668037"/>
                <a:gd name="connsiteY10" fmla="*/ 1652190 h 2174704"/>
                <a:gd name="connsiteX11" fmla="*/ 2234588 w 2668037"/>
                <a:gd name="connsiteY11" fmla="*/ 1854070 h 2174704"/>
                <a:gd name="connsiteX12" fmla="*/ 2668037 w 2668037"/>
                <a:gd name="connsiteY12" fmla="*/ 2174704 h 2174704"/>
                <a:gd name="connsiteX0" fmla="*/ 0 w 2234588"/>
                <a:gd name="connsiteY0" fmla="*/ 0 h 1854070"/>
                <a:gd name="connsiteX1" fmla="*/ 506728 w 2234588"/>
                <a:gd name="connsiteY1" fmla="*/ 411218 h 1854070"/>
                <a:gd name="connsiteX2" fmla="*/ 744234 w 2234588"/>
                <a:gd name="connsiteY2" fmla="*/ 642787 h 1854070"/>
                <a:gd name="connsiteX3" fmla="*/ 946115 w 2234588"/>
                <a:gd name="connsiteY3" fmla="*/ 832792 h 1854070"/>
                <a:gd name="connsiteX4" fmla="*/ 1064868 w 2234588"/>
                <a:gd name="connsiteY4" fmla="*/ 892169 h 1854070"/>
                <a:gd name="connsiteX5" fmla="*/ 1332063 w 2234588"/>
                <a:gd name="connsiteY5" fmla="*/ 981234 h 1854070"/>
                <a:gd name="connsiteX6" fmla="*/ 1379564 w 2234588"/>
                <a:gd name="connsiteY6" fmla="*/ 1129675 h 1854070"/>
                <a:gd name="connsiteX7" fmla="*/ 1403315 w 2234588"/>
                <a:gd name="connsiteY7" fmla="*/ 1242491 h 1854070"/>
                <a:gd name="connsiteX8" fmla="*/ 1456754 w 2234588"/>
                <a:gd name="connsiteY8" fmla="*/ 1361244 h 1854070"/>
                <a:gd name="connsiteX9" fmla="*/ 1569569 w 2234588"/>
                <a:gd name="connsiteY9" fmla="*/ 1468122 h 1854070"/>
                <a:gd name="connsiteX10" fmla="*/ 1937705 w 2234588"/>
                <a:gd name="connsiteY10" fmla="*/ 1652190 h 1854070"/>
                <a:gd name="connsiteX11" fmla="*/ 2234588 w 2234588"/>
                <a:gd name="connsiteY11" fmla="*/ 1854070 h 1854070"/>
                <a:gd name="connsiteX0" fmla="*/ 0 w 2234588"/>
                <a:gd name="connsiteY0" fmla="*/ 0 h 1854070"/>
                <a:gd name="connsiteX1" fmla="*/ 506728 w 2234588"/>
                <a:gd name="connsiteY1" fmla="*/ 411218 h 1854070"/>
                <a:gd name="connsiteX2" fmla="*/ 744234 w 2234588"/>
                <a:gd name="connsiteY2" fmla="*/ 642787 h 1854070"/>
                <a:gd name="connsiteX3" fmla="*/ 946115 w 2234588"/>
                <a:gd name="connsiteY3" fmla="*/ 832792 h 1854070"/>
                <a:gd name="connsiteX4" fmla="*/ 1064868 w 2234588"/>
                <a:gd name="connsiteY4" fmla="*/ 892169 h 1854070"/>
                <a:gd name="connsiteX5" fmla="*/ 1258890 w 2234588"/>
                <a:gd name="connsiteY5" fmla="*/ 1036114 h 1854070"/>
                <a:gd name="connsiteX6" fmla="*/ 1379564 w 2234588"/>
                <a:gd name="connsiteY6" fmla="*/ 1129675 h 1854070"/>
                <a:gd name="connsiteX7" fmla="*/ 1403315 w 2234588"/>
                <a:gd name="connsiteY7" fmla="*/ 1242491 h 1854070"/>
                <a:gd name="connsiteX8" fmla="*/ 1456754 w 2234588"/>
                <a:gd name="connsiteY8" fmla="*/ 1361244 h 1854070"/>
                <a:gd name="connsiteX9" fmla="*/ 1569569 w 2234588"/>
                <a:gd name="connsiteY9" fmla="*/ 1468122 h 1854070"/>
                <a:gd name="connsiteX10" fmla="*/ 1937705 w 2234588"/>
                <a:gd name="connsiteY10" fmla="*/ 1652190 h 1854070"/>
                <a:gd name="connsiteX11" fmla="*/ 2234588 w 2234588"/>
                <a:gd name="connsiteY11" fmla="*/ 1854070 h 1854070"/>
                <a:gd name="connsiteX0" fmla="*/ 0 w 2234588"/>
                <a:gd name="connsiteY0" fmla="*/ 0 h 1854070"/>
                <a:gd name="connsiteX1" fmla="*/ 506728 w 2234588"/>
                <a:gd name="connsiteY1" fmla="*/ 411218 h 1854070"/>
                <a:gd name="connsiteX2" fmla="*/ 744234 w 2234588"/>
                <a:gd name="connsiteY2" fmla="*/ 642787 h 1854070"/>
                <a:gd name="connsiteX3" fmla="*/ 946115 w 2234588"/>
                <a:gd name="connsiteY3" fmla="*/ 832792 h 1854070"/>
                <a:gd name="connsiteX4" fmla="*/ 1040477 w 2234588"/>
                <a:gd name="connsiteY4" fmla="*/ 934853 h 1854070"/>
                <a:gd name="connsiteX5" fmla="*/ 1258890 w 2234588"/>
                <a:gd name="connsiteY5" fmla="*/ 1036114 h 1854070"/>
                <a:gd name="connsiteX6" fmla="*/ 1379564 w 2234588"/>
                <a:gd name="connsiteY6" fmla="*/ 1129675 h 1854070"/>
                <a:gd name="connsiteX7" fmla="*/ 1403315 w 2234588"/>
                <a:gd name="connsiteY7" fmla="*/ 1242491 h 1854070"/>
                <a:gd name="connsiteX8" fmla="*/ 1456754 w 2234588"/>
                <a:gd name="connsiteY8" fmla="*/ 1361244 h 1854070"/>
                <a:gd name="connsiteX9" fmla="*/ 1569569 w 2234588"/>
                <a:gd name="connsiteY9" fmla="*/ 1468122 h 1854070"/>
                <a:gd name="connsiteX10" fmla="*/ 1937705 w 2234588"/>
                <a:gd name="connsiteY10" fmla="*/ 1652190 h 1854070"/>
                <a:gd name="connsiteX11" fmla="*/ 2234588 w 2234588"/>
                <a:gd name="connsiteY11" fmla="*/ 1854070 h 1854070"/>
                <a:gd name="connsiteX0" fmla="*/ 0 w 2234588"/>
                <a:gd name="connsiteY0" fmla="*/ 0 h 1854070"/>
                <a:gd name="connsiteX1" fmla="*/ 506728 w 2234588"/>
                <a:gd name="connsiteY1" fmla="*/ 411218 h 1854070"/>
                <a:gd name="connsiteX2" fmla="*/ 744234 w 2234588"/>
                <a:gd name="connsiteY2" fmla="*/ 642787 h 1854070"/>
                <a:gd name="connsiteX3" fmla="*/ 903431 w 2234588"/>
                <a:gd name="connsiteY3" fmla="*/ 832792 h 1854070"/>
                <a:gd name="connsiteX4" fmla="*/ 1040477 w 2234588"/>
                <a:gd name="connsiteY4" fmla="*/ 934853 h 1854070"/>
                <a:gd name="connsiteX5" fmla="*/ 1258890 w 2234588"/>
                <a:gd name="connsiteY5" fmla="*/ 1036114 h 1854070"/>
                <a:gd name="connsiteX6" fmla="*/ 1379564 w 2234588"/>
                <a:gd name="connsiteY6" fmla="*/ 1129675 h 1854070"/>
                <a:gd name="connsiteX7" fmla="*/ 1403315 w 2234588"/>
                <a:gd name="connsiteY7" fmla="*/ 1242491 h 1854070"/>
                <a:gd name="connsiteX8" fmla="*/ 1456754 w 2234588"/>
                <a:gd name="connsiteY8" fmla="*/ 1361244 h 1854070"/>
                <a:gd name="connsiteX9" fmla="*/ 1569569 w 2234588"/>
                <a:gd name="connsiteY9" fmla="*/ 1468122 h 1854070"/>
                <a:gd name="connsiteX10" fmla="*/ 1937705 w 2234588"/>
                <a:gd name="connsiteY10" fmla="*/ 1652190 h 1854070"/>
                <a:gd name="connsiteX11" fmla="*/ 2234588 w 2234588"/>
                <a:gd name="connsiteY11" fmla="*/ 1854070 h 1854070"/>
                <a:gd name="connsiteX0" fmla="*/ 0 w 2234588"/>
                <a:gd name="connsiteY0" fmla="*/ 0 h 1854070"/>
                <a:gd name="connsiteX1" fmla="*/ 506728 w 2234588"/>
                <a:gd name="connsiteY1" fmla="*/ 411218 h 1854070"/>
                <a:gd name="connsiteX2" fmla="*/ 725941 w 2234588"/>
                <a:gd name="connsiteY2" fmla="*/ 636689 h 1854070"/>
                <a:gd name="connsiteX3" fmla="*/ 903431 w 2234588"/>
                <a:gd name="connsiteY3" fmla="*/ 832792 h 1854070"/>
                <a:gd name="connsiteX4" fmla="*/ 1040477 w 2234588"/>
                <a:gd name="connsiteY4" fmla="*/ 934853 h 1854070"/>
                <a:gd name="connsiteX5" fmla="*/ 1258890 w 2234588"/>
                <a:gd name="connsiteY5" fmla="*/ 1036114 h 1854070"/>
                <a:gd name="connsiteX6" fmla="*/ 1379564 w 2234588"/>
                <a:gd name="connsiteY6" fmla="*/ 1129675 h 1854070"/>
                <a:gd name="connsiteX7" fmla="*/ 1403315 w 2234588"/>
                <a:gd name="connsiteY7" fmla="*/ 1242491 h 1854070"/>
                <a:gd name="connsiteX8" fmla="*/ 1456754 w 2234588"/>
                <a:gd name="connsiteY8" fmla="*/ 1361244 h 1854070"/>
                <a:gd name="connsiteX9" fmla="*/ 1569569 w 2234588"/>
                <a:gd name="connsiteY9" fmla="*/ 1468122 h 1854070"/>
                <a:gd name="connsiteX10" fmla="*/ 1937705 w 2234588"/>
                <a:gd name="connsiteY10" fmla="*/ 1652190 h 1854070"/>
                <a:gd name="connsiteX11" fmla="*/ 2234588 w 2234588"/>
                <a:gd name="connsiteY11" fmla="*/ 1854070 h 1854070"/>
                <a:gd name="connsiteX0" fmla="*/ 0 w 2234588"/>
                <a:gd name="connsiteY0" fmla="*/ 0 h 1854070"/>
                <a:gd name="connsiteX1" fmla="*/ 506728 w 2234588"/>
                <a:gd name="connsiteY1" fmla="*/ 411218 h 1854070"/>
                <a:gd name="connsiteX2" fmla="*/ 725941 w 2234588"/>
                <a:gd name="connsiteY2" fmla="*/ 636689 h 1854070"/>
                <a:gd name="connsiteX3" fmla="*/ 903431 w 2234588"/>
                <a:gd name="connsiteY3" fmla="*/ 832792 h 1854070"/>
                <a:gd name="connsiteX4" fmla="*/ 1040477 w 2234588"/>
                <a:gd name="connsiteY4" fmla="*/ 934853 h 1854070"/>
                <a:gd name="connsiteX5" fmla="*/ 1258890 w 2234588"/>
                <a:gd name="connsiteY5" fmla="*/ 1036114 h 1854070"/>
                <a:gd name="connsiteX6" fmla="*/ 1349075 w 2234588"/>
                <a:gd name="connsiteY6" fmla="*/ 1135772 h 1854070"/>
                <a:gd name="connsiteX7" fmla="*/ 1403315 w 2234588"/>
                <a:gd name="connsiteY7" fmla="*/ 1242491 h 1854070"/>
                <a:gd name="connsiteX8" fmla="*/ 1456754 w 2234588"/>
                <a:gd name="connsiteY8" fmla="*/ 1361244 h 1854070"/>
                <a:gd name="connsiteX9" fmla="*/ 1569569 w 2234588"/>
                <a:gd name="connsiteY9" fmla="*/ 1468122 h 1854070"/>
                <a:gd name="connsiteX10" fmla="*/ 1937705 w 2234588"/>
                <a:gd name="connsiteY10" fmla="*/ 1652190 h 1854070"/>
                <a:gd name="connsiteX11" fmla="*/ 2234588 w 2234588"/>
                <a:gd name="connsiteY11" fmla="*/ 1854070 h 1854070"/>
                <a:gd name="connsiteX0" fmla="*/ 0 w 2234588"/>
                <a:gd name="connsiteY0" fmla="*/ 0 h 1854070"/>
                <a:gd name="connsiteX1" fmla="*/ 506728 w 2234588"/>
                <a:gd name="connsiteY1" fmla="*/ 411218 h 1854070"/>
                <a:gd name="connsiteX2" fmla="*/ 725941 w 2234588"/>
                <a:gd name="connsiteY2" fmla="*/ 636689 h 1854070"/>
                <a:gd name="connsiteX3" fmla="*/ 903431 w 2234588"/>
                <a:gd name="connsiteY3" fmla="*/ 832792 h 1854070"/>
                <a:gd name="connsiteX4" fmla="*/ 1040477 w 2234588"/>
                <a:gd name="connsiteY4" fmla="*/ 934853 h 1854070"/>
                <a:gd name="connsiteX5" fmla="*/ 1117957 w 2234588"/>
                <a:gd name="connsiteY5" fmla="*/ 991598 h 1854070"/>
                <a:gd name="connsiteX6" fmla="*/ 1258890 w 2234588"/>
                <a:gd name="connsiteY6" fmla="*/ 1036114 h 1854070"/>
                <a:gd name="connsiteX7" fmla="*/ 1349075 w 2234588"/>
                <a:gd name="connsiteY7" fmla="*/ 1135772 h 1854070"/>
                <a:gd name="connsiteX8" fmla="*/ 1403315 w 2234588"/>
                <a:gd name="connsiteY8" fmla="*/ 1242491 h 1854070"/>
                <a:gd name="connsiteX9" fmla="*/ 1456754 w 2234588"/>
                <a:gd name="connsiteY9" fmla="*/ 1361244 h 1854070"/>
                <a:gd name="connsiteX10" fmla="*/ 1569569 w 2234588"/>
                <a:gd name="connsiteY10" fmla="*/ 1468122 h 1854070"/>
                <a:gd name="connsiteX11" fmla="*/ 1937705 w 2234588"/>
                <a:gd name="connsiteY11" fmla="*/ 1652190 h 1854070"/>
                <a:gd name="connsiteX12" fmla="*/ 2234588 w 2234588"/>
                <a:gd name="connsiteY12" fmla="*/ 1854070 h 1854070"/>
                <a:gd name="connsiteX0" fmla="*/ 0 w 2234588"/>
                <a:gd name="connsiteY0" fmla="*/ 0 h 1854070"/>
                <a:gd name="connsiteX1" fmla="*/ 506728 w 2234588"/>
                <a:gd name="connsiteY1" fmla="*/ 411218 h 1854070"/>
                <a:gd name="connsiteX2" fmla="*/ 725941 w 2234588"/>
                <a:gd name="connsiteY2" fmla="*/ 636689 h 1854070"/>
                <a:gd name="connsiteX3" fmla="*/ 903431 w 2234588"/>
                <a:gd name="connsiteY3" fmla="*/ 832792 h 1854070"/>
                <a:gd name="connsiteX4" fmla="*/ 1040477 w 2234588"/>
                <a:gd name="connsiteY4" fmla="*/ 934853 h 1854070"/>
                <a:gd name="connsiteX5" fmla="*/ 1117957 w 2234588"/>
                <a:gd name="connsiteY5" fmla="*/ 991598 h 1854070"/>
                <a:gd name="connsiteX6" fmla="*/ 1246695 w 2234588"/>
                <a:gd name="connsiteY6" fmla="*/ 1011724 h 1854070"/>
                <a:gd name="connsiteX7" fmla="*/ 1349075 w 2234588"/>
                <a:gd name="connsiteY7" fmla="*/ 1135772 h 1854070"/>
                <a:gd name="connsiteX8" fmla="*/ 1403315 w 2234588"/>
                <a:gd name="connsiteY8" fmla="*/ 1242491 h 1854070"/>
                <a:gd name="connsiteX9" fmla="*/ 1456754 w 2234588"/>
                <a:gd name="connsiteY9" fmla="*/ 1361244 h 1854070"/>
                <a:gd name="connsiteX10" fmla="*/ 1569569 w 2234588"/>
                <a:gd name="connsiteY10" fmla="*/ 1468122 h 1854070"/>
                <a:gd name="connsiteX11" fmla="*/ 1937705 w 2234588"/>
                <a:gd name="connsiteY11" fmla="*/ 1652190 h 1854070"/>
                <a:gd name="connsiteX12" fmla="*/ 2234588 w 2234588"/>
                <a:gd name="connsiteY12" fmla="*/ 1854070 h 1854070"/>
                <a:gd name="connsiteX0" fmla="*/ 0 w 2234588"/>
                <a:gd name="connsiteY0" fmla="*/ 0 h 1854070"/>
                <a:gd name="connsiteX1" fmla="*/ 506728 w 2234588"/>
                <a:gd name="connsiteY1" fmla="*/ 411218 h 1854070"/>
                <a:gd name="connsiteX2" fmla="*/ 725941 w 2234588"/>
                <a:gd name="connsiteY2" fmla="*/ 636689 h 1854070"/>
                <a:gd name="connsiteX3" fmla="*/ 903431 w 2234588"/>
                <a:gd name="connsiteY3" fmla="*/ 832792 h 1854070"/>
                <a:gd name="connsiteX4" fmla="*/ 1040477 w 2234588"/>
                <a:gd name="connsiteY4" fmla="*/ 934853 h 1854070"/>
                <a:gd name="connsiteX5" fmla="*/ 1117957 w 2234588"/>
                <a:gd name="connsiteY5" fmla="*/ 991598 h 1854070"/>
                <a:gd name="connsiteX6" fmla="*/ 1246695 w 2234588"/>
                <a:gd name="connsiteY6" fmla="*/ 1011724 h 1854070"/>
                <a:gd name="connsiteX7" fmla="*/ 1349075 w 2234588"/>
                <a:gd name="connsiteY7" fmla="*/ 1135772 h 1854070"/>
                <a:gd name="connsiteX8" fmla="*/ 1403315 w 2234588"/>
                <a:gd name="connsiteY8" fmla="*/ 1242491 h 1854070"/>
                <a:gd name="connsiteX9" fmla="*/ 1499439 w 2234588"/>
                <a:gd name="connsiteY9" fmla="*/ 1361244 h 1854070"/>
                <a:gd name="connsiteX10" fmla="*/ 1569569 w 2234588"/>
                <a:gd name="connsiteY10" fmla="*/ 1468122 h 1854070"/>
                <a:gd name="connsiteX11" fmla="*/ 1937705 w 2234588"/>
                <a:gd name="connsiteY11" fmla="*/ 1652190 h 1854070"/>
                <a:gd name="connsiteX12" fmla="*/ 2234588 w 2234588"/>
                <a:gd name="connsiteY12" fmla="*/ 1854070 h 1854070"/>
                <a:gd name="connsiteX0" fmla="*/ 0 w 2234588"/>
                <a:gd name="connsiteY0" fmla="*/ 0 h 1854070"/>
                <a:gd name="connsiteX1" fmla="*/ 506728 w 2234588"/>
                <a:gd name="connsiteY1" fmla="*/ 411218 h 1854070"/>
                <a:gd name="connsiteX2" fmla="*/ 725941 w 2234588"/>
                <a:gd name="connsiteY2" fmla="*/ 636689 h 1854070"/>
                <a:gd name="connsiteX3" fmla="*/ 903431 w 2234588"/>
                <a:gd name="connsiteY3" fmla="*/ 832792 h 1854070"/>
                <a:gd name="connsiteX4" fmla="*/ 1040477 w 2234588"/>
                <a:gd name="connsiteY4" fmla="*/ 934853 h 1854070"/>
                <a:gd name="connsiteX5" fmla="*/ 1117957 w 2234588"/>
                <a:gd name="connsiteY5" fmla="*/ 991598 h 1854070"/>
                <a:gd name="connsiteX6" fmla="*/ 1246695 w 2234588"/>
                <a:gd name="connsiteY6" fmla="*/ 1011724 h 1854070"/>
                <a:gd name="connsiteX7" fmla="*/ 1349075 w 2234588"/>
                <a:gd name="connsiteY7" fmla="*/ 1135772 h 1854070"/>
                <a:gd name="connsiteX8" fmla="*/ 1403315 w 2234588"/>
                <a:gd name="connsiteY8" fmla="*/ 1242491 h 1854070"/>
                <a:gd name="connsiteX9" fmla="*/ 1499439 w 2234588"/>
                <a:gd name="connsiteY9" fmla="*/ 1361244 h 1854070"/>
                <a:gd name="connsiteX10" fmla="*/ 1630546 w 2234588"/>
                <a:gd name="connsiteY10" fmla="*/ 1462025 h 1854070"/>
                <a:gd name="connsiteX11" fmla="*/ 1937705 w 2234588"/>
                <a:gd name="connsiteY11" fmla="*/ 1652190 h 1854070"/>
                <a:gd name="connsiteX12" fmla="*/ 2234588 w 2234588"/>
                <a:gd name="connsiteY12" fmla="*/ 1854070 h 1854070"/>
                <a:gd name="connsiteX0" fmla="*/ 0 w 2173610"/>
                <a:gd name="connsiteY0" fmla="*/ 0 h 1854070"/>
                <a:gd name="connsiteX1" fmla="*/ 506728 w 2173610"/>
                <a:gd name="connsiteY1" fmla="*/ 411218 h 1854070"/>
                <a:gd name="connsiteX2" fmla="*/ 725941 w 2173610"/>
                <a:gd name="connsiteY2" fmla="*/ 636689 h 1854070"/>
                <a:gd name="connsiteX3" fmla="*/ 903431 w 2173610"/>
                <a:gd name="connsiteY3" fmla="*/ 832792 h 1854070"/>
                <a:gd name="connsiteX4" fmla="*/ 1040477 w 2173610"/>
                <a:gd name="connsiteY4" fmla="*/ 934853 h 1854070"/>
                <a:gd name="connsiteX5" fmla="*/ 1117957 w 2173610"/>
                <a:gd name="connsiteY5" fmla="*/ 991598 h 1854070"/>
                <a:gd name="connsiteX6" fmla="*/ 1246695 w 2173610"/>
                <a:gd name="connsiteY6" fmla="*/ 1011724 h 1854070"/>
                <a:gd name="connsiteX7" fmla="*/ 1349075 w 2173610"/>
                <a:gd name="connsiteY7" fmla="*/ 1135772 h 1854070"/>
                <a:gd name="connsiteX8" fmla="*/ 1403315 w 2173610"/>
                <a:gd name="connsiteY8" fmla="*/ 1242491 h 1854070"/>
                <a:gd name="connsiteX9" fmla="*/ 1499439 w 2173610"/>
                <a:gd name="connsiteY9" fmla="*/ 1361244 h 1854070"/>
                <a:gd name="connsiteX10" fmla="*/ 1630546 w 2173610"/>
                <a:gd name="connsiteY10" fmla="*/ 1462025 h 1854070"/>
                <a:gd name="connsiteX11" fmla="*/ 1937705 w 2173610"/>
                <a:gd name="connsiteY11" fmla="*/ 1652190 h 1854070"/>
                <a:gd name="connsiteX12" fmla="*/ 2173610 w 2173610"/>
                <a:gd name="connsiteY12" fmla="*/ 1854070 h 1854070"/>
                <a:gd name="connsiteX0" fmla="*/ 0 w 2173610"/>
                <a:gd name="connsiteY0" fmla="*/ 0 h 1854070"/>
                <a:gd name="connsiteX1" fmla="*/ 451848 w 2173610"/>
                <a:gd name="connsiteY1" fmla="*/ 350240 h 1854070"/>
                <a:gd name="connsiteX2" fmla="*/ 725941 w 2173610"/>
                <a:gd name="connsiteY2" fmla="*/ 636689 h 1854070"/>
                <a:gd name="connsiteX3" fmla="*/ 903431 w 2173610"/>
                <a:gd name="connsiteY3" fmla="*/ 832792 h 1854070"/>
                <a:gd name="connsiteX4" fmla="*/ 1040477 w 2173610"/>
                <a:gd name="connsiteY4" fmla="*/ 934853 h 1854070"/>
                <a:gd name="connsiteX5" fmla="*/ 1117957 w 2173610"/>
                <a:gd name="connsiteY5" fmla="*/ 991598 h 1854070"/>
                <a:gd name="connsiteX6" fmla="*/ 1246695 w 2173610"/>
                <a:gd name="connsiteY6" fmla="*/ 1011724 h 1854070"/>
                <a:gd name="connsiteX7" fmla="*/ 1349075 w 2173610"/>
                <a:gd name="connsiteY7" fmla="*/ 1135772 h 1854070"/>
                <a:gd name="connsiteX8" fmla="*/ 1403315 w 2173610"/>
                <a:gd name="connsiteY8" fmla="*/ 1242491 h 1854070"/>
                <a:gd name="connsiteX9" fmla="*/ 1499439 w 2173610"/>
                <a:gd name="connsiteY9" fmla="*/ 1361244 h 1854070"/>
                <a:gd name="connsiteX10" fmla="*/ 1630546 w 2173610"/>
                <a:gd name="connsiteY10" fmla="*/ 1462025 h 1854070"/>
                <a:gd name="connsiteX11" fmla="*/ 1937705 w 2173610"/>
                <a:gd name="connsiteY11" fmla="*/ 1652190 h 1854070"/>
                <a:gd name="connsiteX12" fmla="*/ 2173610 w 2173610"/>
                <a:gd name="connsiteY12" fmla="*/ 1854070 h 1854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73610" h="1854070">
                  <a:moveTo>
                    <a:pt x="0" y="0"/>
                  </a:moveTo>
                  <a:cubicBezTo>
                    <a:pt x="139981" y="107892"/>
                    <a:pt x="330858" y="244125"/>
                    <a:pt x="451848" y="350240"/>
                  </a:cubicBezTo>
                  <a:cubicBezTo>
                    <a:pt x="572838" y="456355"/>
                    <a:pt x="650677" y="556264"/>
                    <a:pt x="725941" y="636689"/>
                  </a:cubicBezTo>
                  <a:cubicBezTo>
                    <a:pt x="801205" y="717114"/>
                    <a:pt x="851008" y="783098"/>
                    <a:pt x="903431" y="832792"/>
                  </a:cubicBezTo>
                  <a:cubicBezTo>
                    <a:pt x="955854" y="882486"/>
                    <a:pt x="1004723" y="908385"/>
                    <a:pt x="1040477" y="934853"/>
                  </a:cubicBezTo>
                  <a:cubicBezTo>
                    <a:pt x="1076231" y="961321"/>
                    <a:pt x="1081555" y="974721"/>
                    <a:pt x="1117957" y="991598"/>
                  </a:cubicBezTo>
                  <a:cubicBezTo>
                    <a:pt x="1154359" y="1008475"/>
                    <a:pt x="1208175" y="987695"/>
                    <a:pt x="1246695" y="1011724"/>
                  </a:cubicBezTo>
                  <a:cubicBezTo>
                    <a:pt x="1285215" y="1035753"/>
                    <a:pt x="1322972" y="1097311"/>
                    <a:pt x="1349075" y="1135772"/>
                  </a:cubicBezTo>
                  <a:cubicBezTo>
                    <a:pt x="1375178" y="1174233"/>
                    <a:pt x="1378254" y="1204912"/>
                    <a:pt x="1403315" y="1242491"/>
                  </a:cubicBezTo>
                  <a:cubicBezTo>
                    <a:pt x="1428376" y="1280070"/>
                    <a:pt x="1461567" y="1324655"/>
                    <a:pt x="1499439" y="1361244"/>
                  </a:cubicBezTo>
                  <a:cubicBezTo>
                    <a:pt x="1537311" y="1397833"/>
                    <a:pt x="1557502" y="1413534"/>
                    <a:pt x="1630546" y="1462025"/>
                  </a:cubicBezTo>
                  <a:cubicBezTo>
                    <a:pt x="1703590" y="1510516"/>
                    <a:pt x="1847194" y="1586849"/>
                    <a:pt x="1937705" y="1652190"/>
                  </a:cubicBezTo>
                  <a:cubicBezTo>
                    <a:pt x="2028216" y="1717531"/>
                    <a:pt x="2051888" y="1766984"/>
                    <a:pt x="2173610" y="1854070"/>
                  </a:cubicBezTo>
                </a:path>
              </a:pathLst>
            </a:custGeom>
            <a:ln w="3810">
              <a:solidFill>
                <a:srgbClr val="CC0000"/>
              </a:solidFill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847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20" name="Полилиния 119">
              <a:extLst>
                <a:ext uri="{FF2B5EF4-FFF2-40B4-BE49-F238E27FC236}">
                  <a16:creationId xmlns:a16="http://schemas.microsoft.com/office/drawing/2014/main" id="{F24E0D8C-0BD3-A743-BD71-56CB17D4CA37}"/>
                </a:ext>
              </a:extLst>
            </p:cNvPr>
            <p:cNvSpPr/>
            <p:nvPr/>
          </p:nvSpPr>
          <p:spPr>
            <a:xfrm>
              <a:off x="7109070" y="7703102"/>
              <a:ext cx="589463" cy="313105"/>
            </a:xfrm>
            <a:custGeom>
              <a:avLst/>
              <a:gdLst>
                <a:gd name="connsiteX0" fmla="*/ 812800 w 812800"/>
                <a:gd name="connsiteY0" fmla="*/ 466165 h 466165"/>
                <a:gd name="connsiteX1" fmla="*/ 615576 w 812800"/>
                <a:gd name="connsiteY1" fmla="*/ 334683 h 466165"/>
                <a:gd name="connsiteX2" fmla="*/ 525929 w 812800"/>
                <a:gd name="connsiteY2" fmla="*/ 274918 h 466165"/>
                <a:gd name="connsiteX3" fmla="*/ 448235 w 812800"/>
                <a:gd name="connsiteY3" fmla="*/ 245036 h 466165"/>
                <a:gd name="connsiteX4" fmla="*/ 376518 w 812800"/>
                <a:gd name="connsiteY4" fmla="*/ 113553 h 466165"/>
                <a:gd name="connsiteX5" fmla="*/ 286871 w 812800"/>
                <a:gd name="connsiteY5" fmla="*/ 23906 h 466165"/>
                <a:gd name="connsiteX6" fmla="*/ 203200 w 812800"/>
                <a:gd name="connsiteY6" fmla="*/ 11953 h 466165"/>
                <a:gd name="connsiteX7" fmla="*/ 161365 w 812800"/>
                <a:gd name="connsiteY7" fmla="*/ 47812 h 466165"/>
                <a:gd name="connsiteX8" fmla="*/ 101600 w 812800"/>
                <a:gd name="connsiteY8" fmla="*/ 41836 h 466165"/>
                <a:gd name="connsiteX9" fmla="*/ 0 w 812800"/>
                <a:gd name="connsiteY9" fmla="*/ 0 h 466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2800" h="466165">
                  <a:moveTo>
                    <a:pt x="812800" y="466165"/>
                  </a:moveTo>
                  <a:lnTo>
                    <a:pt x="615576" y="334683"/>
                  </a:lnTo>
                  <a:cubicBezTo>
                    <a:pt x="567764" y="302809"/>
                    <a:pt x="553819" y="289859"/>
                    <a:pt x="525929" y="274918"/>
                  </a:cubicBezTo>
                  <a:cubicBezTo>
                    <a:pt x="498039" y="259977"/>
                    <a:pt x="473137" y="271930"/>
                    <a:pt x="448235" y="245036"/>
                  </a:cubicBezTo>
                  <a:cubicBezTo>
                    <a:pt x="423333" y="218142"/>
                    <a:pt x="403412" y="150408"/>
                    <a:pt x="376518" y="113553"/>
                  </a:cubicBezTo>
                  <a:cubicBezTo>
                    <a:pt x="349624" y="76698"/>
                    <a:pt x="315757" y="40839"/>
                    <a:pt x="286871" y="23906"/>
                  </a:cubicBezTo>
                  <a:cubicBezTo>
                    <a:pt x="257985" y="6973"/>
                    <a:pt x="224118" y="7969"/>
                    <a:pt x="203200" y="11953"/>
                  </a:cubicBezTo>
                  <a:cubicBezTo>
                    <a:pt x="182282" y="15937"/>
                    <a:pt x="178298" y="42831"/>
                    <a:pt x="161365" y="47812"/>
                  </a:cubicBezTo>
                  <a:cubicBezTo>
                    <a:pt x="144432" y="52792"/>
                    <a:pt x="128494" y="49805"/>
                    <a:pt x="101600" y="41836"/>
                  </a:cubicBezTo>
                  <a:cubicBezTo>
                    <a:pt x="74706" y="33867"/>
                    <a:pt x="37353" y="16933"/>
                    <a:pt x="0" y="0"/>
                  </a:cubicBezTo>
                </a:path>
              </a:pathLst>
            </a:custGeom>
            <a:noFill/>
            <a:ln w="12700">
              <a:solidFill>
                <a:srgbClr val="7030A0"/>
              </a:solidFill>
              <a:prstDash val="sysDot"/>
              <a:headEnd type="diamond"/>
              <a:tailEnd type="diamon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47" dirty="0">
                <a:latin typeface="+mj-lt"/>
              </a:endParaRPr>
            </a:p>
          </p:txBody>
        </p:sp>
        <p:sp>
          <p:nvSpPr>
            <p:cNvPr id="121" name="Полилиния 120">
              <a:extLst>
                <a:ext uri="{FF2B5EF4-FFF2-40B4-BE49-F238E27FC236}">
                  <a16:creationId xmlns:a16="http://schemas.microsoft.com/office/drawing/2014/main" id="{7A0FA1E1-73F3-8241-B0DB-541D5272F471}"/>
                </a:ext>
              </a:extLst>
            </p:cNvPr>
            <p:cNvSpPr/>
            <p:nvPr/>
          </p:nvSpPr>
          <p:spPr>
            <a:xfrm>
              <a:off x="7182753" y="7630848"/>
              <a:ext cx="312069" cy="911215"/>
            </a:xfrm>
            <a:custGeom>
              <a:avLst/>
              <a:gdLst>
                <a:gd name="connsiteX0" fmla="*/ 430306 w 430306"/>
                <a:gd name="connsiteY0" fmla="*/ 1356659 h 1356659"/>
                <a:gd name="connsiteX1" fmla="*/ 394447 w 430306"/>
                <a:gd name="connsiteY1" fmla="*/ 1302871 h 1356659"/>
                <a:gd name="connsiteX2" fmla="*/ 370541 w 430306"/>
                <a:gd name="connsiteY2" fmla="*/ 1213224 h 1356659"/>
                <a:gd name="connsiteX3" fmla="*/ 316753 w 430306"/>
                <a:gd name="connsiteY3" fmla="*/ 1153459 h 1356659"/>
                <a:gd name="connsiteX4" fmla="*/ 358588 w 430306"/>
                <a:gd name="connsiteY4" fmla="*/ 1004047 h 1356659"/>
                <a:gd name="connsiteX5" fmla="*/ 400423 w 430306"/>
                <a:gd name="connsiteY5" fmla="*/ 854635 h 1356659"/>
                <a:gd name="connsiteX6" fmla="*/ 370541 w 430306"/>
                <a:gd name="connsiteY6" fmla="*/ 639482 h 1356659"/>
                <a:gd name="connsiteX7" fmla="*/ 328706 w 430306"/>
                <a:gd name="connsiteY7" fmla="*/ 484094 h 1356659"/>
                <a:gd name="connsiteX8" fmla="*/ 262965 w 430306"/>
                <a:gd name="connsiteY8" fmla="*/ 394447 h 1356659"/>
                <a:gd name="connsiteX9" fmla="*/ 239059 w 430306"/>
                <a:gd name="connsiteY9" fmla="*/ 286871 h 1356659"/>
                <a:gd name="connsiteX10" fmla="*/ 203200 w 430306"/>
                <a:gd name="connsiteY10" fmla="*/ 173318 h 1356659"/>
                <a:gd name="connsiteX11" fmla="*/ 101600 w 430306"/>
                <a:gd name="connsiteY11" fmla="*/ 59765 h 1356659"/>
                <a:gd name="connsiteX12" fmla="*/ 0 w 430306"/>
                <a:gd name="connsiteY12" fmla="*/ 0 h 135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0306" h="1356659">
                  <a:moveTo>
                    <a:pt x="430306" y="1356659"/>
                  </a:moveTo>
                  <a:cubicBezTo>
                    <a:pt x="417357" y="1341718"/>
                    <a:pt x="404408" y="1326777"/>
                    <a:pt x="394447" y="1302871"/>
                  </a:cubicBezTo>
                  <a:cubicBezTo>
                    <a:pt x="384486" y="1278965"/>
                    <a:pt x="383490" y="1238126"/>
                    <a:pt x="370541" y="1213224"/>
                  </a:cubicBezTo>
                  <a:cubicBezTo>
                    <a:pt x="357592" y="1188322"/>
                    <a:pt x="318745" y="1188322"/>
                    <a:pt x="316753" y="1153459"/>
                  </a:cubicBezTo>
                  <a:cubicBezTo>
                    <a:pt x="314761" y="1118596"/>
                    <a:pt x="358588" y="1004047"/>
                    <a:pt x="358588" y="1004047"/>
                  </a:cubicBezTo>
                  <a:cubicBezTo>
                    <a:pt x="372533" y="954243"/>
                    <a:pt x="398431" y="915396"/>
                    <a:pt x="400423" y="854635"/>
                  </a:cubicBezTo>
                  <a:cubicBezTo>
                    <a:pt x="402415" y="793874"/>
                    <a:pt x="382494" y="701239"/>
                    <a:pt x="370541" y="639482"/>
                  </a:cubicBezTo>
                  <a:cubicBezTo>
                    <a:pt x="358588" y="577725"/>
                    <a:pt x="346635" y="524933"/>
                    <a:pt x="328706" y="484094"/>
                  </a:cubicBezTo>
                  <a:cubicBezTo>
                    <a:pt x="310777" y="443255"/>
                    <a:pt x="277906" y="427317"/>
                    <a:pt x="262965" y="394447"/>
                  </a:cubicBezTo>
                  <a:cubicBezTo>
                    <a:pt x="248024" y="361576"/>
                    <a:pt x="249020" y="323726"/>
                    <a:pt x="239059" y="286871"/>
                  </a:cubicBezTo>
                  <a:cubicBezTo>
                    <a:pt x="229098" y="250016"/>
                    <a:pt x="226110" y="211169"/>
                    <a:pt x="203200" y="173318"/>
                  </a:cubicBezTo>
                  <a:cubicBezTo>
                    <a:pt x="180290" y="135467"/>
                    <a:pt x="135467" y="88651"/>
                    <a:pt x="101600" y="59765"/>
                  </a:cubicBezTo>
                  <a:cubicBezTo>
                    <a:pt x="67733" y="30879"/>
                    <a:pt x="33866" y="15439"/>
                    <a:pt x="0" y="0"/>
                  </a:cubicBezTo>
                </a:path>
              </a:pathLst>
            </a:custGeom>
            <a:noFill/>
            <a:ln w="12700">
              <a:solidFill>
                <a:srgbClr val="92D050"/>
              </a:solidFill>
              <a:prstDash val="sysDot"/>
              <a:headEnd type="diamond"/>
              <a:tailEnd type="diamon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47">
                <a:latin typeface="+mj-lt"/>
              </a:endParaRPr>
            </a:p>
          </p:txBody>
        </p:sp>
        <p:grpSp>
          <p:nvGrpSpPr>
            <p:cNvPr id="123" name="Группа 122">
              <a:extLst>
                <a:ext uri="{FF2B5EF4-FFF2-40B4-BE49-F238E27FC236}">
                  <a16:creationId xmlns:a16="http://schemas.microsoft.com/office/drawing/2014/main" id="{8EB3C93D-7473-AD4E-9C10-F9DD3F55F120}"/>
                </a:ext>
              </a:extLst>
            </p:cNvPr>
            <p:cNvGrpSpPr/>
            <p:nvPr/>
          </p:nvGrpSpPr>
          <p:grpSpPr>
            <a:xfrm>
              <a:off x="6953576" y="8122744"/>
              <a:ext cx="375470" cy="195082"/>
              <a:chOff x="4163163" y="7684323"/>
              <a:chExt cx="525659" cy="273112"/>
            </a:xfrm>
          </p:grpSpPr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B1805979-FF36-F54B-B71B-2DA70AE25497}"/>
                  </a:ext>
                </a:extLst>
              </p:cNvPr>
              <p:cNvSpPr txBox="1"/>
              <p:nvPr/>
            </p:nvSpPr>
            <p:spPr>
              <a:xfrm>
                <a:off x="4174181" y="7684323"/>
                <a:ext cx="514641" cy="27311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236" dirty="0">
                    <a:latin typeface="+mj-lt"/>
                  </a:rPr>
                  <a:t>БКЛ</a:t>
                </a:r>
              </a:p>
            </p:txBody>
          </p:sp>
          <p:pic>
            <p:nvPicPr>
              <p:cNvPr id="125" name="Рисунок 5">
                <a:extLst>
                  <a:ext uri="{FF2B5EF4-FFF2-40B4-BE49-F238E27FC236}">
                    <a16:creationId xmlns:a16="http://schemas.microsoft.com/office/drawing/2014/main" id="{DC20BC00-0029-034F-9DFC-BAFBBE8BBE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63163" y="7735971"/>
                <a:ext cx="86359" cy="60624"/>
              </a:xfrm>
              <a:prstGeom prst="rect">
                <a:avLst/>
              </a:prstGeom>
            </p:spPr>
          </p:pic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016A1D2-6F70-F144-8B45-DF4B6BB96F84}"/>
                </a:ext>
              </a:extLst>
            </p:cNvPr>
            <p:cNvSpPr txBox="1"/>
            <p:nvPr/>
          </p:nvSpPr>
          <p:spPr>
            <a:xfrm>
              <a:off x="7105322" y="7864966"/>
              <a:ext cx="372463" cy="1950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36" dirty="0">
                  <a:latin typeface="+mj-lt"/>
                </a:rPr>
                <a:t>МЦК</a:t>
              </a:r>
            </a:p>
          </p:txBody>
        </p:sp>
        <p:grpSp>
          <p:nvGrpSpPr>
            <p:cNvPr id="127" name="Группа 126">
              <a:extLst>
                <a:ext uri="{FF2B5EF4-FFF2-40B4-BE49-F238E27FC236}">
                  <a16:creationId xmlns:a16="http://schemas.microsoft.com/office/drawing/2014/main" id="{54393C56-CA38-0A4B-A0FD-16BD07ACDD33}"/>
                </a:ext>
              </a:extLst>
            </p:cNvPr>
            <p:cNvGrpSpPr/>
            <p:nvPr/>
          </p:nvGrpSpPr>
          <p:grpSpPr>
            <a:xfrm>
              <a:off x="7434025" y="8059477"/>
              <a:ext cx="382765" cy="195082"/>
              <a:chOff x="4163163" y="7684323"/>
              <a:chExt cx="535872" cy="273112"/>
            </a:xfrm>
          </p:grpSpPr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4B2DB577-B64B-B242-9FB7-F7BBBFF3DBE1}"/>
                  </a:ext>
                </a:extLst>
              </p:cNvPr>
              <p:cNvSpPr txBox="1"/>
              <p:nvPr/>
            </p:nvSpPr>
            <p:spPr>
              <a:xfrm>
                <a:off x="4174181" y="7684323"/>
                <a:ext cx="524854" cy="27311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236" dirty="0">
                    <a:latin typeface="+mj-lt"/>
                  </a:rPr>
                  <a:t>ЛДЛ</a:t>
                </a:r>
              </a:p>
            </p:txBody>
          </p:sp>
          <p:pic>
            <p:nvPicPr>
              <p:cNvPr id="129" name="Рисунок 75">
                <a:extLst>
                  <a:ext uri="{FF2B5EF4-FFF2-40B4-BE49-F238E27FC236}">
                    <a16:creationId xmlns:a16="http://schemas.microsoft.com/office/drawing/2014/main" id="{5C2639C1-85E9-DF4F-83E3-9A373038BD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63163" y="7735971"/>
                <a:ext cx="86359" cy="60624"/>
              </a:xfrm>
              <a:prstGeom prst="rect">
                <a:avLst/>
              </a:prstGeom>
            </p:spPr>
          </p:pic>
        </p:grpSp>
        <p:grpSp>
          <p:nvGrpSpPr>
            <p:cNvPr id="130" name="Группа 129">
              <a:extLst>
                <a:ext uri="{FF2B5EF4-FFF2-40B4-BE49-F238E27FC236}">
                  <a16:creationId xmlns:a16="http://schemas.microsoft.com/office/drawing/2014/main" id="{317B85FA-DA9F-4248-853F-8D0859DDAB42}"/>
                </a:ext>
              </a:extLst>
            </p:cNvPr>
            <p:cNvGrpSpPr/>
            <p:nvPr/>
          </p:nvGrpSpPr>
          <p:grpSpPr>
            <a:xfrm>
              <a:off x="7396280" y="7789757"/>
              <a:ext cx="360883" cy="195082"/>
              <a:chOff x="4163163" y="7684323"/>
              <a:chExt cx="505239" cy="273112"/>
            </a:xfrm>
          </p:grpSpPr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A9799E9D-5F8E-974D-812C-105858A73D0C}"/>
                  </a:ext>
                </a:extLst>
              </p:cNvPr>
              <p:cNvSpPr txBox="1"/>
              <p:nvPr/>
            </p:nvSpPr>
            <p:spPr>
              <a:xfrm>
                <a:off x="4174181" y="7684323"/>
                <a:ext cx="494221" cy="27311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236" dirty="0">
                    <a:latin typeface="+mj-lt"/>
                  </a:rPr>
                  <a:t>ТКЛ</a:t>
                </a:r>
              </a:p>
            </p:txBody>
          </p:sp>
          <p:pic>
            <p:nvPicPr>
              <p:cNvPr id="132" name="Рисунок 78">
                <a:extLst>
                  <a:ext uri="{FF2B5EF4-FFF2-40B4-BE49-F238E27FC236}">
                    <a16:creationId xmlns:a16="http://schemas.microsoft.com/office/drawing/2014/main" id="{4B4BA2C9-96EE-0D4F-ADD4-708DE51C90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163163" y="7735971"/>
                <a:ext cx="86359" cy="60624"/>
              </a:xfrm>
              <a:prstGeom prst="rect">
                <a:avLst/>
              </a:prstGeom>
            </p:spPr>
          </p:pic>
        </p:grpSp>
      </p:grpSp>
      <p:pic>
        <p:nvPicPr>
          <p:cNvPr id="133" name="Рисунок 113">
            <a:extLst>
              <a:ext uri="{FF2B5EF4-FFF2-40B4-BE49-F238E27FC236}">
                <a16:creationId xmlns:a16="http://schemas.microsoft.com/office/drawing/2014/main" id="{E65FAF9D-FD24-3E4F-9A9C-40E67020BDBC}"/>
              </a:ext>
            </a:extLst>
          </p:cNvPr>
          <p:cNvPicPr>
            <a:picLocks noChangeAspect="1"/>
          </p:cNvPicPr>
          <p:nvPr/>
        </p:nvPicPr>
        <p:blipFill>
          <a:blip r:embed="rId82" cstate="print">
            <a:extLst>
              <a:ext uri="{BEBA8EAE-BF5A-486C-A8C5-ECC9F3942E4B}">
                <a14:imgProps xmlns:a14="http://schemas.microsoft.com/office/drawing/2010/main">
                  <a14:imgLayer r:embed="rId83">
                    <a14:imgEffect>
                      <a14:backgroundRemoval t="0" b="100000" l="0" r="100000">
                        <a14:foregroundMark x1="10192" y1="29950" x2="3633" y2="18812"/>
                        <a14:foregroundMark x1="11100" y1="39356" x2="303" y2="40594"/>
                        <a14:foregroundMark x1="11806" y1="39356" x2="807" y2="67822"/>
                        <a14:foregroundMark x1="15742" y1="75495" x2="505" y2="91832"/>
                        <a14:foregroundMark x1="31584" y1="90099" x2="40767" y2="98515"/>
                        <a14:foregroundMark x1="57114" y1="90099" x2="80928" y2="93564"/>
                        <a14:foregroundMark x1="70838" y1="17574" x2="92028" y2="30446"/>
                        <a14:foregroundMark x1="62361" y1="9901" x2="73663" y2="14109"/>
                        <a14:foregroundMark x1="34006" y1="14604" x2="2422" y2="17574"/>
                        <a14:foregroundMark x1="74369" y1="24010" x2="99193" y2="40594"/>
                        <a14:foregroundMark x1="91726" y1="33416" x2="96771" y2="34158"/>
                        <a14:backgroundMark x1="14329" y1="18812" x2="14329" y2="18812"/>
                        <a14:backgroundMark x1="15641" y1="20297" x2="14531" y2="18564"/>
                        <a14:backgroundMark x1="15742" y1="19554" x2="15742" y2="15099"/>
                        <a14:backgroundMark x1="15943" y1="18812" x2="19475" y2="16089"/>
                        <a14:backgroundMark x1="19475" y1="16832" x2="20484" y2="17327"/>
                        <a14:backgroundMark x1="13522" y1="19554" x2="9788" y2="17822"/>
                        <a14:backgroundMark x1="1514" y1="26485" x2="1816" y2="18564"/>
                        <a14:backgroundMark x1="2220" y1="19554" x2="4945" y2="18069"/>
                        <a14:backgroundMark x1="3633" y1="16832" x2="5752" y2="19554"/>
                        <a14:backgroundMark x1="6660" y1="15347" x2="6054" y2="2005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8026" y="5454795"/>
            <a:ext cx="2386031" cy="972711"/>
          </a:xfrm>
          <a:prstGeom prst="rect">
            <a:avLst/>
          </a:prstGeom>
        </p:spPr>
      </p:pic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57C89AEB-8CD2-EC49-84E0-FF6A948EC447}"/>
              </a:ext>
            </a:extLst>
          </p:cNvPr>
          <p:cNvSpPr/>
          <p:nvPr/>
        </p:nvSpPr>
        <p:spPr>
          <a:xfrm>
            <a:off x="6859238" y="4819656"/>
            <a:ext cx="2395371" cy="1608932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47" b="1" dirty="0">
              <a:latin typeface="+mj-lt"/>
            </a:endParaRPr>
          </a:p>
        </p:txBody>
      </p:sp>
      <p:sp>
        <p:nvSpPr>
          <p:cNvPr id="135" name="Скругленный прямоугольник 134">
            <a:extLst>
              <a:ext uri="{FF2B5EF4-FFF2-40B4-BE49-F238E27FC236}">
                <a16:creationId xmlns:a16="http://schemas.microsoft.com/office/drawing/2014/main" id="{EB1991A7-1109-A54E-8896-EFA1FE65B2ED}"/>
              </a:ext>
            </a:extLst>
          </p:cNvPr>
          <p:cNvSpPr/>
          <p:nvPr/>
        </p:nvSpPr>
        <p:spPr>
          <a:xfrm>
            <a:off x="6800660" y="4737175"/>
            <a:ext cx="2024567" cy="327318"/>
          </a:xfrm>
          <a:prstGeom prst="roundRect">
            <a:avLst>
              <a:gd name="adj" fmla="val 1300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23" b="1" dirty="0">
                <a:latin typeface="+mj-lt"/>
              </a:rPr>
              <a:t>Верификация полученной схемы </a:t>
            </a:r>
          </a:p>
          <a:p>
            <a:r>
              <a:rPr lang="ru-RU" sz="923" b="1" dirty="0">
                <a:latin typeface="+mj-lt"/>
              </a:rPr>
              <a:t>данными сотовых операторов</a:t>
            </a:r>
          </a:p>
        </p:txBody>
      </p:sp>
      <p:pic>
        <p:nvPicPr>
          <p:cNvPr id="137" name="Рисунок 114">
            <a:extLst>
              <a:ext uri="{FF2B5EF4-FFF2-40B4-BE49-F238E27FC236}">
                <a16:creationId xmlns:a16="http://schemas.microsoft.com/office/drawing/2014/main" id="{FBB0CECB-69AD-2B46-9CC8-4121429360DE}"/>
              </a:ext>
            </a:extLst>
          </p:cNvPr>
          <p:cNvPicPr>
            <a:picLocks noChangeAspect="1"/>
          </p:cNvPicPr>
          <p:nvPr/>
        </p:nvPicPr>
        <p:blipFill rotWithShape="1">
          <a:blip r:embed="rId84" cstate="print">
            <a:extLst>
              <a:ext uri="{BEBA8EAE-BF5A-486C-A8C5-ECC9F3942E4B}">
                <a14:imgProps xmlns:a14="http://schemas.microsoft.com/office/drawing/2010/main">
                  <a14:imgLayer r:embed="rId85">
                    <a14:imgEffect>
                      <a14:backgroundRemoval t="4000" b="98000" l="0" r="100000">
                        <a14:foregroundMark x1="88048" y1="7111" x2="53858" y2="5444"/>
                        <a14:foregroundMark x1="32375" y1="22889" x2="32375" y2="22889"/>
                        <a14:foregroundMark x1="59304" y1="26000" x2="51135" y2="31444"/>
                        <a14:foregroundMark x1="24206" y1="14556" x2="45840" y2="86667"/>
                        <a14:foregroundMark x1="0" y1="22778" x2="99849" y2="78222"/>
                        <a14:foregroundMark x1="0" y1="76444" x2="99849" y2="21889"/>
                        <a14:foregroundMark x1="0" y1="56111" x2="88805" y2="56778"/>
                        <a14:foregroundMark x1="99849" y1="51444" x2="96067" y2="752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89477" y="5086246"/>
            <a:ext cx="295545" cy="413726"/>
          </a:xfrm>
          <a:prstGeom prst="rect">
            <a:avLst/>
          </a:prstGeom>
        </p:spPr>
      </p:pic>
      <p:sp>
        <p:nvSpPr>
          <p:cNvPr id="138" name="TextBox 137">
            <a:extLst>
              <a:ext uri="{FF2B5EF4-FFF2-40B4-BE49-F238E27FC236}">
                <a16:creationId xmlns:a16="http://schemas.microsoft.com/office/drawing/2014/main" id="{5186E1A3-5087-B54E-B14D-754DCE76B2AF}"/>
              </a:ext>
            </a:extLst>
          </p:cNvPr>
          <p:cNvSpPr txBox="1"/>
          <p:nvPr/>
        </p:nvSpPr>
        <p:spPr>
          <a:xfrm>
            <a:off x="7185022" y="5099808"/>
            <a:ext cx="2077823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23" dirty="0">
                <a:latin typeface="+mj-lt"/>
              </a:rPr>
              <a:t>Использование данных сотовых операторов </a:t>
            </a:r>
            <a:r>
              <a:rPr lang="ru-RU" sz="923">
                <a:latin typeface="+mj-lt"/>
              </a:rPr>
              <a:t>уточняет результаты</a:t>
            </a:r>
            <a:endParaRPr lang="ru-RU" sz="923" dirty="0">
              <a:latin typeface="+mj-lt"/>
            </a:endParaRPr>
          </a:p>
        </p:txBody>
      </p:sp>
      <p:cxnSp>
        <p:nvCxnSpPr>
          <p:cNvPr id="139" name="Прямая со стрелкой 138">
            <a:extLst>
              <a:ext uri="{FF2B5EF4-FFF2-40B4-BE49-F238E27FC236}">
                <a16:creationId xmlns:a16="http://schemas.microsoft.com/office/drawing/2014/main" id="{4A84053C-EDFD-4A42-AADB-04F7EBEB75C9}"/>
              </a:ext>
            </a:extLst>
          </p:cNvPr>
          <p:cNvCxnSpPr>
            <a:cxnSpLocks/>
            <a:stCxn id="98" idx="3"/>
            <a:endCxn id="109" idx="1"/>
          </p:cNvCxnSpPr>
          <p:nvPr/>
        </p:nvCxnSpPr>
        <p:spPr>
          <a:xfrm>
            <a:off x="3065992" y="5615523"/>
            <a:ext cx="740464" cy="3287"/>
          </a:xfrm>
          <a:prstGeom prst="straightConnector1">
            <a:avLst/>
          </a:prstGeom>
          <a:ln w="25400">
            <a:solidFill>
              <a:srgbClr val="CC0000"/>
            </a:solidFill>
            <a:prstDash val="sysDot"/>
            <a:headEnd type="diamond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Прямая со стрелкой 139">
            <a:extLst>
              <a:ext uri="{FF2B5EF4-FFF2-40B4-BE49-F238E27FC236}">
                <a16:creationId xmlns:a16="http://schemas.microsoft.com/office/drawing/2014/main" id="{4A84053C-EDFD-4A42-AADB-04F7EBEB75C9}"/>
              </a:ext>
            </a:extLst>
          </p:cNvPr>
          <p:cNvCxnSpPr>
            <a:cxnSpLocks/>
            <a:stCxn id="108" idx="3"/>
            <a:endCxn id="134" idx="1"/>
          </p:cNvCxnSpPr>
          <p:nvPr/>
        </p:nvCxnSpPr>
        <p:spPr>
          <a:xfrm>
            <a:off x="6201827" y="5618587"/>
            <a:ext cx="657411" cy="5535"/>
          </a:xfrm>
          <a:prstGeom prst="straightConnector1">
            <a:avLst/>
          </a:prstGeom>
          <a:ln w="25400">
            <a:solidFill>
              <a:srgbClr val="CC0000"/>
            </a:solidFill>
            <a:prstDash val="sysDot"/>
            <a:headEnd type="diamond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Заголовок 1">
            <a:extLst>
              <a:ext uri="{FF2B5EF4-FFF2-40B4-BE49-F238E27FC236}">
                <a16:creationId xmlns:a16="http://schemas.microsoft.com/office/drawing/2014/main" id="{BE384167-3B49-364E-96A6-8F6685AB7102}"/>
              </a:ext>
            </a:extLst>
          </p:cNvPr>
          <p:cNvSpPr txBox="1">
            <a:spLocks/>
          </p:cNvSpPr>
          <p:nvPr/>
        </p:nvSpPr>
        <p:spPr>
          <a:xfrm>
            <a:off x="134581" y="130970"/>
            <a:ext cx="7817928" cy="659632"/>
          </a:xfrm>
          <a:prstGeom prst="rect">
            <a:avLst/>
          </a:prstGeom>
        </p:spPr>
        <p:txBody>
          <a:bodyPr vert="horz" lIns="122191" tIns="61096" rIns="122191" bIns="61096" rtlCol="0" anchor="ctr">
            <a:noAutofit/>
          </a:bodyPr>
          <a:lstStyle>
            <a:lvl1pPr algn="l" defTabSz="9455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27" kern="1200">
                <a:solidFill>
                  <a:srgbClr val="BF2D2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/>
              <a:t>Разработка и моделирование </a:t>
            </a:r>
          </a:p>
          <a:p>
            <a:r>
              <a:rPr lang="ru-RU" sz="2000" dirty="0"/>
              <a:t>Целевой схемы маршрутов Московских центральных диаметров</a:t>
            </a:r>
          </a:p>
        </p:txBody>
      </p:sp>
    </p:spTree>
    <p:extLst>
      <p:ext uri="{BB962C8B-B14F-4D97-AF65-F5344CB8AC3E}">
        <p14:creationId xmlns:p14="http://schemas.microsoft.com/office/powerpoint/2010/main" val="42345888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Скругленный прямоугольник 42">
            <a:extLst>
              <a:ext uri="{FF2B5EF4-FFF2-40B4-BE49-F238E27FC236}">
                <a16:creationId xmlns:a16="http://schemas.microsoft.com/office/drawing/2014/main" id="{CE5D386D-CE36-9142-B97C-36225AA78A48}"/>
              </a:ext>
            </a:extLst>
          </p:cNvPr>
          <p:cNvSpPr/>
          <p:nvPr/>
        </p:nvSpPr>
        <p:spPr>
          <a:xfrm>
            <a:off x="437322" y="1762272"/>
            <a:ext cx="9024730" cy="2172495"/>
          </a:xfrm>
          <a:prstGeom prst="roundRect">
            <a:avLst>
              <a:gd name="adj" fmla="val 2953"/>
            </a:avLst>
          </a:prstGeom>
          <a:noFill/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>
              <a:latin typeface="+mj-lt"/>
            </a:endParaRPr>
          </a:p>
        </p:txBody>
      </p:sp>
      <p:sp>
        <p:nvSpPr>
          <p:cNvPr id="64" name="Скругленный прямоугольник 63">
            <a:extLst>
              <a:ext uri="{FF2B5EF4-FFF2-40B4-BE49-F238E27FC236}">
                <a16:creationId xmlns:a16="http://schemas.microsoft.com/office/drawing/2014/main" id="{34474912-A0A4-3B46-81D1-E7F3665F59CC}"/>
              </a:ext>
            </a:extLst>
          </p:cNvPr>
          <p:cNvSpPr/>
          <p:nvPr/>
        </p:nvSpPr>
        <p:spPr>
          <a:xfrm>
            <a:off x="437322" y="806692"/>
            <a:ext cx="9024730" cy="669174"/>
          </a:xfrm>
          <a:prstGeom prst="roundRect">
            <a:avLst>
              <a:gd name="adj" fmla="val 2953"/>
            </a:avLst>
          </a:prstGeom>
          <a:solidFill>
            <a:schemeClr val="bg1"/>
          </a:solidFill>
          <a:ln>
            <a:solidFill>
              <a:srgbClr val="CC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37783" y="874533"/>
            <a:ext cx="88061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+mj-lt"/>
              </a:rPr>
              <a:t>В международной практике используются два основных подхода к оценке перемещения пассажиров: </a:t>
            </a:r>
            <a:r>
              <a:rPr lang="ru-RU" sz="1400" b="1" dirty="0">
                <a:solidFill>
                  <a:srgbClr val="CC0000"/>
                </a:solidFill>
                <a:latin typeface="+mj-lt"/>
              </a:rPr>
              <a:t>проведение опросов </a:t>
            </a:r>
            <a:r>
              <a:rPr lang="ru-RU" sz="1400" dirty="0">
                <a:latin typeface="+mj-lt"/>
              </a:rPr>
              <a:t>и </a:t>
            </a:r>
            <a:r>
              <a:rPr lang="ru-RU" sz="1400" b="1" dirty="0">
                <a:solidFill>
                  <a:srgbClr val="CC0000"/>
                </a:solidFill>
                <a:latin typeface="+mj-lt"/>
              </a:rPr>
              <a:t>автоматический сбор информации</a:t>
            </a:r>
            <a:r>
              <a:rPr lang="ru-RU" sz="1400" dirty="0">
                <a:latin typeface="+mj-lt"/>
              </a:rPr>
              <a:t>.</a:t>
            </a:r>
          </a:p>
        </p:txBody>
      </p:sp>
      <p:sp>
        <p:nvSpPr>
          <p:cNvPr id="66" name="Скругленный прямоугольник 65">
            <a:extLst>
              <a:ext uri="{FF2B5EF4-FFF2-40B4-BE49-F238E27FC236}">
                <a16:creationId xmlns:a16="http://schemas.microsoft.com/office/drawing/2014/main" id="{7CED2530-1083-9041-9297-4DC33C27834E}"/>
              </a:ext>
            </a:extLst>
          </p:cNvPr>
          <p:cNvSpPr/>
          <p:nvPr/>
        </p:nvSpPr>
        <p:spPr>
          <a:xfrm>
            <a:off x="764556" y="1598605"/>
            <a:ext cx="3456269" cy="351731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86" dirty="0">
                <a:latin typeface="+mj-lt"/>
              </a:rPr>
              <a:t>Сбор информации путем проведения опросов</a:t>
            </a:r>
          </a:p>
        </p:txBody>
      </p:sp>
      <p:sp>
        <p:nvSpPr>
          <p:cNvPr id="67" name="Скругленный прямоугольник 66">
            <a:extLst>
              <a:ext uri="{FF2B5EF4-FFF2-40B4-BE49-F238E27FC236}">
                <a16:creationId xmlns:a16="http://schemas.microsoft.com/office/drawing/2014/main" id="{7CED2530-1083-9041-9297-4DC33C27834E}"/>
              </a:ext>
            </a:extLst>
          </p:cNvPr>
          <p:cNvSpPr/>
          <p:nvPr/>
        </p:nvSpPr>
        <p:spPr>
          <a:xfrm>
            <a:off x="5258157" y="1585954"/>
            <a:ext cx="3678711" cy="351731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86" dirty="0">
                <a:latin typeface="+mj-lt"/>
              </a:rPr>
              <a:t>Автоматический сбор информации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42350" y="2060347"/>
            <a:ext cx="343978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>
                <a:latin typeface="+mj-lt"/>
              </a:rPr>
              <a:t>Международный опыт г. Сан-Франциско, США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55339" y="2460691"/>
            <a:ext cx="3960512" cy="488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6" b="1" dirty="0">
                <a:solidFill>
                  <a:srgbClr val="C00000"/>
                </a:solidFill>
                <a:latin typeface="+mj-lt"/>
              </a:rPr>
              <a:t>1. </a:t>
            </a:r>
            <a:r>
              <a:rPr lang="ru-RU" sz="1286" dirty="0">
                <a:latin typeface="+mj-lt"/>
              </a:rPr>
              <a:t>Опросы населения в США проводит Управление экономики и статистики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40392" y="2902830"/>
            <a:ext cx="3960513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6" b="1" dirty="0">
                <a:solidFill>
                  <a:srgbClr val="C00000"/>
                </a:solidFill>
                <a:latin typeface="+mj-lt"/>
              </a:rPr>
              <a:t>2. </a:t>
            </a:r>
            <a:r>
              <a:rPr lang="ru-RU" sz="1286" dirty="0">
                <a:latin typeface="+mj-lt"/>
              </a:rPr>
              <a:t>Опросы обязательны для населения по закону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50331" y="3164074"/>
            <a:ext cx="3960513" cy="488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86" b="1" dirty="0">
                <a:solidFill>
                  <a:srgbClr val="C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3. </a:t>
            </a:r>
            <a:r>
              <a:rPr lang="ru-RU" sz="1286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Информация о перемещении населения отслеживается на уровне кварталов</a:t>
            </a:r>
          </a:p>
        </p:txBody>
      </p:sp>
      <p:pic>
        <p:nvPicPr>
          <p:cNvPr id="6148" name="Picture 4" descr="ÐÐ°ÑÑÐ¸Ð½ÐºÐ¸ Ð¿Ð¾ Ð·Ð°Ð¿ÑÐ¾ÑÑ ÑÐ»Ð°Ð³ ÑÑÐ°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6857" y="2135055"/>
            <a:ext cx="311488" cy="163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EC23EA61-713D-E04E-8A90-45BC828A6A35}"/>
              </a:ext>
            </a:extLst>
          </p:cNvPr>
          <p:cNvCxnSpPr/>
          <p:nvPr/>
        </p:nvCxnSpPr>
        <p:spPr>
          <a:xfrm>
            <a:off x="4790954" y="1903543"/>
            <a:ext cx="0" cy="1967966"/>
          </a:xfrm>
          <a:prstGeom prst="line">
            <a:avLst/>
          </a:prstGeom>
          <a:ln w="9525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ятиугольник 43">
            <a:extLst>
              <a:ext uri="{FF2B5EF4-FFF2-40B4-BE49-F238E27FC236}">
                <a16:creationId xmlns:a16="http://schemas.microsoft.com/office/drawing/2014/main" id="{19B0DA11-037A-F443-A9D7-DD526A437B60}"/>
              </a:ext>
            </a:extLst>
          </p:cNvPr>
          <p:cNvSpPr/>
          <p:nvPr/>
        </p:nvSpPr>
        <p:spPr>
          <a:xfrm>
            <a:off x="5010064" y="1989548"/>
            <a:ext cx="2035123" cy="583011"/>
          </a:xfrm>
          <a:prstGeom prst="homePlate">
            <a:avLst>
              <a:gd name="adj" fmla="val 25550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857" b="1" dirty="0">
                <a:solidFill>
                  <a:schemeClr val="tx1"/>
                </a:solidFill>
                <a:latin typeface="+mj-lt"/>
              </a:rPr>
              <a:t>Данные о валидациях билетов </a:t>
            </a:r>
            <a:r>
              <a:rPr lang="ru-RU" sz="857" dirty="0">
                <a:solidFill>
                  <a:schemeClr val="tx1"/>
                </a:solidFill>
                <a:latin typeface="+mj-lt"/>
              </a:rPr>
              <a:t>НГПТ, метрополитена, ОАО «ЦППК» </a:t>
            </a:r>
          </a:p>
          <a:p>
            <a:r>
              <a:rPr lang="ru-RU" sz="857" dirty="0">
                <a:solidFill>
                  <a:schemeClr val="tx1"/>
                </a:solidFill>
                <a:latin typeface="+mj-lt"/>
              </a:rPr>
              <a:t>и АО «МТ ППК»</a:t>
            </a:r>
          </a:p>
        </p:txBody>
      </p:sp>
      <p:sp>
        <p:nvSpPr>
          <p:cNvPr id="49" name="Пятиугольник 48">
            <a:extLst>
              <a:ext uri="{FF2B5EF4-FFF2-40B4-BE49-F238E27FC236}">
                <a16:creationId xmlns:a16="http://schemas.microsoft.com/office/drawing/2014/main" id="{7F469896-37D6-CD4E-A1D0-009385E638C2}"/>
              </a:ext>
            </a:extLst>
          </p:cNvPr>
          <p:cNvSpPr/>
          <p:nvPr/>
        </p:nvSpPr>
        <p:spPr>
          <a:xfrm>
            <a:off x="5010244" y="2619256"/>
            <a:ext cx="2034895" cy="576026"/>
          </a:xfrm>
          <a:prstGeom prst="homePlate">
            <a:avLst>
              <a:gd name="adj" fmla="val 2592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857" b="1" dirty="0">
                <a:solidFill>
                  <a:schemeClr val="tx1"/>
                </a:solidFill>
                <a:latin typeface="+mj-lt"/>
              </a:rPr>
              <a:t>Скорость движения </a:t>
            </a:r>
            <a:r>
              <a:rPr lang="ru-RU" sz="857" dirty="0">
                <a:solidFill>
                  <a:schemeClr val="tx1"/>
                </a:solidFill>
                <a:latin typeface="+mj-lt"/>
              </a:rPr>
              <a:t>различных видов транспорта и</a:t>
            </a:r>
            <a:r>
              <a:rPr lang="ru-RU" sz="857" b="1" dirty="0">
                <a:solidFill>
                  <a:schemeClr val="tx1"/>
                </a:solidFill>
                <a:latin typeface="+mj-lt"/>
              </a:rPr>
              <a:t> координаты </a:t>
            </a:r>
            <a:r>
              <a:rPr lang="ru-RU" sz="857" dirty="0">
                <a:solidFill>
                  <a:schemeClr val="tx1"/>
                </a:solidFill>
                <a:latin typeface="+mj-lt"/>
              </a:rPr>
              <a:t>транспортных средств</a:t>
            </a:r>
          </a:p>
        </p:txBody>
      </p:sp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7FD6EDF1-46CC-2A40-8FED-54CCB8C14F3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9F6F7"/>
              </a:clrFrom>
              <a:clrTo>
                <a:srgbClr val="F9F6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6963" y="1997222"/>
            <a:ext cx="1710580" cy="1879032"/>
          </a:xfrm>
          <a:prstGeom prst="rect">
            <a:avLst/>
          </a:prstGeom>
        </p:spPr>
      </p:pic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B3AE236E-0766-9E4A-9E02-A28062996133}"/>
              </a:ext>
            </a:extLst>
          </p:cNvPr>
          <p:cNvGrpSpPr/>
          <p:nvPr/>
        </p:nvGrpSpPr>
        <p:grpSpPr>
          <a:xfrm>
            <a:off x="8447593" y="2014543"/>
            <a:ext cx="614792" cy="400110"/>
            <a:chOff x="6085478" y="1560380"/>
            <a:chExt cx="1115869" cy="726212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34F45A0-FC88-1B45-B037-A0F3DC3E3EF3}"/>
                </a:ext>
              </a:extLst>
            </p:cNvPr>
            <p:cNvSpPr txBox="1"/>
            <p:nvPr/>
          </p:nvSpPr>
          <p:spPr>
            <a:xfrm>
              <a:off x="6246446" y="1560380"/>
              <a:ext cx="954901" cy="7262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+mj-lt"/>
                </a:rPr>
                <a:t>вход</a:t>
              </a:r>
            </a:p>
            <a:p>
              <a:r>
                <a:rPr lang="ru-RU" sz="1000" dirty="0">
                  <a:latin typeface="+mj-lt"/>
                </a:rPr>
                <a:t>выход</a:t>
              </a:r>
            </a:p>
          </p:txBody>
        </p:sp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4CCEADDF-85AB-D84C-BBB5-D4ED691EB2EB}"/>
                </a:ext>
              </a:extLst>
            </p:cNvPr>
            <p:cNvSpPr/>
            <p:nvPr/>
          </p:nvSpPr>
          <p:spPr>
            <a:xfrm>
              <a:off x="6085478" y="1674554"/>
              <a:ext cx="232328" cy="232330"/>
            </a:xfrm>
            <a:prstGeom prst="ellipse">
              <a:avLst/>
            </a:prstGeom>
            <a:solidFill>
              <a:srgbClr val="63DA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71">
                <a:latin typeface="+mj-lt"/>
              </a:endParaRPr>
            </a:p>
          </p:txBody>
        </p:sp>
        <p:sp>
          <p:nvSpPr>
            <p:cNvPr id="56" name="Овал 55">
              <a:extLst>
                <a:ext uri="{FF2B5EF4-FFF2-40B4-BE49-F238E27FC236}">
                  <a16:creationId xmlns:a16="http://schemas.microsoft.com/office/drawing/2014/main" id="{0BC1B15C-ED24-8440-A21C-6C42F99E1841}"/>
                </a:ext>
              </a:extLst>
            </p:cNvPr>
            <p:cNvSpPr/>
            <p:nvPr/>
          </p:nvSpPr>
          <p:spPr>
            <a:xfrm>
              <a:off x="6092704" y="1968362"/>
              <a:ext cx="225102" cy="225104"/>
            </a:xfrm>
            <a:prstGeom prst="ellipse">
              <a:avLst/>
            </a:prstGeom>
            <a:solidFill>
              <a:srgbClr val="00A0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71">
                <a:latin typeface="+mj-lt"/>
              </a:endParaRPr>
            </a:p>
          </p:txBody>
        </p:sp>
      </p:grpSp>
      <p:sp>
        <p:nvSpPr>
          <p:cNvPr id="83" name="Скругленный прямоугольник 82">
            <a:extLst>
              <a:ext uri="{FF2B5EF4-FFF2-40B4-BE49-F238E27FC236}">
                <a16:creationId xmlns:a16="http://schemas.microsoft.com/office/drawing/2014/main" id="{CE5D386D-CE36-9142-B97C-36225AA78A48}"/>
              </a:ext>
            </a:extLst>
          </p:cNvPr>
          <p:cNvSpPr/>
          <p:nvPr/>
        </p:nvSpPr>
        <p:spPr>
          <a:xfrm>
            <a:off x="437322" y="4130260"/>
            <a:ext cx="9024730" cy="2297519"/>
          </a:xfrm>
          <a:prstGeom prst="roundRect">
            <a:avLst>
              <a:gd name="adj" fmla="val 2953"/>
            </a:avLst>
          </a:prstGeom>
          <a:noFill/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>
              <a:latin typeface="+mj-lt"/>
            </a:endParaRPr>
          </a:p>
        </p:txBody>
      </p:sp>
      <p:sp>
        <p:nvSpPr>
          <p:cNvPr id="84" name="Скругленный прямоугольник 83">
            <a:extLst>
              <a:ext uri="{FF2B5EF4-FFF2-40B4-BE49-F238E27FC236}">
                <a16:creationId xmlns:a16="http://schemas.microsoft.com/office/drawing/2014/main" id="{7CED2530-1083-9041-9297-4DC33C27834E}"/>
              </a:ext>
            </a:extLst>
          </p:cNvPr>
          <p:cNvSpPr/>
          <p:nvPr/>
        </p:nvSpPr>
        <p:spPr>
          <a:xfrm>
            <a:off x="2005547" y="3998370"/>
            <a:ext cx="6009033" cy="351731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86" dirty="0">
                <a:latin typeface="+mj-lt"/>
              </a:rPr>
              <a:t>Построение матрицы корреспонденций при моделировании целевой схемы МЦД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173207" y="4389573"/>
            <a:ext cx="3554746" cy="19522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>
              <a:latin typeface="+mj-lt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2253155" y="4758114"/>
            <a:ext cx="1939732" cy="1543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6" b="1" dirty="0">
                <a:solidFill>
                  <a:srgbClr val="C00000"/>
                </a:solidFill>
                <a:latin typeface="+mj-lt"/>
              </a:rPr>
              <a:t>1. </a:t>
            </a:r>
            <a:r>
              <a:rPr lang="ru-RU" sz="786" dirty="0">
                <a:latin typeface="+mj-lt"/>
              </a:rPr>
              <a:t>В модели задано более 4000 узлов – это пересадочные пункты Москвы.</a:t>
            </a:r>
          </a:p>
          <a:p>
            <a:r>
              <a:rPr lang="ru-RU" sz="786" b="1" dirty="0">
                <a:solidFill>
                  <a:srgbClr val="C00000"/>
                </a:solidFill>
                <a:latin typeface="+mj-lt"/>
              </a:rPr>
              <a:t>2. </a:t>
            </a:r>
            <a:r>
              <a:rPr lang="ru-RU" sz="786" dirty="0">
                <a:latin typeface="+mj-lt"/>
              </a:rPr>
              <a:t>С учетом заданной скорости движения различных видов транспорта и пешеходов модель рассчитывает время в пути.</a:t>
            </a:r>
          </a:p>
          <a:p>
            <a:r>
              <a:rPr lang="ru-RU" sz="786" b="1" dirty="0">
                <a:solidFill>
                  <a:srgbClr val="C00000"/>
                </a:solidFill>
                <a:latin typeface="+mj-lt"/>
              </a:rPr>
              <a:t>3. </a:t>
            </a:r>
            <a:r>
              <a:rPr lang="ru-RU" sz="786" dirty="0">
                <a:latin typeface="+mj-lt"/>
              </a:rPr>
              <a:t>Все поезда являются диаметральными. За пересадки назначается дополнительный временной штраф.</a:t>
            </a:r>
          </a:p>
          <a:p>
            <a:r>
              <a:rPr lang="ru-RU" sz="786" b="1" dirty="0">
                <a:solidFill>
                  <a:srgbClr val="C00000"/>
                </a:solidFill>
                <a:latin typeface="+mj-lt"/>
              </a:rPr>
              <a:t>4. </a:t>
            </a:r>
            <a:r>
              <a:rPr lang="ru-RU" sz="786" dirty="0">
                <a:latin typeface="+mj-lt"/>
              </a:rPr>
              <a:t>Матрица 4000х4000 узлов формируется </a:t>
            </a:r>
            <a:r>
              <a:rPr lang="ru-RU" sz="786" b="1" dirty="0">
                <a:solidFill>
                  <a:srgbClr val="CC0000"/>
                </a:solidFill>
                <a:latin typeface="+mj-lt"/>
              </a:rPr>
              <a:t>по кратчайшим путям</a:t>
            </a:r>
            <a:r>
              <a:rPr lang="ru-RU" sz="786" dirty="0">
                <a:latin typeface="+mj-lt"/>
              </a:rPr>
              <a:t>, полученным в модели.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2354098" y="4471448"/>
            <a:ext cx="16882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>
                <a:solidFill>
                  <a:srgbClr val="CC0000"/>
                </a:solidFill>
                <a:latin typeface="+mj-lt"/>
              </a:rPr>
              <a:t>Принципы работы модели</a:t>
            </a:r>
          </a:p>
        </p:txBody>
      </p:sp>
      <p:pic>
        <p:nvPicPr>
          <p:cNvPr id="87" name="Рисунок 8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5848" y="4396101"/>
            <a:ext cx="1902105" cy="1957609"/>
          </a:xfrm>
          <a:prstGeom prst="rect">
            <a:avLst/>
          </a:prstGeom>
        </p:spPr>
      </p:pic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82A09BEA-9DE6-724E-B75F-227E842D5BF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515" y="5515946"/>
            <a:ext cx="1576205" cy="945723"/>
          </a:xfrm>
          <a:prstGeom prst="rect">
            <a:avLst/>
          </a:prstGeom>
        </p:spPr>
      </p:pic>
      <p:pic>
        <p:nvPicPr>
          <p:cNvPr id="89" name="Picture 2" descr="Image result for transCAD">
            <a:extLst>
              <a:ext uri="{FF2B5EF4-FFF2-40B4-BE49-F238E27FC236}">
                <a16:creationId xmlns:a16="http://schemas.microsoft.com/office/drawing/2014/main" id="{BD4A4340-E27A-8A4A-A0CA-C66BE3CDAB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6817" y="5822967"/>
            <a:ext cx="824512" cy="255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id="{6E414CB8-8FEA-2144-B2C1-29014873F2BF}"/>
              </a:ext>
            </a:extLst>
          </p:cNvPr>
          <p:cNvSpPr txBox="1"/>
          <p:nvPr/>
        </p:nvSpPr>
        <p:spPr>
          <a:xfrm>
            <a:off x="764556" y="4536742"/>
            <a:ext cx="1394601" cy="9717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43" b="1" dirty="0">
                <a:latin typeface="+mj-lt"/>
              </a:rPr>
              <a:t>Моделирование осуществляется в программном комплексе </a:t>
            </a:r>
            <a:r>
              <a:rPr lang="en-US" sz="1143" b="1" dirty="0" err="1">
                <a:solidFill>
                  <a:srgbClr val="CC0000"/>
                </a:solidFill>
                <a:latin typeface="+mj-lt"/>
              </a:rPr>
              <a:t>TransCAD</a:t>
            </a:r>
            <a:endParaRPr lang="ru-RU" sz="1143" b="1" dirty="0">
              <a:solidFill>
                <a:srgbClr val="CC0000"/>
              </a:solidFill>
              <a:latin typeface="+mj-lt"/>
            </a:endParaRPr>
          </a:p>
        </p:txBody>
      </p:sp>
      <p:sp>
        <p:nvSpPr>
          <p:cNvPr id="92" name="Пятиугольник 91">
            <a:extLst>
              <a:ext uri="{FF2B5EF4-FFF2-40B4-BE49-F238E27FC236}">
                <a16:creationId xmlns:a16="http://schemas.microsoft.com/office/drawing/2014/main" id="{19B0DA11-037A-F443-A9D7-DD526A437B60}"/>
              </a:ext>
            </a:extLst>
          </p:cNvPr>
          <p:cNvSpPr/>
          <p:nvPr/>
        </p:nvSpPr>
        <p:spPr>
          <a:xfrm>
            <a:off x="5010064" y="3251179"/>
            <a:ext cx="2035123" cy="583011"/>
          </a:xfrm>
          <a:prstGeom prst="homePlate">
            <a:avLst>
              <a:gd name="adj" fmla="val 25550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857" b="1" dirty="0">
                <a:solidFill>
                  <a:schemeClr val="tx1"/>
                </a:solidFill>
                <a:latin typeface="+mj-lt"/>
              </a:rPr>
              <a:t>Данные мобильных операторов </a:t>
            </a:r>
            <a:r>
              <a:rPr lang="ru-RU" sz="857" dirty="0">
                <a:solidFill>
                  <a:schemeClr val="tx1"/>
                </a:solidFill>
                <a:latin typeface="+mj-lt"/>
              </a:rPr>
              <a:t>о передвижении абонентов сети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7FA24531-3C7D-7B4E-B7BA-25DF983E3ED5}"/>
              </a:ext>
            </a:extLst>
          </p:cNvPr>
          <p:cNvSpPr txBox="1"/>
          <p:nvPr/>
        </p:nvSpPr>
        <p:spPr>
          <a:xfrm>
            <a:off x="5756052" y="4888869"/>
            <a:ext cx="128913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rgbClr val="C00000"/>
                </a:solidFill>
                <a:latin typeface="+mj-lt"/>
              </a:rPr>
              <a:t>Транспортный граф: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0CFE28B0-61D8-8A4C-8F57-FD618150514E}"/>
              </a:ext>
            </a:extLst>
          </p:cNvPr>
          <p:cNvSpPr txBox="1"/>
          <p:nvPr/>
        </p:nvSpPr>
        <p:spPr>
          <a:xfrm>
            <a:off x="7246705" y="4964379"/>
            <a:ext cx="1968136" cy="61991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857" b="1" dirty="0">
                <a:latin typeface="+mj-lt"/>
              </a:rPr>
              <a:t>Ребра</a:t>
            </a:r>
            <a:r>
              <a:rPr lang="ru-RU" sz="857" dirty="0">
                <a:latin typeface="+mj-lt"/>
              </a:rPr>
              <a:t> – пути всех видов общественного транспорта, пешие пути на пересадках и на входах на станции внеуличного транспорта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ECADEEA0-CB42-464D-9383-E25B1A7C2CAA}"/>
              </a:ext>
            </a:extLst>
          </p:cNvPr>
          <p:cNvSpPr txBox="1"/>
          <p:nvPr/>
        </p:nvSpPr>
        <p:spPr>
          <a:xfrm>
            <a:off x="7357753" y="5595449"/>
            <a:ext cx="1805812" cy="75180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857" b="1" dirty="0">
                <a:latin typeface="+mj-lt"/>
              </a:rPr>
              <a:t>Узлы</a:t>
            </a:r>
            <a:r>
              <a:rPr lang="ru-RU" sz="857" dirty="0">
                <a:latin typeface="+mj-lt"/>
              </a:rPr>
              <a:t> – </a:t>
            </a:r>
            <a:r>
              <a:rPr lang="ru-RU" sz="857" i="1" dirty="0">
                <a:latin typeface="+mj-lt"/>
              </a:rPr>
              <a:t>остановочные пункты </a:t>
            </a:r>
            <a:r>
              <a:rPr lang="ru-RU" sz="857" dirty="0">
                <a:latin typeface="+mj-lt"/>
              </a:rPr>
              <a:t>(посадочные площадки, сгруппированные вокруг ТПУ) и </a:t>
            </a:r>
            <a:r>
              <a:rPr lang="ru-RU" sz="857" i="1" dirty="0">
                <a:latin typeface="+mj-lt"/>
              </a:rPr>
              <a:t>центроиды</a:t>
            </a:r>
            <a:r>
              <a:rPr lang="ru-RU" sz="857" dirty="0">
                <a:latin typeface="+mj-lt"/>
              </a:rPr>
              <a:t> (условные точки появления и поглощения потока)</a:t>
            </a:r>
          </a:p>
        </p:txBody>
      </p:sp>
      <p:sp>
        <p:nvSpPr>
          <p:cNvPr id="103" name="Скругленный прямоугольник 102">
            <a:extLst>
              <a:ext uri="{FF2B5EF4-FFF2-40B4-BE49-F238E27FC236}">
                <a16:creationId xmlns:a16="http://schemas.microsoft.com/office/drawing/2014/main" id="{767AFA08-7E29-0646-B52A-39F6DE3F045A}"/>
              </a:ext>
            </a:extLst>
          </p:cNvPr>
          <p:cNvSpPr/>
          <p:nvPr/>
        </p:nvSpPr>
        <p:spPr>
          <a:xfrm>
            <a:off x="7269439" y="4982478"/>
            <a:ext cx="1818069" cy="549167"/>
          </a:xfrm>
          <a:prstGeom prst="roundRect">
            <a:avLst>
              <a:gd name="adj" fmla="val 6722"/>
            </a:avLst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4" name="Скругленный прямоугольник 103">
            <a:extLst>
              <a:ext uri="{FF2B5EF4-FFF2-40B4-BE49-F238E27FC236}">
                <a16:creationId xmlns:a16="http://schemas.microsoft.com/office/drawing/2014/main" id="{F226A132-5F08-6049-9FB3-063FF6BE6C94}"/>
              </a:ext>
            </a:extLst>
          </p:cNvPr>
          <p:cNvSpPr/>
          <p:nvPr/>
        </p:nvSpPr>
        <p:spPr>
          <a:xfrm>
            <a:off x="7377526" y="5620680"/>
            <a:ext cx="1709982" cy="678324"/>
          </a:xfrm>
          <a:prstGeom prst="roundRect">
            <a:avLst>
              <a:gd name="adj" fmla="val 6722"/>
            </a:avLst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105" name="Соединительная линия уступом 104">
            <a:extLst>
              <a:ext uri="{FF2B5EF4-FFF2-40B4-BE49-F238E27FC236}">
                <a16:creationId xmlns:a16="http://schemas.microsoft.com/office/drawing/2014/main" id="{86450B03-3DB2-FB42-AD71-C0D582CB99A5}"/>
              </a:ext>
            </a:extLst>
          </p:cNvPr>
          <p:cNvCxnSpPr>
            <a:cxnSpLocks/>
          </p:cNvCxnSpPr>
          <p:nvPr/>
        </p:nvCxnSpPr>
        <p:spPr>
          <a:xfrm rot="10800000" flipV="1">
            <a:off x="6780247" y="5255965"/>
            <a:ext cx="478817" cy="373341"/>
          </a:xfrm>
          <a:prstGeom prst="bentConnector3">
            <a:avLst>
              <a:gd name="adj1" fmla="val 29752"/>
            </a:avLst>
          </a:prstGeom>
          <a:ln>
            <a:solidFill>
              <a:schemeClr val="tx1"/>
            </a:solidFill>
            <a:headEnd type="oval" w="sm" len="sm"/>
            <a:tail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Соединительная линия уступом 105">
            <a:extLst>
              <a:ext uri="{FF2B5EF4-FFF2-40B4-BE49-F238E27FC236}">
                <a16:creationId xmlns:a16="http://schemas.microsoft.com/office/drawing/2014/main" id="{B33DBE89-DBAE-BF4A-9E25-B7F1974656D6}"/>
              </a:ext>
            </a:extLst>
          </p:cNvPr>
          <p:cNvCxnSpPr>
            <a:cxnSpLocks/>
            <a:endCxn id="136" idx="6"/>
          </p:cNvCxnSpPr>
          <p:nvPr/>
        </p:nvCxnSpPr>
        <p:spPr>
          <a:xfrm rot="10800000" flipV="1">
            <a:off x="6647000" y="5920226"/>
            <a:ext cx="724928" cy="171574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headEnd type="oval" w="sm" len="sm"/>
            <a:tail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E73BB9DB-728C-B54B-9679-A9868EF4333B}"/>
              </a:ext>
            </a:extLst>
          </p:cNvPr>
          <p:cNvGrpSpPr/>
          <p:nvPr/>
        </p:nvGrpSpPr>
        <p:grpSpPr>
          <a:xfrm>
            <a:off x="5816875" y="5205870"/>
            <a:ext cx="1146432" cy="1173823"/>
            <a:chOff x="3745495" y="4703448"/>
            <a:chExt cx="1843437" cy="1887482"/>
          </a:xfrm>
        </p:grpSpPr>
        <p:grpSp>
          <p:nvGrpSpPr>
            <p:cNvPr id="108" name="Группа 107">
              <a:extLst>
                <a:ext uri="{FF2B5EF4-FFF2-40B4-BE49-F238E27FC236}">
                  <a16:creationId xmlns:a16="http://schemas.microsoft.com/office/drawing/2014/main" id="{631B9D33-6E20-D64B-8ECF-3C083776D8FF}"/>
                </a:ext>
              </a:extLst>
            </p:cNvPr>
            <p:cNvGrpSpPr/>
            <p:nvPr/>
          </p:nvGrpSpPr>
          <p:grpSpPr>
            <a:xfrm>
              <a:off x="3745495" y="5064747"/>
              <a:ext cx="1843437" cy="1526183"/>
              <a:chOff x="3745495" y="5064747"/>
              <a:chExt cx="1843437" cy="1526183"/>
            </a:xfrm>
          </p:grpSpPr>
          <p:cxnSp>
            <p:nvCxnSpPr>
              <p:cNvPr id="112" name="Прямая соединительная линия 111">
                <a:extLst>
                  <a:ext uri="{FF2B5EF4-FFF2-40B4-BE49-F238E27FC236}">
                    <a16:creationId xmlns:a16="http://schemas.microsoft.com/office/drawing/2014/main" id="{4E740D74-36D7-0B46-8DA0-F6EDF267B426}"/>
                  </a:ext>
                </a:extLst>
              </p:cNvPr>
              <p:cNvCxnSpPr/>
              <p:nvPr/>
            </p:nvCxnSpPr>
            <p:spPr>
              <a:xfrm>
                <a:off x="4359486" y="5164852"/>
                <a:ext cx="628754" cy="0"/>
              </a:xfrm>
              <a:prstGeom prst="line">
                <a:avLst/>
              </a:prstGeom>
              <a:ln w="6350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Прямая соединительная линия 117">
                <a:extLst>
                  <a:ext uri="{FF2B5EF4-FFF2-40B4-BE49-F238E27FC236}">
                    <a16:creationId xmlns:a16="http://schemas.microsoft.com/office/drawing/2014/main" id="{115331D8-0043-B743-844E-3F249822BDC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813812" y="5151284"/>
                <a:ext cx="552459" cy="502326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Прямая соединительная линия 121">
                <a:extLst>
                  <a:ext uri="{FF2B5EF4-FFF2-40B4-BE49-F238E27FC236}">
                    <a16:creationId xmlns:a16="http://schemas.microsoft.com/office/drawing/2014/main" id="{7F38CD08-70C0-1047-8627-E7E3D755E539}"/>
                  </a:ext>
                </a:extLst>
              </p:cNvPr>
              <p:cNvCxnSpPr/>
              <p:nvPr/>
            </p:nvCxnSpPr>
            <p:spPr>
              <a:xfrm>
                <a:off x="4365363" y="6129530"/>
                <a:ext cx="628754" cy="0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Прямая соединительная линия 122">
                <a:extLst>
                  <a:ext uri="{FF2B5EF4-FFF2-40B4-BE49-F238E27FC236}">
                    <a16:creationId xmlns:a16="http://schemas.microsoft.com/office/drawing/2014/main" id="{C5186283-226F-3849-B31B-B6F3E7B594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07027" y="5654563"/>
                <a:ext cx="1754705" cy="0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Прямая соединительная линия 123">
                <a:extLst>
                  <a:ext uri="{FF2B5EF4-FFF2-40B4-BE49-F238E27FC236}">
                    <a16:creationId xmlns:a16="http://schemas.microsoft.com/office/drawing/2014/main" id="{B73CA968-3D4B-6C41-BA62-C1F0BA78936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002852" y="5640519"/>
                <a:ext cx="552459" cy="502326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Прямая соединительная линия 124">
                <a:extLst>
                  <a:ext uri="{FF2B5EF4-FFF2-40B4-BE49-F238E27FC236}">
                    <a16:creationId xmlns:a16="http://schemas.microsoft.com/office/drawing/2014/main" id="{F369DA78-BD31-8E41-A30A-2851E638573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00474" y="5156197"/>
                <a:ext cx="552459" cy="502326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Прямая соединительная линия 125">
                <a:extLst>
                  <a:ext uri="{FF2B5EF4-FFF2-40B4-BE49-F238E27FC236}">
                    <a16:creationId xmlns:a16="http://schemas.microsoft.com/office/drawing/2014/main" id="{93EA1375-A36E-D04F-AB83-4F43C749D5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94941" y="5643329"/>
                <a:ext cx="552459" cy="502326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Прямая соединительная линия 126">
                <a:extLst>
                  <a:ext uri="{FF2B5EF4-FFF2-40B4-BE49-F238E27FC236}">
                    <a16:creationId xmlns:a16="http://schemas.microsoft.com/office/drawing/2014/main" id="{77149241-53EC-404F-8CA6-3D485DE400F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65363" y="5161321"/>
                <a:ext cx="0" cy="991118"/>
              </a:xfrm>
              <a:prstGeom prst="line">
                <a:avLst/>
              </a:prstGeom>
              <a:ln w="6350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Прямая соединительная линия 127">
                <a:extLst>
                  <a:ext uri="{FF2B5EF4-FFF2-40B4-BE49-F238E27FC236}">
                    <a16:creationId xmlns:a16="http://schemas.microsoft.com/office/drawing/2014/main" id="{06DCFC35-C793-E14F-A971-9CCB4E2735CD}"/>
                  </a:ext>
                </a:extLst>
              </p:cNvPr>
              <p:cNvCxnSpPr>
                <a:cxnSpLocks/>
                <a:endCxn id="136" idx="4"/>
              </p:cNvCxnSpPr>
              <p:nvPr/>
            </p:nvCxnSpPr>
            <p:spPr>
              <a:xfrm>
                <a:off x="5004263" y="5151617"/>
                <a:ext cx="4051" cy="1048382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2" name="Овал 131">
                <a:extLst>
                  <a:ext uri="{FF2B5EF4-FFF2-40B4-BE49-F238E27FC236}">
                    <a16:creationId xmlns:a16="http://schemas.microsoft.com/office/drawing/2014/main" id="{F292B810-B621-654D-9561-7893D88736B4}"/>
                  </a:ext>
                </a:extLst>
              </p:cNvPr>
              <p:cNvSpPr/>
              <p:nvPr/>
            </p:nvSpPr>
            <p:spPr>
              <a:xfrm>
                <a:off x="3745495" y="5584792"/>
                <a:ext cx="144000" cy="144000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86">
                  <a:latin typeface="+mj-lt"/>
                </a:endParaRPr>
              </a:p>
            </p:txBody>
          </p:sp>
          <p:sp>
            <p:nvSpPr>
              <p:cNvPr id="133" name="Овал 132">
                <a:extLst>
                  <a:ext uri="{FF2B5EF4-FFF2-40B4-BE49-F238E27FC236}">
                    <a16:creationId xmlns:a16="http://schemas.microsoft.com/office/drawing/2014/main" id="{07D14C46-E1D2-A545-B7C6-2C218E760CE1}"/>
                  </a:ext>
                </a:extLst>
              </p:cNvPr>
              <p:cNvSpPr/>
              <p:nvPr/>
            </p:nvSpPr>
            <p:spPr>
              <a:xfrm>
                <a:off x="4903177" y="5064747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rgbClr val="C00000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86">
                  <a:latin typeface="+mj-lt"/>
                </a:endParaRPr>
              </a:p>
            </p:txBody>
          </p:sp>
          <p:sp>
            <p:nvSpPr>
              <p:cNvPr id="134" name="Овал 133">
                <a:extLst>
                  <a:ext uri="{FF2B5EF4-FFF2-40B4-BE49-F238E27FC236}">
                    <a16:creationId xmlns:a16="http://schemas.microsoft.com/office/drawing/2014/main" id="{83022EF5-44CF-634C-B74A-8FA50208F7FB}"/>
                  </a:ext>
                </a:extLst>
              </p:cNvPr>
              <p:cNvSpPr/>
              <p:nvPr/>
            </p:nvSpPr>
            <p:spPr>
              <a:xfrm>
                <a:off x="4300697" y="5097072"/>
                <a:ext cx="144000" cy="144000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86">
                  <a:latin typeface="+mj-lt"/>
                </a:endParaRPr>
              </a:p>
            </p:txBody>
          </p:sp>
          <p:sp>
            <p:nvSpPr>
              <p:cNvPr id="135" name="Овал 134">
                <a:extLst>
                  <a:ext uri="{FF2B5EF4-FFF2-40B4-BE49-F238E27FC236}">
                    <a16:creationId xmlns:a16="http://schemas.microsoft.com/office/drawing/2014/main" id="{C34412D7-0D8E-5D42-8489-3E7C1B8C945E}"/>
                  </a:ext>
                </a:extLst>
              </p:cNvPr>
              <p:cNvSpPr/>
              <p:nvPr/>
            </p:nvSpPr>
            <p:spPr>
              <a:xfrm>
                <a:off x="5444932" y="5581601"/>
                <a:ext cx="144000" cy="144000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86">
                  <a:latin typeface="+mj-lt"/>
                </a:endParaRPr>
              </a:p>
            </p:txBody>
          </p:sp>
          <p:sp>
            <p:nvSpPr>
              <p:cNvPr id="136" name="Овал 135">
                <a:extLst>
                  <a:ext uri="{FF2B5EF4-FFF2-40B4-BE49-F238E27FC236}">
                    <a16:creationId xmlns:a16="http://schemas.microsoft.com/office/drawing/2014/main" id="{3B1C2C72-F4DF-A843-87DA-A459F6944280}"/>
                  </a:ext>
                </a:extLst>
              </p:cNvPr>
              <p:cNvSpPr/>
              <p:nvPr/>
            </p:nvSpPr>
            <p:spPr>
              <a:xfrm>
                <a:off x="4936314" y="6055999"/>
                <a:ext cx="144000" cy="144000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86">
                  <a:latin typeface="+mj-lt"/>
                </a:endParaRPr>
              </a:p>
            </p:txBody>
          </p:sp>
          <p:sp>
            <p:nvSpPr>
              <p:cNvPr id="137" name="Овал 136">
                <a:extLst>
                  <a:ext uri="{FF2B5EF4-FFF2-40B4-BE49-F238E27FC236}">
                    <a16:creationId xmlns:a16="http://schemas.microsoft.com/office/drawing/2014/main" id="{FC5367B0-8F79-7F40-BE85-2484A7461DAD}"/>
                  </a:ext>
                </a:extLst>
              </p:cNvPr>
              <p:cNvSpPr/>
              <p:nvPr/>
            </p:nvSpPr>
            <p:spPr>
              <a:xfrm>
                <a:off x="4261998" y="6027135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50800">
                <a:solidFill>
                  <a:srgbClr val="C00000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86">
                  <a:latin typeface="+mj-lt"/>
                </a:endParaRPr>
              </a:p>
            </p:txBody>
          </p:sp>
          <p:sp>
            <p:nvSpPr>
              <p:cNvPr id="138" name="Овал 137">
                <a:extLst>
                  <a:ext uri="{FF2B5EF4-FFF2-40B4-BE49-F238E27FC236}">
                    <a16:creationId xmlns:a16="http://schemas.microsoft.com/office/drawing/2014/main" id="{3A9255B5-12BD-F144-8394-DA64D72C0A75}"/>
                  </a:ext>
                </a:extLst>
              </p:cNvPr>
              <p:cNvSpPr/>
              <p:nvPr/>
            </p:nvSpPr>
            <p:spPr>
              <a:xfrm>
                <a:off x="4936314" y="5581050"/>
                <a:ext cx="144000" cy="144000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86">
                  <a:latin typeface="+mj-lt"/>
                </a:endParaRPr>
              </a:p>
            </p:txBody>
          </p:sp>
          <p:sp>
            <p:nvSpPr>
              <p:cNvPr id="139" name="Овал 138">
                <a:extLst>
                  <a:ext uri="{FF2B5EF4-FFF2-40B4-BE49-F238E27FC236}">
                    <a16:creationId xmlns:a16="http://schemas.microsoft.com/office/drawing/2014/main" id="{3DE701FD-E511-4546-841B-BFD53DC0C0AF}"/>
                  </a:ext>
                </a:extLst>
              </p:cNvPr>
              <p:cNvSpPr/>
              <p:nvPr/>
            </p:nvSpPr>
            <p:spPr>
              <a:xfrm>
                <a:off x="4300470" y="5582781"/>
                <a:ext cx="144000" cy="144000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86">
                  <a:latin typeface="+mj-lt"/>
                </a:endParaRPr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2B75A913-A9FF-6747-A300-763B643FE22D}"/>
                  </a:ext>
                </a:extLst>
              </p:cNvPr>
              <p:cNvSpPr txBox="1"/>
              <p:nvPr/>
            </p:nvSpPr>
            <p:spPr>
              <a:xfrm>
                <a:off x="3892995" y="6088815"/>
                <a:ext cx="474794" cy="502115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ru-RU" sz="1429" b="1" dirty="0">
                    <a:solidFill>
                      <a:srgbClr val="C00000"/>
                    </a:solidFill>
                    <a:latin typeface="+mj-lt"/>
                  </a:rPr>
                  <a:t>А</a:t>
                </a:r>
              </a:p>
            </p:txBody>
          </p:sp>
        </p:grp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3D14F5FC-21AD-4F4C-8795-1719DF9A5F87}"/>
                </a:ext>
              </a:extLst>
            </p:cNvPr>
            <p:cNvSpPr txBox="1"/>
            <p:nvPr/>
          </p:nvSpPr>
          <p:spPr>
            <a:xfrm>
              <a:off x="4986169" y="4703448"/>
              <a:ext cx="461906" cy="5021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429" b="1" dirty="0">
                  <a:solidFill>
                    <a:srgbClr val="C00000"/>
                  </a:solidFill>
                  <a:latin typeface="+mj-lt"/>
                </a:rPr>
                <a:t>В</a:t>
              </a:r>
            </a:p>
          </p:txBody>
        </p:sp>
      </p:grpSp>
      <p:sp>
        <p:nvSpPr>
          <p:cNvPr id="141" name="TextBox 140">
            <a:extLst>
              <a:ext uri="{FF2B5EF4-FFF2-40B4-BE49-F238E27FC236}">
                <a16:creationId xmlns:a16="http://schemas.microsoft.com/office/drawing/2014/main" id="{6020E193-D35A-A948-B047-99154DEEA453}"/>
              </a:ext>
            </a:extLst>
          </p:cNvPr>
          <p:cNvSpPr txBox="1"/>
          <p:nvPr/>
        </p:nvSpPr>
        <p:spPr>
          <a:xfrm>
            <a:off x="5779206" y="5030081"/>
            <a:ext cx="835998" cy="3561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714" i="1" dirty="0">
                <a:latin typeface="+mj-lt"/>
              </a:rPr>
              <a:t>t</a:t>
            </a:r>
            <a:r>
              <a:rPr lang="ru-RU" sz="1286" i="1" baseline="-25000" dirty="0">
                <a:latin typeface="+mj-lt"/>
              </a:rPr>
              <a:t>А-В </a:t>
            </a:r>
            <a:r>
              <a:rPr lang="ru-RU" sz="1143" i="1" dirty="0">
                <a:latin typeface="+mj-lt"/>
              </a:rPr>
              <a:t>→ </a:t>
            </a:r>
            <a:r>
              <a:rPr lang="en-US" sz="1143" b="1" i="1" dirty="0">
                <a:solidFill>
                  <a:srgbClr val="C00000"/>
                </a:solidFill>
                <a:latin typeface="+mj-lt"/>
              </a:rPr>
              <a:t>min</a:t>
            </a:r>
            <a:endParaRPr lang="ru-RU" sz="1143" b="1" i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42" name="TextBox 141"/>
          <p:cNvSpPr txBox="1"/>
          <p:nvPr>
            <p:custDataLst>
              <p:tags r:id="rId1"/>
            </p:custDataLst>
          </p:nvPr>
        </p:nvSpPr>
        <p:spPr>
          <a:xfrm>
            <a:off x="6201138" y="4457597"/>
            <a:ext cx="2780666" cy="40011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indent="-285750">
              <a:buFont typeface="Wingdings" panose="05000000000000000000" pitchFamily="2" charset="2"/>
              <a:buChar char="§"/>
              <a:defRPr sz="1600" b="1">
                <a:solidFill>
                  <a:schemeClr val="bg1"/>
                </a:solidFill>
              </a:defRPr>
            </a:lvl1pPr>
          </a:lstStyle>
          <a:p>
            <a:pPr marL="0" indent="0" algn="ctr">
              <a:buNone/>
            </a:pPr>
            <a:r>
              <a:rPr lang="ru-RU" sz="1000" dirty="0">
                <a:latin typeface="+mj-lt"/>
              </a:rPr>
              <a:t>Построение транспортного графа — модели </a:t>
            </a:r>
          </a:p>
          <a:p>
            <a:pPr marL="0" indent="0" algn="ctr">
              <a:buNone/>
            </a:pPr>
            <a:r>
              <a:rPr lang="ru-RU" sz="1000" dirty="0">
                <a:latin typeface="+mj-lt"/>
              </a:rPr>
              <a:t>транспортной сети Москвы</a:t>
            </a:r>
          </a:p>
        </p:txBody>
      </p:sp>
      <p:sp>
        <p:nvSpPr>
          <p:cNvPr id="65" name="Номер слайда 3">
            <a:extLst>
              <a:ext uri="{FF2B5EF4-FFF2-40B4-BE49-F238E27FC236}">
                <a16:creationId xmlns:a16="http://schemas.microsoft.com/office/drawing/2014/main" id="{26B8A0DF-7C2B-1D47-9524-61ED288E3F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52509" y="6547773"/>
            <a:ext cx="1704454" cy="253916"/>
          </a:xfrm>
        </p:spPr>
        <p:txBody>
          <a:bodyPr/>
          <a:lstStyle/>
          <a:p>
            <a:fld id="{2B86E897-D47A-DF49-947E-7FDF216B1BB3}" type="slidenum">
              <a:rPr lang="ru-RU" smtClean="0">
                <a:latin typeface="+mj-lt"/>
              </a:rPr>
              <a:pPr/>
              <a:t>4</a:t>
            </a:fld>
            <a:endParaRPr lang="ru-RU" dirty="0">
              <a:latin typeface="+mj-lt"/>
            </a:endParaRPr>
          </a:p>
        </p:txBody>
      </p:sp>
      <p:sp>
        <p:nvSpPr>
          <p:cNvPr id="68" name="Заголовок 1">
            <a:extLst>
              <a:ext uri="{FF2B5EF4-FFF2-40B4-BE49-F238E27FC236}">
                <a16:creationId xmlns:a16="http://schemas.microsoft.com/office/drawing/2014/main" id="{907C46EF-8061-1443-A594-EAE8AA6C2992}"/>
              </a:ext>
            </a:extLst>
          </p:cNvPr>
          <p:cNvSpPr txBox="1">
            <a:spLocks/>
          </p:cNvSpPr>
          <p:nvPr/>
        </p:nvSpPr>
        <p:spPr>
          <a:xfrm>
            <a:off x="134581" y="130970"/>
            <a:ext cx="8927804" cy="659632"/>
          </a:xfrm>
          <a:prstGeom prst="rect">
            <a:avLst/>
          </a:prstGeom>
        </p:spPr>
        <p:txBody>
          <a:bodyPr vert="horz" lIns="122191" tIns="61096" rIns="122191" bIns="61096" rtlCol="0" anchor="ctr">
            <a:noAutofit/>
          </a:bodyPr>
          <a:lstStyle>
            <a:lvl1pPr algn="l" defTabSz="9455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27" kern="1200">
                <a:solidFill>
                  <a:srgbClr val="BF2D2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/>
              <a:t>Этап 1: сбор данных о перемещениях пассажиров и построение матрицы корреспонденций </a:t>
            </a:r>
          </a:p>
        </p:txBody>
      </p:sp>
    </p:spTree>
    <p:extLst>
      <p:ext uri="{BB962C8B-B14F-4D97-AF65-F5344CB8AC3E}">
        <p14:creationId xmlns:p14="http://schemas.microsoft.com/office/powerpoint/2010/main" val="267413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Стрелка вправо 57">
            <a:extLst>
              <a:ext uri="{FF2B5EF4-FFF2-40B4-BE49-F238E27FC236}">
                <a16:creationId xmlns:a16="http://schemas.microsoft.com/office/drawing/2014/main" id="{4DD7B306-100F-8449-AA76-EB3D26D1ED1E}"/>
              </a:ext>
            </a:extLst>
          </p:cNvPr>
          <p:cNvSpPr/>
          <p:nvPr/>
        </p:nvSpPr>
        <p:spPr>
          <a:xfrm>
            <a:off x="4882206" y="1113849"/>
            <a:ext cx="1048920" cy="551789"/>
          </a:xfrm>
          <a:prstGeom prst="rightArrow">
            <a:avLst/>
          </a:prstGeom>
          <a:gradFill>
            <a:gsLst>
              <a:gs pos="0">
                <a:srgbClr val="C00000"/>
              </a:gs>
              <a:gs pos="69000">
                <a:schemeClr val="bg1">
                  <a:alpha val="9000"/>
                </a:schemeClr>
              </a:gs>
              <a:gs pos="30000">
                <a:srgbClr val="C00000">
                  <a:alpha val="42000"/>
                </a:srgbClr>
              </a:gs>
              <a:gs pos="100000">
                <a:schemeClr val="bg1">
                  <a:lumMod val="95000"/>
                </a:schemeClr>
              </a:gs>
            </a:gsLst>
            <a:lin ang="0" scaled="0"/>
          </a:gra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0D7002FD-E3D1-734E-BF2E-813FE5273B4D}"/>
              </a:ext>
            </a:extLst>
          </p:cNvPr>
          <p:cNvGrpSpPr/>
          <p:nvPr/>
        </p:nvGrpSpPr>
        <p:grpSpPr>
          <a:xfrm>
            <a:off x="1047835" y="1389744"/>
            <a:ext cx="244718" cy="251434"/>
            <a:chOff x="685245" y="6012556"/>
            <a:chExt cx="265111" cy="272387"/>
          </a:xfrm>
        </p:grpSpPr>
        <p:cxnSp>
          <p:nvCxnSpPr>
            <p:cNvPr id="49" name="Прямая со стрелкой 48">
              <a:extLst>
                <a:ext uri="{FF2B5EF4-FFF2-40B4-BE49-F238E27FC236}">
                  <a16:creationId xmlns:a16="http://schemas.microsoft.com/office/drawing/2014/main" id="{7871A6EB-552C-B041-96F1-7DB31D3BF94D}"/>
                </a:ext>
              </a:extLst>
            </p:cNvPr>
            <p:cNvCxnSpPr>
              <a:cxnSpLocks/>
            </p:cNvCxnSpPr>
            <p:nvPr/>
          </p:nvCxnSpPr>
          <p:spPr>
            <a:xfrm>
              <a:off x="685800" y="6284943"/>
              <a:ext cx="264556" cy="0"/>
            </a:xfrm>
            <a:prstGeom prst="straightConnector1">
              <a:avLst/>
            </a:prstGeom>
            <a:ln w="25400">
              <a:solidFill>
                <a:srgbClr val="CC0000"/>
              </a:solidFill>
              <a:prstDash val="sysDot"/>
              <a:headEnd type="none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Прямая со стрелкой 49">
              <a:extLst>
                <a:ext uri="{FF2B5EF4-FFF2-40B4-BE49-F238E27FC236}">
                  <a16:creationId xmlns:a16="http://schemas.microsoft.com/office/drawing/2014/main" id="{42D89EE0-9D3E-3047-BAFF-3DC7B10755E6}"/>
                </a:ext>
              </a:extLst>
            </p:cNvPr>
            <p:cNvCxnSpPr>
              <a:cxnSpLocks/>
            </p:cNvCxnSpPr>
            <p:nvPr/>
          </p:nvCxnSpPr>
          <p:spPr>
            <a:xfrm>
              <a:off x="685245" y="6012556"/>
              <a:ext cx="0" cy="272387"/>
            </a:xfrm>
            <a:prstGeom prst="straightConnector1">
              <a:avLst/>
            </a:prstGeom>
            <a:ln w="25400">
              <a:solidFill>
                <a:srgbClr val="CC0000"/>
              </a:solidFill>
              <a:prstDash val="sysDot"/>
              <a:headEnd type="diamond"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7182" y="2053873"/>
            <a:ext cx="3298093" cy="4194181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Полилиния 6"/>
          <p:cNvSpPr/>
          <p:nvPr/>
        </p:nvSpPr>
        <p:spPr>
          <a:xfrm>
            <a:off x="2165392" y="4701088"/>
            <a:ext cx="578094" cy="1237518"/>
          </a:xfrm>
          <a:custGeom>
            <a:avLst/>
            <a:gdLst>
              <a:gd name="connsiteX0" fmla="*/ 626269 w 626269"/>
              <a:gd name="connsiteY0" fmla="*/ 1207294 h 1340644"/>
              <a:gd name="connsiteX1" fmla="*/ 488156 w 626269"/>
              <a:gd name="connsiteY1" fmla="*/ 731044 h 1340644"/>
              <a:gd name="connsiteX2" fmla="*/ 607219 w 626269"/>
              <a:gd name="connsiteY2" fmla="*/ 704850 h 1340644"/>
              <a:gd name="connsiteX3" fmla="*/ 597694 w 626269"/>
              <a:gd name="connsiteY3" fmla="*/ 678656 h 1340644"/>
              <a:gd name="connsiteX4" fmla="*/ 571500 w 626269"/>
              <a:gd name="connsiteY4" fmla="*/ 657225 h 1340644"/>
              <a:gd name="connsiteX5" fmla="*/ 583406 w 626269"/>
              <a:gd name="connsiteY5" fmla="*/ 609600 h 1340644"/>
              <a:gd name="connsiteX6" fmla="*/ 550069 w 626269"/>
              <a:gd name="connsiteY6" fmla="*/ 585787 h 1340644"/>
              <a:gd name="connsiteX7" fmla="*/ 595313 w 626269"/>
              <a:gd name="connsiteY7" fmla="*/ 571500 h 1340644"/>
              <a:gd name="connsiteX8" fmla="*/ 590550 w 626269"/>
              <a:gd name="connsiteY8" fmla="*/ 547687 h 1340644"/>
              <a:gd name="connsiteX9" fmla="*/ 535781 w 626269"/>
              <a:gd name="connsiteY9" fmla="*/ 566737 h 1340644"/>
              <a:gd name="connsiteX10" fmla="*/ 531019 w 626269"/>
              <a:gd name="connsiteY10" fmla="*/ 523875 h 1340644"/>
              <a:gd name="connsiteX11" fmla="*/ 583406 w 626269"/>
              <a:gd name="connsiteY11" fmla="*/ 483394 h 1340644"/>
              <a:gd name="connsiteX12" fmla="*/ 595313 w 626269"/>
              <a:gd name="connsiteY12" fmla="*/ 407194 h 1340644"/>
              <a:gd name="connsiteX13" fmla="*/ 578644 w 626269"/>
              <a:gd name="connsiteY13" fmla="*/ 350044 h 1340644"/>
              <a:gd name="connsiteX14" fmla="*/ 528638 w 626269"/>
              <a:gd name="connsiteY14" fmla="*/ 266700 h 1340644"/>
              <a:gd name="connsiteX15" fmla="*/ 521494 w 626269"/>
              <a:gd name="connsiteY15" fmla="*/ 204787 h 1340644"/>
              <a:gd name="connsiteX16" fmla="*/ 535781 w 626269"/>
              <a:gd name="connsiteY16" fmla="*/ 173831 h 1340644"/>
              <a:gd name="connsiteX17" fmla="*/ 481013 w 626269"/>
              <a:gd name="connsiteY17" fmla="*/ 147637 h 1340644"/>
              <a:gd name="connsiteX18" fmla="*/ 483394 w 626269"/>
              <a:gd name="connsiteY18" fmla="*/ 114300 h 1340644"/>
              <a:gd name="connsiteX19" fmla="*/ 452438 w 626269"/>
              <a:gd name="connsiteY19" fmla="*/ 114300 h 1340644"/>
              <a:gd name="connsiteX20" fmla="*/ 419100 w 626269"/>
              <a:gd name="connsiteY20" fmla="*/ 71437 h 1340644"/>
              <a:gd name="connsiteX21" fmla="*/ 414338 w 626269"/>
              <a:gd name="connsiteY21" fmla="*/ 57150 h 1340644"/>
              <a:gd name="connsiteX22" fmla="*/ 392906 w 626269"/>
              <a:gd name="connsiteY22" fmla="*/ 50006 h 1340644"/>
              <a:gd name="connsiteX23" fmla="*/ 359569 w 626269"/>
              <a:gd name="connsiteY23" fmla="*/ 9525 h 1340644"/>
              <a:gd name="connsiteX24" fmla="*/ 300038 w 626269"/>
              <a:gd name="connsiteY24" fmla="*/ 0 h 1340644"/>
              <a:gd name="connsiteX25" fmla="*/ 252413 w 626269"/>
              <a:gd name="connsiteY25" fmla="*/ 2381 h 1340644"/>
              <a:gd name="connsiteX26" fmla="*/ 195263 w 626269"/>
              <a:gd name="connsiteY26" fmla="*/ 23812 h 1340644"/>
              <a:gd name="connsiteX27" fmla="*/ 150019 w 626269"/>
              <a:gd name="connsiteY27" fmla="*/ 61912 h 1340644"/>
              <a:gd name="connsiteX28" fmla="*/ 133350 w 626269"/>
              <a:gd name="connsiteY28" fmla="*/ 61912 h 1340644"/>
              <a:gd name="connsiteX29" fmla="*/ 104775 w 626269"/>
              <a:gd name="connsiteY29" fmla="*/ 97631 h 1340644"/>
              <a:gd name="connsiteX30" fmla="*/ 100013 w 626269"/>
              <a:gd name="connsiteY30" fmla="*/ 130969 h 1340644"/>
              <a:gd name="connsiteX31" fmla="*/ 102394 w 626269"/>
              <a:gd name="connsiteY31" fmla="*/ 211931 h 1340644"/>
              <a:gd name="connsiteX32" fmla="*/ 88106 w 626269"/>
              <a:gd name="connsiteY32" fmla="*/ 228600 h 1340644"/>
              <a:gd name="connsiteX33" fmla="*/ 88106 w 626269"/>
              <a:gd name="connsiteY33" fmla="*/ 250031 h 1340644"/>
              <a:gd name="connsiteX34" fmla="*/ 109538 w 626269"/>
              <a:gd name="connsiteY34" fmla="*/ 259556 h 1340644"/>
              <a:gd name="connsiteX35" fmla="*/ 135731 w 626269"/>
              <a:gd name="connsiteY35" fmla="*/ 292894 h 1340644"/>
              <a:gd name="connsiteX36" fmla="*/ 128588 w 626269"/>
              <a:gd name="connsiteY36" fmla="*/ 300037 h 1340644"/>
              <a:gd name="connsiteX37" fmla="*/ 57150 w 626269"/>
              <a:gd name="connsiteY37" fmla="*/ 295275 h 1340644"/>
              <a:gd name="connsiteX38" fmla="*/ 40481 w 626269"/>
              <a:gd name="connsiteY38" fmla="*/ 276225 h 1340644"/>
              <a:gd name="connsiteX39" fmla="*/ 19050 w 626269"/>
              <a:gd name="connsiteY39" fmla="*/ 266700 h 1340644"/>
              <a:gd name="connsiteX40" fmla="*/ 0 w 626269"/>
              <a:gd name="connsiteY40" fmla="*/ 295275 h 1340644"/>
              <a:gd name="connsiteX41" fmla="*/ 14288 w 626269"/>
              <a:gd name="connsiteY41" fmla="*/ 342900 h 1340644"/>
              <a:gd name="connsiteX42" fmla="*/ 64294 w 626269"/>
              <a:gd name="connsiteY42" fmla="*/ 371475 h 1340644"/>
              <a:gd name="connsiteX43" fmla="*/ 80963 w 626269"/>
              <a:gd name="connsiteY43" fmla="*/ 397669 h 1340644"/>
              <a:gd name="connsiteX44" fmla="*/ 57150 w 626269"/>
              <a:gd name="connsiteY44" fmla="*/ 469106 h 1340644"/>
              <a:gd name="connsiteX45" fmla="*/ 23813 w 626269"/>
              <a:gd name="connsiteY45" fmla="*/ 519112 h 1340644"/>
              <a:gd name="connsiteX46" fmla="*/ 52388 w 626269"/>
              <a:gd name="connsiteY46" fmla="*/ 542925 h 1340644"/>
              <a:gd name="connsiteX47" fmla="*/ 95250 w 626269"/>
              <a:gd name="connsiteY47" fmla="*/ 540544 h 1340644"/>
              <a:gd name="connsiteX48" fmla="*/ 85725 w 626269"/>
              <a:gd name="connsiteY48" fmla="*/ 502444 h 1340644"/>
              <a:gd name="connsiteX49" fmla="*/ 90488 w 626269"/>
              <a:gd name="connsiteY49" fmla="*/ 476250 h 1340644"/>
              <a:gd name="connsiteX50" fmla="*/ 138113 w 626269"/>
              <a:gd name="connsiteY50" fmla="*/ 488156 h 1340644"/>
              <a:gd name="connsiteX51" fmla="*/ 161925 w 626269"/>
              <a:gd name="connsiteY51" fmla="*/ 473869 h 1340644"/>
              <a:gd name="connsiteX52" fmla="*/ 159544 w 626269"/>
              <a:gd name="connsiteY52" fmla="*/ 452437 h 1340644"/>
              <a:gd name="connsiteX53" fmla="*/ 188119 w 626269"/>
              <a:gd name="connsiteY53" fmla="*/ 423862 h 1340644"/>
              <a:gd name="connsiteX54" fmla="*/ 211931 w 626269"/>
              <a:gd name="connsiteY54" fmla="*/ 431006 h 1340644"/>
              <a:gd name="connsiteX55" fmla="*/ 240506 w 626269"/>
              <a:gd name="connsiteY55" fmla="*/ 466725 h 1340644"/>
              <a:gd name="connsiteX56" fmla="*/ 233363 w 626269"/>
              <a:gd name="connsiteY56" fmla="*/ 516731 h 1340644"/>
              <a:gd name="connsiteX57" fmla="*/ 223838 w 626269"/>
              <a:gd name="connsiteY57" fmla="*/ 540544 h 1340644"/>
              <a:gd name="connsiteX58" fmla="*/ 190500 w 626269"/>
              <a:gd name="connsiteY58" fmla="*/ 628650 h 1340644"/>
              <a:gd name="connsiteX59" fmla="*/ 183356 w 626269"/>
              <a:gd name="connsiteY59" fmla="*/ 692944 h 1340644"/>
              <a:gd name="connsiteX60" fmla="*/ 195263 w 626269"/>
              <a:gd name="connsiteY60" fmla="*/ 738187 h 1340644"/>
              <a:gd name="connsiteX61" fmla="*/ 259556 w 626269"/>
              <a:gd name="connsiteY61" fmla="*/ 869156 h 1340644"/>
              <a:gd name="connsiteX62" fmla="*/ 250031 w 626269"/>
              <a:gd name="connsiteY62" fmla="*/ 1066800 h 1340644"/>
              <a:gd name="connsiteX63" fmla="*/ 219075 w 626269"/>
              <a:gd name="connsiteY63" fmla="*/ 1112044 h 1340644"/>
              <a:gd name="connsiteX64" fmla="*/ 214313 w 626269"/>
              <a:gd name="connsiteY64" fmla="*/ 1131094 h 1340644"/>
              <a:gd name="connsiteX65" fmla="*/ 235744 w 626269"/>
              <a:gd name="connsiteY65" fmla="*/ 1150144 h 1340644"/>
              <a:gd name="connsiteX66" fmla="*/ 216694 w 626269"/>
              <a:gd name="connsiteY66" fmla="*/ 1207294 h 1340644"/>
              <a:gd name="connsiteX67" fmla="*/ 304800 w 626269"/>
              <a:gd name="connsiteY67" fmla="*/ 1231106 h 1340644"/>
              <a:gd name="connsiteX68" fmla="*/ 352425 w 626269"/>
              <a:gd name="connsiteY68" fmla="*/ 1219200 h 1340644"/>
              <a:gd name="connsiteX69" fmla="*/ 397669 w 626269"/>
              <a:gd name="connsiteY69" fmla="*/ 1285875 h 1340644"/>
              <a:gd name="connsiteX70" fmla="*/ 400050 w 626269"/>
              <a:gd name="connsiteY70" fmla="*/ 1340644 h 1340644"/>
              <a:gd name="connsiteX71" fmla="*/ 550069 w 626269"/>
              <a:gd name="connsiteY71" fmla="*/ 1231106 h 1340644"/>
              <a:gd name="connsiteX72" fmla="*/ 626269 w 626269"/>
              <a:gd name="connsiteY72" fmla="*/ 1207294 h 1340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626269" h="1340644">
                <a:moveTo>
                  <a:pt x="626269" y="1207294"/>
                </a:moveTo>
                <a:lnTo>
                  <a:pt x="488156" y="731044"/>
                </a:lnTo>
                <a:lnTo>
                  <a:pt x="607219" y="704850"/>
                </a:lnTo>
                <a:lnTo>
                  <a:pt x="597694" y="678656"/>
                </a:lnTo>
                <a:lnTo>
                  <a:pt x="571500" y="657225"/>
                </a:lnTo>
                <a:lnTo>
                  <a:pt x="583406" y="609600"/>
                </a:lnTo>
                <a:lnTo>
                  <a:pt x="550069" y="585787"/>
                </a:lnTo>
                <a:lnTo>
                  <a:pt x="595313" y="571500"/>
                </a:lnTo>
                <a:lnTo>
                  <a:pt x="590550" y="547687"/>
                </a:lnTo>
                <a:lnTo>
                  <a:pt x="535781" y="566737"/>
                </a:lnTo>
                <a:lnTo>
                  <a:pt x="531019" y="523875"/>
                </a:lnTo>
                <a:lnTo>
                  <a:pt x="583406" y="483394"/>
                </a:lnTo>
                <a:lnTo>
                  <a:pt x="595313" y="407194"/>
                </a:lnTo>
                <a:lnTo>
                  <a:pt x="578644" y="350044"/>
                </a:lnTo>
                <a:lnTo>
                  <a:pt x="528638" y="266700"/>
                </a:lnTo>
                <a:lnTo>
                  <a:pt x="521494" y="204787"/>
                </a:lnTo>
                <a:lnTo>
                  <a:pt x="535781" y="173831"/>
                </a:lnTo>
                <a:lnTo>
                  <a:pt x="481013" y="147637"/>
                </a:lnTo>
                <a:lnTo>
                  <a:pt x="483394" y="114300"/>
                </a:lnTo>
                <a:lnTo>
                  <a:pt x="452438" y="114300"/>
                </a:lnTo>
                <a:lnTo>
                  <a:pt x="419100" y="71437"/>
                </a:lnTo>
                <a:lnTo>
                  <a:pt x="414338" y="57150"/>
                </a:lnTo>
                <a:lnTo>
                  <a:pt x="392906" y="50006"/>
                </a:lnTo>
                <a:lnTo>
                  <a:pt x="359569" y="9525"/>
                </a:lnTo>
                <a:lnTo>
                  <a:pt x="300038" y="0"/>
                </a:lnTo>
                <a:lnTo>
                  <a:pt x="252413" y="2381"/>
                </a:lnTo>
                <a:lnTo>
                  <a:pt x="195263" y="23812"/>
                </a:lnTo>
                <a:lnTo>
                  <a:pt x="150019" y="61912"/>
                </a:lnTo>
                <a:lnTo>
                  <a:pt x="133350" y="61912"/>
                </a:lnTo>
                <a:lnTo>
                  <a:pt x="104775" y="97631"/>
                </a:lnTo>
                <a:lnTo>
                  <a:pt x="100013" y="130969"/>
                </a:lnTo>
                <a:cubicBezTo>
                  <a:pt x="100807" y="157956"/>
                  <a:pt x="101600" y="184944"/>
                  <a:pt x="102394" y="211931"/>
                </a:cubicBezTo>
                <a:lnTo>
                  <a:pt x="88106" y="228600"/>
                </a:lnTo>
                <a:lnTo>
                  <a:pt x="88106" y="250031"/>
                </a:lnTo>
                <a:lnTo>
                  <a:pt x="109538" y="259556"/>
                </a:lnTo>
                <a:lnTo>
                  <a:pt x="135731" y="292894"/>
                </a:lnTo>
                <a:lnTo>
                  <a:pt x="128588" y="300037"/>
                </a:lnTo>
                <a:lnTo>
                  <a:pt x="57150" y="295275"/>
                </a:lnTo>
                <a:lnTo>
                  <a:pt x="40481" y="276225"/>
                </a:lnTo>
                <a:lnTo>
                  <a:pt x="19050" y="266700"/>
                </a:lnTo>
                <a:lnTo>
                  <a:pt x="0" y="295275"/>
                </a:lnTo>
                <a:lnTo>
                  <a:pt x="14288" y="342900"/>
                </a:lnTo>
                <a:lnTo>
                  <a:pt x="64294" y="371475"/>
                </a:lnTo>
                <a:lnTo>
                  <a:pt x="80963" y="397669"/>
                </a:lnTo>
                <a:lnTo>
                  <a:pt x="57150" y="469106"/>
                </a:lnTo>
                <a:lnTo>
                  <a:pt x="23813" y="519112"/>
                </a:lnTo>
                <a:lnTo>
                  <a:pt x="52388" y="542925"/>
                </a:lnTo>
                <a:lnTo>
                  <a:pt x="95250" y="540544"/>
                </a:lnTo>
                <a:lnTo>
                  <a:pt x="85725" y="502444"/>
                </a:lnTo>
                <a:lnTo>
                  <a:pt x="90488" y="476250"/>
                </a:lnTo>
                <a:lnTo>
                  <a:pt x="138113" y="488156"/>
                </a:lnTo>
                <a:lnTo>
                  <a:pt x="161925" y="473869"/>
                </a:lnTo>
                <a:lnTo>
                  <a:pt x="159544" y="452437"/>
                </a:lnTo>
                <a:lnTo>
                  <a:pt x="188119" y="423862"/>
                </a:lnTo>
                <a:lnTo>
                  <a:pt x="211931" y="431006"/>
                </a:lnTo>
                <a:lnTo>
                  <a:pt x="240506" y="466725"/>
                </a:lnTo>
                <a:lnTo>
                  <a:pt x="233363" y="516731"/>
                </a:lnTo>
                <a:lnTo>
                  <a:pt x="223838" y="540544"/>
                </a:lnTo>
                <a:lnTo>
                  <a:pt x="190500" y="628650"/>
                </a:lnTo>
                <a:lnTo>
                  <a:pt x="183356" y="692944"/>
                </a:lnTo>
                <a:lnTo>
                  <a:pt x="195263" y="738187"/>
                </a:lnTo>
                <a:lnTo>
                  <a:pt x="259556" y="869156"/>
                </a:lnTo>
                <a:lnTo>
                  <a:pt x="250031" y="1066800"/>
                </a:lnTo>
                <a:lnTo>
                  <a:pt x="219075" y="1112044"/>
                </a:lnTo>
                <a:lnTo>
                  <a:pt x="214313" y="1131094"/>
                </a:lnTo>
                <a:lnTo>
                  <a:pt x="235744" y="1150144"/>
                </a:lnTo>
                <a:lnTo>
                  <a:pt x="216694" y="1207294"/>
                </a:lnTo>
                <a:lnTo>
                  <a:pt x="304800" y="1231106"/>
                </a:lnTo>
                <a:lnTo>
                  <a:pt x="352425" y="1219200"/>
                </a:lnTo>
                <a:lnTo>
                  <a:pt x="397669" y="1285875"/>
                </a:lnTo>
                <a:cubicBezTo>
                  <a:pt x="398463" y="1304131"/>
                  <a:pt x="399256" y="1322388"/>
                  <a:pt x="400050" y="1340644"/>
                </a:cubicBezTo>
                <a:lnTo>
                  <a:pt x="550069" y="1231106"/>
                </a:lnTo>
                <a:lnTo>
                  <a:pt x="626269" y="1207294"/>
                </a:lnTo>
                <a:close/>
              </a:path>
            </a:pathLst>
          </a:custGeom>
          <a:solidFill>
            <a:srgbClr val="FF0000">
              <a:alpha val="70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8" name="Полилиния 7"/>
          <p:cNvSpPr/>
          <p:nvPr/>
        </p:nvSpPr>
        <p:spPr>
          <a:xfrm>
            <a:off x="1845938" y="3752986"/>
            <a:ext cx="846259" cy="918796"/>
          </a:xfrm>
          <a:custGeom>
            <a:avLst/>
            <a:gdLst>
              <a:gd name="connsiteX0" fmla="*/ 254794 w 916781"/>
              <a:gd name="connsiteY0" fmla="*/ 954882 h 995363"/>
              <a:gd name="connsiteX1" fmla="*/ 309563 w 916781"/>
              <a:gd name="connsiteY1" fmla="*/ 973932 h 995363"/>
              <a:gd name="connsiteX2" fmla="*/ 326231 w 916781"/>
              <a:gd name="connsiteY2" fmla="*/ 962025 h 995363"/>
              <a:gd name="connsiteX3" fmla="*/ 323850 w 916781"/>
              <a:gd name="connsiteY3" fmla="*/ 935832 h 995363"/>
              <a:gd name="connsiteX4" fmla="*/ 516731 w 916781"/>
              <a:gd name="connsiteY4" fmla="*/ 938213 h 995363"/>
              <a:gd name="connsiteX5" fmla="*/ 528638 w 916781"/>
              <a:gd name="connsiteY5" fmla="*/ 950119 h 995363"/>
              <a:gd name="connsiteX6" fmla="*/ 635794 w 916781"/>
              <a:gd name="connsiteY6" fmla="*/ 995363 h 995363"/>
              <a:gd name="connsiteX7" fmla="*/ 619125 w 916781"/>
              <a:gd name="connsiteY7" fmla="*/ 942975 h 995363"/>
              <a:gd name="connsiteX8" fmla="*/ 673894 w 916781"/>
              <a:gd name="connsiteY8" fmla="*/ 921544 h 995363"/>
              <a:gd name="connsiteX9" fmla="*/ 671513 w 916781"/>
              <a:gd name="connsiteY9" fmla="*/ 900113 h 995363"/>
              <a:gd name="connsiteX10" fmla="*/ 759619 w 916781"/>
              <a:gd name="connsiteY10" fmla="*/ 904875 h 995363"/>
              <a:gd name="connsiteX11" fmla="*/ 757238 w 916781"/>
              <a:gd name="connsiteY11" fmla="*/ 857250 h 995363"/>
              <a:gd name="connsiteX12" fmla="*/ 764381 w 916781"/>
              <a:gd name="connsiteY12" fmla="*/ 723900 h 995363"/>
              <a:gd name="connsiteX13" fmla="*/ 742950 w 916781"/>
              <a:gd name="connsiteY13" fmla="*/ 695325 h 995363"/>
              <a:gd name="connsiteX14" fmla="*/ 661988 w 916781"/>
              <a:gd name="connsiteY14" fmla="*/ 685800 h 995363"/>
              <a:gd name="connsiteX15" fmla="*/ 652463 w 916781"/>
              <a:gd name="connsiteY15" fmla="*/ 657225 h 995363"/>
              <a:gd name="connsiteX16" fmla="*/ 621506 w 916781"/>
              <a:gd name="connsiteY16" fmla="*/ 619125 h 995363"/>
              <a:gd name="connsiteX17" fmla="*/ 602456 w 916781"/>
              <a:gd name="connsiteY17" fmla="*/ 578644 h 995363"/>
              <a:gd name="connsiteX18" fmla="*/ 695325 w 916781"/>
              <a:gd name="connsiteY18" fmla="*/ 531019 h 995363"/>
              <a:gd name="connsiteX19" fmla="*/ 671513 w 916781"/>
              <a:gd name="connsiteY19" fmla="*/ 433388 h 995363"/>
              <a:gd name="connsiteX20" fmla="*/ 723900 w 916781"/>
              <a:gd name="connsiteY20" fmla="*/ 419100 h 995363"/>
              <a:gd name="connsiteX21" fmla="*/ 728663 w 916781"/>
              <a:gd name="connsiteY21" fmla="*/ 357188 h 995363"/>
              <a:gd name="connsiteX22" fmla="*/ 781050 w 916781"/>
              <a:gd name="connsiteY22" fmla="*/ 359569 h 995363"/>
              <a:gd name="connsiteX23" fmla="*/ 800100 w 916781"/>
              <a:gd name="connsiteY23" fmla="*/ 359569 h 995363"/>
              <a:gd name="connsiteX24" fmla="*/ 804863 w 916781"/>
              <a:gd name="connsiteY24" fmla="*/ 292894 h 995363"/>
              <a:gd name="connsiteX25" fmla="*/ 840581 w 916781"/>
              <a:gd name="connsiteY25" fmla="*/ 254794 h 995363"/>
              <a:gd name="connsiteX26" fmla="*/ 904875 w 916781"/>
              <a:gd name="connsiteY26" fmla="*/ 269082 h 995363"/>
              <a:gd name="connsiteX27" fmla="*/ 916781 w 916781"/>
              <a:gd name="connsiteY27" fmla="*/ 238125 h 995363"/>
              <a:gd name="connsiteX28" fmla="*/ 897731 w 916781"/>
              <a:gd name="connsiteY28" fmla="*/ 185738 h 995363"/>
              <a:gd name="connsiteX29" fmla="*/ 831056 w 916781"/>
              <a:gd name="connsiteY29" fmla="*/ 202407 h 995363"/>
              <a:gd name="connsiteX30" fmla="*/ 814388 w 916781"/>
              <a:gd name="connsiteY30" fmla="*/ 216694 h 995363"/>
              <a:gd name="connsiteX31" fmla="*/ 776288 w 916781"/>
              <a:gd name="connsiteY31" fmla="*/ 214313 h 995363"/>
              <a:gd name="connsiteX32" fmla="*/ 766763 w 916781"/>
              <a:gd name="connsiteY32" fmla="*/ 242888 h 995363"/>
              <a:gd name="connsiteX33" fmla="*/ 776288 w 916781"/>
              <a:gd name="connsiteY33" fmla="*/ 273844 h 995363"/>
              <a:gd name="connsiteX34" fmla="*/ 750094 w 916781"/>
              <a:gd name="connsiteY34" fmla="*/ 271463 h 995363"/>
              <a:gd name="connsiteX35" fmla="*/ 645319 w 916781"/>
              <a:gd name="connsiteY35" fmla="*/ 216694 h 995363"/>
              <a:gd name="connsiteX36" fmla="*/ 685800 w 916781"/>
              <a:gd name="connsiteY36" fmla="*/ 161925 h 995363"/>
              <a:gd name="connsiteX37" fmla="*/ 666750 w 916781"/>
              <a:gd name="connsiteY37" fmla="*/ 133350 h 995363"/>
              <a:gd name="connsiteX38" fmla="*/ 669131 w 916781"/>
              <a:gd name="connsiteY38" fmla="*/ 78582 h 995363"/>
              <a:gd name="connsiteX39" fmla="*/ 640556 w 916781"/>
              <a:gd name="connsiteY39" fmla="*/ 69057 h 995363"/>
              <a:gd name="connsiteX40" fmla="*/ 650081 w 916781"/>
              <a:gd name="connsiteY40" fmla="*/ 0 h 995363"/>
              <a:gd name="connsiteX41" fmla="*/ 600075 w 916781"/>
              <a:gd name="connsiteY41" fmla="*/ 33338 h 995363"/>
              <a:gd name="connsiteX42" fmla="*/ 581025 w 916781"/>
              <a:gd name="connsiteY42" fmla="*/ 78582 h 995363"/>
              <a:gd name="connsiteX43" fmla="*/ 488156 w 916781"/>
              <a:gd name="connsiteY43" fmla="*/ 95250 h 995363"/>
              <a:gd name="connsiteX44" fmla="*/ 488156 w 916781"/>
              <a:gd name="connsiteY44" fmla="*/ 223838 h 995363"/>
              <a:gd name="connsiteX45" fmla="*/ 454819 w 916781"/>
              <a:gd name="connsiteY45" fmla="*/ 228600 h 995363"/>
              <a:gd name="connsiteX46" fmla="*/ 404813 w 916781"/>
              <a:gd name="connsiteY46" fmla="*/ 285750 h 995363"/>
              <a:gd name="connsiteX47" fmla="*/ 373856 w 916781"/>
              <a:gd name="connsiteY47" fmla="*/ 264319 h 995363"/>
              <a:gd name="connsiteX48" fmla="*/ 328613 w 916781"/>
              <a:gd name="connsiteY48" fmla="*/ 307182 h 995363"/>
              <a:gd name="connsiteX49" fmla="*/ 350044 w 916781"/>
              <a:gd name="connsiteY49" fmla="*/ 335757 h 995363"/>
              <a:gd name="connsiteX50" fmla="*/ 259556 w 916781"/>
              <a:gd name="connsiteY50" fmla="*/ 442913 h 995363"/>
              <a:gd name="connsiteX51" fmla="*/ 221456 w 916781"/>
              <a:gd name="connsiteY51" fmla="*/ 452438 h 995363"/>
              <a:gd name="connsiteX52" fmla="*/ 123825 w 916781"/>
              <a:gd name="connsiteY52" fmla="*/ 392907 h 995363"/>
              <a:gd name="connsiteX53" fmla="*/ 111919 w 916781"/>
              <a:gd name="connsiteY53" fmla="*/ 435769 h 995363"/>
              <a:gd name="connsiteX54" fmla="*/ 97631 w 916781"/>
              <a:gd name="connsiteY54" fmla="*/ 509588 h 995363"/>
              <a:gd name="connsiteX55" fmla="*/ 64294 w 916781"/>
              <a:gd name="connsiteY55" fmla="*/ 514350 h 995363"/>
              <a:gd name="connsiteX56" fmla="*/ 21431 w 916781"/>
              <a:gd name="connsiteY56" fmla="*/ 571500 h 995363"/>
              <a:gd name="connsiteX57" fmla="*/ 26194 w 916781"/>
              <a:gd name="connsiteY57" fmla="*/ 604838 h 995363"/>
              <a:gd name="connsiteX58" fmla="*/ 16669 w 916781"/>
              <a:gd name="connsiteY58" fmla="*/ 626269 h 995363"/>
              <a:gd name="connsiteX59" fmla="*/ 0 w 916781"/>
              <a:gd name="connsiteY59" fmla="*/ 616744 h 995363"/>
              <a:gd name="connsiteX60" fmla="*/ 7144 w 916781"/>
              <a:gd name="connsiteY60" fmla="*/ 661988 h 995363"/>
              <a:gd name="connsiteX61" fmla="*/ 23813 w 916781"/>
              <a:gd name="connsiteY61" fmla="*/ 676275 h 995363"/>
              <a:gd name="connsiteX62" fmla="*/ 21431 w 916781"/>
              <a:gd name="connsiteY62" fmla="*/ 695325 h 995363"/>
              <a:gd name="connsiteX63" fmla="*/ 45244 w 916781"/>
              <a:gd name="connsiteY63" fmla="*/ 726282 h 995363"/>
              <a:gd name="connsiteX64" fmla="*/ 42863 w 916781"/>
              <a:gd name="connsiteY64" fmla="*/ 759619 h 995363"/>
              <a:gd name="connsiteX65" fmla="*/ 80963 w 916781"/>
              <a:gd name="connsiteY65" fmla="*/ 773907 h 995363"/>
              <a:gd name="connsiteX66" fmla="*/ 116681 w 916781"/>
              <a:gd name="connsiteY66" fmla="*/ 795338 h 995363"/>
              <a:gd name="connsiteX67" fmla="*/ 95250 w 916781"/>
              <a:gd name="connsiteY67" fmla="*/ 833438 h 995363"/>
              <a:gd name="connsiteX68" fmla="*/ 73819 w 916781"/>
              <a:gd name="connsiteY68" fmla="*/ 831057 h 995363"/>
              <a:gd name="connsiteX69" fmla="*/ 26194 w 916781"/>
              <a:gd name="connsiteY69" fmla="*/ 881063 h 995363"/>
              <a:gd name="connsiteX70" fmla="*/ 28575 w 916781"/>
              <a:gd name="connsiteY70" fmla="*/ 890588 h 995363"/>
              <a:gd name="connsiteX71" fmla="*/ 50006 w 916781"/>
              <a:gd name="connsiteY71" fmla="*/ 914400 h 995363"/>
              <a:gd name="connsiteX72" fmla="*/ 83344 w 916781"/>
              <a:gd name="connsiteY72" fmla="*/ 888207 h 995363"/>
              <a:gd name="connsiteX73" fmla="*/ 107156 w 916781"/>
              <a:gd name="connsiteY73" fmla="*/ 888207 h 995363"/>
              <a:gd name="connsiteX74" fmla="*/ 142875 w 916781"/>
              <a:gd name="connsiteY74" fmla="*/ 923925 h 995363"/>
              <a:gd name="connsiteX75" fmla="*/ 195263 w 916781"/>
              <a:gd name="connsiteY75" fmla="*/ 912019 h 995363"/>
              <a:gd name="connsiteX76" fmla="*/ 230981 w 916781"/>
              <a:gd name="connsiteY76" fmla="*/ 885825 h 995363"/>
              <a:gd name="connsiteX77" fmla="*/ 254794 w 916781"/>
              <a:gd name="connsiteY77" fmla="*/ 902494 h 995363"/>
              <a:gd name="connsiteX78" fmla="*/ 254794 w 916781"/>
              <a:gd name="connsiteY78" fmla="*/ 954882 h 995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16781" h="995363">
                <a:moveTo>
                  <a:pt x="254794" y="954882"/>
                </a:moveTo>
                <a:lnTo>
                  <a:pt x="309563" y="973932"/>
                </a:lnTo>
                <a:lnTo>
                  <a:pt x="326231" y="962025"/>
                </a:lnTo>
                <a:lnTo>
                  <a:pt x="323850" y="935832"/>
                </a:lnTo>
                <a:lnTo>
                  <a:pt x="516731" y="938213"/>
                </a:lnTo>
                <a:lnTo>
                  <a:pt x="528638" y="950119"/>
                </a:lnTo>
                <a:lnTo>
                  <a:pt x="635794" y="995363"/>
                </a:lnTo>
                <a:lnTo>
                  <a:pt x="619125" y="942975"/>
                </a:lnTo>
                <a:lnTo>
                  <a:pt x="673894" y="921544"/>
                </a:lnTo>
                <a:lnTo>
                  <a:pt x="671513" y="900113"/>
                </a:lnTo>
                <a:lnTo>
                  <a:pt x="759619" y="904875"/>
                </a:lnTo>
                <a:lnTo>
                  <a:pt x="757238" y="857250"/>
                </a:lnTo>
                <a:lnTo>
                  <a:pt x="764381" y="723900"/>
                </a:lnTo>
                <a:lnTo>
                  <a:pt x="742950" y="695325"/>
                </a:lnTo>
                <a:lnTo>
                  <a:pt x="661988" y="685800"/>
                </a:lnTo>
                <a:lnTo>
                  <a:pt x="652463" y="657225"/>
                </a:lnTo>
                <a:lnTo>
                  <a:pt x="621506" y="619125"/>
                </a:lnTo>
                <a:lnTo>
                  <a:pt x="602456" y="578644"/>
                </a:lnTo>
                <a:lnTo>
                  <a:pt x="695325" y="531019"/>
                </a:lnTo>
                <a:lnTo>
                  <a:pt x="671513" y="433388"/>
                </a:lnTo>
                <a:lnTo>
                  <a:pt x="723900" y="419100"/>
                </a:lnTo>
                <a:lnTo>
                  <a:pt x="728663" y="357188"/>
                </a:lnTo>
                <a:lnTo>
                  <a:pt x="781050" y="359569"/>
                </a:lnTo>
                <a:lnTo>
                  <a:pt x="800100" y="359569"/>
                </a:lnTo>
                <a:lnTo>
                  <a:pt x="804863" y="292894"/>
                </a:lnTo>
                <a:lnTo>
                  <a:pt x="840581" y="254794"/>
                </a:lnTo>
                <a:lnTo>
                  <a:pt x="904875" y="269082"/>
                </a:lnTo>
                <a:lnTo>
                  <a:pt x="916781" y="238125"/>
                </a:lnTo>
                <a:lnTo>
                  <a:pt x="897731" y="185738"/>
                </a:lnTo>
                <a:lnTo>
                  <a:pt x="831056" y="202407"/>
                </a:lnTo>
                <a:lnTo>
                  <a:pt x="814388" y="216694"/>
                </a:lnTo>
                <a:lnTo>
                  <a:pt x="776288" y="214313"/>
                </a:lnTo>
                <a:lnTo>
                  <a:pt x="766763" y="242888"/>
                </a:lnTo>
                <a:lnTo>
                  <a:pt x="776288" y="273844"/>
                </a:lnTo>
                <a:lnTo>
                  <a:pt x="750094" y="271463"/>
                </a:lnTo>
                <a:lnTo>
                  <a:pt x="645319" y="216694"/>
                </a:lnTo>
                <a:lnTo>
                  <a:pt x="685800" y="161925"/>
                </a:lnTo>
                <a:lnTo>
                  <a:pt x="666750" y="133350"/>
                </a:lnTo>
                <a:lnTo>
                  <a:pt x="669131" y="78582"/>
                </a:lnTo>
                <a:lnTo>
                  <a:pt x="640556" y="69057"/>
                </a:lnTo>
                <a:lnTo>
                  <a:pt x="650081" y="0"/>
                </a:lnTo>
                <a:lnTo>
                  <a:pt x="600075" y="33338"/>
                </a:lnTo>
                <a:lnTo>
                  <a:pt x="581025" y="78582"/>
                </a:lnTo>
                <a:lnTo>
                  <a:pt x="488156" y="95250"/>
                </a:lnTo>
                <a:lnTo>
                  <a:pt x="488156" y="223838"/>
                </a:lnTo>
                <a:lnTo>
                  <a:pt x="454819" y="228600"/>
                </a:lnTo>
                <a:lnTo>
                  <a:pt x="404813" y="285750"/>
                </a:lnTo>
                <a:lnTo>
                  <a:pt x="373856" y="264319"/>
                </a:lnTo>
                <a:lnTo>
                  <a:pt x="328613" y="307182"/>
                </a:lnTo>
                <a:lnTo>
                  <a:pt x="350044" y="335757"/>
                </a:lnTo>
                <a:lnTo>
                  <a:pt x="259556" y="442913"/>
                </a:lnTo>
                <a:lnTo>
                  <a:pt x="221456" y="452438"/>
                </a:lnTo>
                <a:lnTo>
                  <a:pt x="123825" y="392907"/>
                </a:lnTo>
                <a:lnTo>
                  <a:pt x="111919" y="435769"/>
                </a:lnTo>
                <a:lnTo>
                  <a:pt x="97631" y="509588"/>
                </a:lnTo>
                <a:lnTo>
                  <a:pt x="64294" y="514350"/>
                </a:lnTo>
                <a:lnTo>
                  <a:pt x="21431" y="571500"/>
                </a:lnTo>
                <a:lnTo>
                  <a:pt x="26194" y="604838"/>
                </a:lnTo>
                <a:lnTo>
                  <a:pt x="16669" y="626269"/>
                </a:lnTo>
                <a:lnTo>
                  <a:pt x="0" y="616744"/>
                </a:lnTo>
                <a:lnTo>
                  <a:pt x="7144" y="661988"/>
                </a:lnTo>
                <a:lnTo>
                  <a:pt x="23813" y="676275"/>
                </a:lnTo>
                <a:lnTo>
                  <a:pt x="21431" y="695325"/>
                </a:lnTo>
                <a:lnTo>
                  <a:pt x="45244" y="726282"/>
                </a:lnTo>
                <a:lnTo>
                  <a:pt x="42863" y="759619"/>
                </a:lnTo>
                <a:lnTo>
                  <a:pt x="80963" y="773907"/>
                </a:lnTo>
                <a:lnTo>
                  <a:pt x="116681" y="795338"/>
                </a:lnTo>
                <a:lnTo>
                  <a:pt x="95250" y="833438"/>
                </a:lnTo>
                <a:lnTo>
                  <a:pt x="73819" y="831057"/>
                </a:lnTo>
                <a:lnTo>
                  <a:pt x="26194" y="881063"/>
                </a:lnTo>
                <a:lnTo>
                  <a:pt x="28575" y="890588"/>
                </a:lnTo>
                <a:lnTo>
                  <a:pt x="50006" y="914400"/>
                </a:lnTo>
                <a:lnTo>
                  <a:pt x="83344" y="888207"/>
                </a:lnTo>
                <a:lnTo>
                  <a:pt x="107156" y="888207"/>
                </a:lnTo>
                <a:lnTo>
                  <a:pt x="142875" y="923925"/>
                </a:lnTo>
                <a:lnTo>
                  <a:pt x="195263" y="912019"/>
                </a:lnTo>
                <a:lnTo>
                  <a:pt x="230981" y="885825"/>
                </a:lnTo>
                <a:lnTo>
                  <a:pt x="254794" y="902494"/>
                </a:lnTo>
                <a:lnTo>
                  <a:pt x="254794" y="954882"/>
                </a:lnTo>
                <a:close/>
              </a:path>
            </a:pathLst>
          </a:custGeom>
          <a:solidFill>
            <a:srgbClr val="FF0000">
              <a:alpha val="70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9" name="Полилиния 8"/>
          <p:cNvSpPr/>
          <p:nvPr/>
        </p:nvSpPr>
        <p:spPr>
          <a:xfrm>
            <a:off x="2043031" y="2900131"/>
            <a:ext cx="602273" cy="881429"/>
          </a:xfrm>
          <a:custGeom>
            <a:avLst/>
            <a:gdLst>
              <a:gd name="connsiteX0" fmla="*/ 228600 w 652462"/>
              <a:gd name="connsiteY0" fmla="*/ 147638 h 954882"/>
              <a:gd name="connsiteX1" fmla="*/ 283369 w 652462"/>
              <a:gd name="connsiteY1" fmla="*/ 142875 h 954882"/>
              <a:gd name="connsiteX2" fmla="*/ 447675 w 652462"/>
              <a:gd name="connsiteY2" fmla="*/ 0 h 954882"/>
              <a:gd name="connsiteX3" fmla="*/ 595312 w 652462"/>
              <a:gd name="connsiteY3" fmla="*/ 145257 h 954882"/>
              <a:gd name="connsiteX4" fmla="*/ 619125 w 652462"/>
              <a:gd name="connsiteY4" fmla="*/ 154782 h 954882"/>
              <a:gd name="connsiteX5" fmla="*/ 564356 w 652462"/>
              <a:gd name="connsiteY5" fmla="*/ 300038 h 954882"/>
              <a:gd name="connsiteX6" fmla="*/ 571500 w 652462"/>
              <a:gd name="connsiteY6" fmla="*/ 366713 h 954882"/>
              <a:gd name="connsiteX7" fmla="*/ 561975 w 652462"/>
              <a:gd name="connsiteY7" fmla="*/ 390525 h 954882"/>
              <a:gd name="connsiteX8" fmla="*/ 564356 w 652462"/>
              <a:gd name="connsiteY8" fmla="*/ 457200 h 954882"/>
              <a:gd name="connsiteX9" fmla="*/ 616744 w 652462"/>
              <a:gd name="connsiteY9" fmla="*/ 490538 h 954882"/>
              <a:gd name="connsiteX10" fmla="*/ 652462 w 652462"/>
              <a:gd name="connsiteY10" fmla="*/ 542925 h 954882"/>
              <a:gd name="connsiteX11" fmla="*/ 614362 w 652462"/>
              <a:gd name="connsiteY11" fmla="*/ 588169 h 954882"/>
              <a:gd name="connsiteX12" fmla="*/ 554831 w 652462"/>
              <a:gd name="connsiteY12" fmla="*/ 585788 h 954882"/>
              <a:gd name="connsiteX13" fmla="*/ 535781 w 652462"/>
              <a:gd name="connsiteY13" fmla="*/ 669132 h 954882"/>
              <a:gd name="connsiteX14" fmla="*/ 554831 w 652462"/>
              <a:gd name="connsiteY14" fmla="*/ 685800 h 954882"/>
              <a:gd name="connsiteX15" fmla="*/ 500062 w 652462"/>
              <a:gd name="connsiteY15" fmla="*/ 733425 h 954882"/>
              <a:gd name="connsiteX16" fmla="*/ 481012 w 652462"/>
              <a:gd name="connsiteY16" fmla="*/ 773907 h 954882"/>
              <a:gd name="connsiteX17" fmla="*/ 502444 w 652462"/>
              <a:gd name="connsiteY17" fmla="*/ 809625 h 954882"/>
              <a:gd name="connsiteX18" fmla="*/ 466725 w 652462"/>
              <a:gd name="connsiteY18" fmla="*/ 926307 h 954882"/>
              <a:gd name="connsiteX19" fmla="*/ 428625 w 652462"/>
              <a:gd name="connsiteY19" fmla="*/ 926307 h 954882"/>
              <a:gd name="connsiteX20" fmla="*/ 378619 w 652462"/>
              <a:gd name="connsiteY20" fmla="*/ 954882 h 954882"/>
              <a:gd name="connsiteX21" fmla="*/ 338137 w 652462"/>
              <a:gd name="connsiteY21" fmla="*/ 845344 h 954882"/>
              <a:gd name="connsiteX22" fmla="*/ 423862 w 652462"/>
              <a:gd name="connsiteY22" fmla="*/ 685800 h 954882"/>
              <a:gd name="connsiteX23" fmla="*/ 366712 w 652462"/>
              <a:gd name="connsiteY23" fmla="*/ 702469 h 954882"/>
              <a:gd name="connsiteX24" fmla="*/ 352425 w 652462"/>
              <a:gd name="connsiteY24" fmla="*/ 671513 h 954882"/>
              <a:gd name="connsiteX25" fmla="*/ 330994 w 652462"/>
              <a:gd name="connsiteY25" fmla="*/ 676275 h 954882"/>
              <a:gd name="connsiteX26" fmla="*/ 252412 w 652462"/>
              <a:gd name="connsiteY26" fmla="*/ 661988 h 954882"/>
              <a:gd name="connsiteX27" fmla="*/ 197644 w 652462"/>
              <a:gd name="connsiteY27" fmla="*/ 609600 h 954882"/>
              <a:gd name="connsiteX28" fmla="*/ 202406 w 652462"/>
              <a:gd name="connsiteY28" fmla="*/ 576263 h 954882"/>
              <a:gd name="connsiteX29" fmla="*/ 176212 w 652462"/>
              <a:gd name="connsiteY29" fmla="*/ 561975 h 954882"/>
              <a:gd name="connsiteX30" fmla="*/ 161925 w 652462"/>
              <a:gd name="connsiteY30" fmla="*/ 564357 h 954882"/>
              <a:gd name="connsiteX31" fmla="*/ 135731 w 652462"/>
              <a:gd name="connsiteY31" fmla="*/ 531019 h 954882"/>
              <a:gd name="connsiteX32" fmla="*/ 76200 w 652462"/>
              <a:gd name="connsiteY32" fmla="*/ 571500 h 954882"/>
              <a:gd name="connsiteX33" fmla="*/ 50006 w 652462"/>
              <a:gd name="connsiteY33" fmla="*/ 552450 h 954882"/>
              <a:gd name="connsiteX34" fmla="*/ 61912 w 652462"/>
              <a:gd name="connsiteY34" fmla="*/ 509588 h 954882"/>
              <a:gd name="connsiteX35" fmla="*/ 23812 w 652462"/>
              <a:gd name="connsiteY35" fmla="*/ 514350 h 954882"/>
              <a:gd name="connsiteX36" fmla="*/ 2381 w 652462"/>
              <a:gd name="connsiteY36" fmla="*/ 473869 h 954882"/>
              <a:gd name="connsiteX37" fmla="*/ 21431 w 652462"/>
              <a:gd name="connsiteY37" fmla="*/ 442913 h 954882"/>
              <a:gd name="connsiteX38" fmla="*/ 7144 w 652462"/>
              <a:gd name="connsiteY38" fmla="*/ 411957 h 954882"/>
              <a:gd name="connsiteX39" fmla="*/ 0 w 652462"/>
              <a:gd name="connsiteY39" fmla="*/ 357188 h 954882"/>
              <a:gd name="connsiteX40" fmla="*/ 16669 w 652462"/>
              <a:gd name="connsiteY40" fmla="*/ 319088 h 954882"/>
              <a:gd name="connsiteX41" fmla="*/ 0 w 652462"/>
              <a:gd name="connsiteY41" fmla="*/ 302419 h 954882"/>
              <a:gd name="connsiteX42" fmla="*/ 21431 w 652462"/>
              <a:gd name="connsiteY42" fmla="*/ 245269 h 954882"/>
              <a:gd name="connsiteX43" fmla="*/ 57150 w 652462"/>
              <a:gd name="connsiteY43" fmla="*/ 250032 h 954882"/>
              <a:gd name="connsiteX44" fmla="*/ 114300 w 652462"/>
              <a:gd name="connsiteY44" fmla="*/ 266700 h 954882"/>
              <a:gd name="connsiteX45" fmla="*/ 140494 w 652462"/>
              <a:gd name="connsiteY45" fmla="*/ 307182 h 954882"/>
              <a:gd name="connsiteX46" fmla="*/ 195262 w 652462"/>
              <a:gd name="connsiteY46" fmla="*/ 271463 h 954882"/>
              <a:gd name="connsiteX47" fmla="*/ 226219 w 652462"/>
              <a:gd name="connsiteY47" fmla="*/ 309563 h 954882"/>
              <a:gd name="connsiteX48" fmla="*/ 228600 w 652462"/>
              <a:gd name="connsiteY48" fmla="*/ 147638 h 954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52462" h="954882">
                <a:moveTo>
                  <a:pt x="228600" y="147638"/>
                </a:moveTo>
                <a:lnTo>
                  <a:pt x="283369" y="142875"/>
                </a:lnTo>
                <a:lnTo>
                  <a:pt x="447675" y="0"/>
                </a:lnTo>
                <a:lnTo>
                  <a:pt x="595312" y="145257"/>
                </a:lnTo>
                <a:lnTo>
                  <a:pt x="619125" y="154782"/>
                </a:lnTo>
                <a:lnTo>
                  <a:pt x="564356" y="300038"/>
                </a:lnTo>
                <a:lnTo>
                  <a:pt x="571500" y="366713"/>
                </a:lnTo>
                <a:lnTo>
                  <a:pt x="561975" y="390525"/>
                </a:lnTo>
                <a:cubicBezTo>
                  <a:pt x="562769" y="412750"/>
                  <a:pt x="563562" y="434975"/>
                  <a:pt x="564356" y="457200"/>
                </a:cubicBezTo>
                <a:lnTo>
                  <a:pt x="616744" y="490538"/>
                </a:lnTo>
                <a:lnTo>
                  <a:pt x="652462" y="542925"/>
                </a:lnTo>
                <a:lnTo>
                  <a:pt x="614362" y="588169"/>
                </a:lnTo>
                <a:lnTo>
                  <a:pt x="554831" y="585788"/>
                </a:lnTo>
                <a:lnTo>
                  <a:pt x="535781" y="669132"/>
                </a:lnTo>
                <a:lnTo>
                  <a:pt x="554831" y="685800"/>
                </a:lnTo>
                <a:lnTo>
                  <a:pt x="500062" y="733425"/>
                </a:lnTo>
                <a:lnTo>
                  <a:pt x="481012" y="773907"/>
                </a:lnTo>
                <a:lnTo>
                  <a:pt x="502444" y="809625"/>
                </a:lnTo>
                <a:lnTo>
                  <a:pt x="466725" y="926307"/>
                </a:lnTo>
                <a:lnTo>
                  <a:pt x="428625" y="926307"/>
                </a:lnTo>
                <a:lnTo>
                  <a:pt x="378619" y="954882"/>
                </a:lnTo>
                <a:lnTo>
                  <a:pt x="338137" y="845344"/>
                </a:lnTo>
                <a:lnTo>
                  <a:pt x="423862" y="685800"/>
                </a:lnTo>
                <a:lnTo>
                  <a:pt x="366712" y="702469"/>
                </a:lnTo>
                <a:lnTo>
                  <a:pt x="352425" y="671513"/>
                </a:lnTo>
                <a:lnTo>
                  <a:pt x="330994" y="676275"/>
                </a:lnTo>
                <a:lnTo>
                  <a:pt x="252412" y="661988"/>
                </a:lnTo>
                <a:lnTo>
                  <a:pt x="197644" y="609600"/>
                </a:lnTo>
                <a:lnTo>
                  <a:pt x="202406" y="576263"/>
                </a:lnTo>
                <a:lnTo>
                  <a:pt x="176212" y="561975"/>
                </a:lnTo>
                <a:lnTo>
                  <a:pt x="161925" y="564357"/>
                </a:lnTo>
                <a:lnTo>
                  <a:pt x="135731" y="531019"/>
                </a:lnTo>
                <a:lnTo>
                  <a:pt x="76200" y="571500"/>
                </a:lnTo>
                <a:lnTo>
                  <a:pt x="50006" y="552450"/>
                </a:lnTo>
                <a:lnTo>
                  <a:pt x="61912" y="509588"/>
                </a:lnTo>
                <a:lnTo>
                  <a:pt x="23812" y="514350"/>
                </a:lnTo>
                <a:lnTo>
                  <a:pt x="2381" y="473869"/>
                </a:lnTo>
                <a:lnTo>
                  <a:pt x="21431" y="442913"/>
                </a:lnTo>
                <a:lnTo>
                  <a:pt x="7144" y="411957"/>
                </a:lnTo>
                <a:lnTo>
                  <a:pt x="0" y="357188"/>
                </a:lnTo>
                <a:lnTo>
                  <a:pt x="16669" y="319088"/>
                </a:lnTo>
                <a:lnTo>
                  <a:pt x="0" y="302419"/>
                </a:lnTo>
                <a:lnTo>
                  <a:pt x="21431" y="245269"/>
                </a:lnTo>
                <a:lnTo>
                  <a:pt x="57150" y="250032"/>
                </a:lnTo>
                <a:lnTo>
                  <a:pt x="114300" y="266700"/>
                </a:lnTo>
                <a:lnTo>
                  <a:pt x="140494" y="307182"/>
                </a:lnTo>
                <a:lnTo>
                  <a:pt x="195262" y="271463"/>
                </a:lnTo>
                <a:lnTo>
                  <a:pt x="226219" y="309563"/>
                </a:lnTo>
                <a:cubicBezTo>
                  <a:pt x="227013" y="255588"/>
                  <a:pt x="227806" y="201613"/>
                  <a:pt x="228600" y="147638"/>
                </a:cubicBezTo>
                <a:close/>
              </a:path>
            </a:pathLst>
          </a:custGeom>
          <a:solidFill>
            <a:srgbClr val="FF0000">
              <a:alpha val="50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2081187" y="2561989"/>
            <a:ext cx="1861345" cy="2437699"/>
          </a:xfrm>
          <a:custGeom>
            <a:avLst/>
            <a:gdLst>
              <a:gd name="connsiteX0" fmla="*/ 655093 w 2016457"/>
              <a:gd name="connsiteY0" fmla="*/ 2640841 h 2640841"/>
              <a:gd name="connsiteX1" fmla="*/ 723331 w 2016457"/>
              <a:gd name="connsiteY1" fmla="*/ 2558955 h 2640841"/>
              <a:gd name="connsiteX2" fmla="*/ 760863 w 2016457"/>
              <a:gd name="connsiteY2" fmla="*/ 2487304 h 2640841"/>
              <a:gd name="connsiteX3" fmla="*/ 1122528 w 2016457"/>
              <a:gd name="connsiteY3" fmla="*/ 2333767 h 2640841"/>
              <a:gd name="connsiteX4" fmla="*/ 1204415 w 2016457"/>
              <a:gd name="connsiteY4" fmla="*/ 2265528 h 2640841"/>
              <a:gd name="connsiteX5" fmla="*/ 1299949 w 2016457"/>
              <a:gd name="connsiteY5" fmla="*/ 2231409 h 2640841"/>
              <a:gd name="connsiteX6" fmla="*/ 1364776 w 2016457"/>
              <a:gd name="connsiteY6" fmla="*/ 2180230 h 2640841"/>
              <a:gd name="connsiteX7" fmla="*/ 1395484 w 2016457"/>
              <a:gd name="connsiteY7" fmla="*/ 2060812 h 2640841"/>
              <a:gd name="connsiteX8" fmla="*/ 1429603 w 2016457"/>
              <a:gd name="connsiteY8" fmla="*/ 1989161 h 2640841"/>
              <a:gd name="connsiteX9" fmla="*/ 1473958 w 2016457"/>
              <a:gd name="connsiteY9" fmla="*/ 1951630 h 2640841"/>
              <a:gd name="connsiteX10" fmla="*/ 1613848 w 2016457"/>
              <a:gd name="connsiteY10" fmla="*/ 1927746 h 2640841"/>
              <a:gd name="connsiteX11" fmla="*/ 1671851 w 2016457"/>
              <a:gd name="connsiteY11" fmla="*/ 1893627 h 2640841"/>
              <a:gd name="connsiteX12" fmla="*/ 1712794 w 2016457"/>
              <a:gd name="connsiteY12" fmla="*/ 1808328 h 2640841"/>
              <a:gd name="connsiteX13" fmla="*/ 1719618 w 2016457"/>
              <a:gd name="connsiteY13" fmla="*/ 1647967 h 2640841"/>
              <a:gd name="connsiteX14" fmla="*/ 1794681 w 2016457"/>
              <a:gd name="connsiteY14" fmla="*/ 1426191 h 2640841"/>
              <a:gd name="connsiteX15" fmla="*/ 1811740 w 2016457"/>
              <a:gd name="connsiteY15" fmla="*/ 1306773 h 2640841"/>
              <a:gd name="connsiteX16" fmla="*/ 1917510 w 2016457"/>
              <a:gd name="connsiteY16" fmla="*/ 1313597 h 2640841"/>
              <a:gd name="connsiteX17" fmla="*/ 1958454 w 2016457"/>
              <a:gd name="connsiteY17" fmla="*/ 1221474 h 2640841"/>
              <a:gd name="connsiteX18" fmla="*/ 1852684 w 2016457"/>
              <a:gd name="connsiteY18" fmla="*/ 1156647 h 2640841"/>
              <a:gd name="connsiteX19" fmla="*/ 1852684 w 2016457"/>
              <a:gd name="connsiteY19" fmla="*/ 1156647 h 2640841"/>
              <a:gd name="connsiteX20" fmla="*/ 1811740 w 2016457"/>
              <a:gd name="connsiteY20" fmla="*/ 1132764 h 2640841"/>
              <a:gd name="connsiteX21" fmla="*/ 1791269 w 2016457"/>
              <a:gd name="connsiteY21" fmla="*/ 1119116 h 2640841"/>
              <a:gd name="connsiteX22" fmla="*/ 1852684 w 2016457"/>
              <a:gd name="connsiteY22" fmla="*/ 1057701 h 2640841"/>
              <a:gd name="connsiteX23" fmla="*/ 1907275 w 2016457"/>
              <a:gd name="connsiteY23" fmla="*/ 1040641 h 2640841"/>
              <a:gd name="connsiteX24" fmla="*/ 1900451 w 2016457"/>
              <a:gd name="connsiteY24" fmla="*/ 1030406 h 2640841"/>
              <a:gd name="connsiteX25" fmla="*/ 1886803 w 2016457"/>
              <a:gd name="connsiteY25" fmla="*/ 1016758 h 2640841"/>
              <a:gd name="connsiteX26" fmla="*/ 1842448 w 2016457"/>
              <a:gd name="connsiteY26" fmla="*/ 931459 h 2640841"/>
              <a:gd name="connsiteX27" fmla="*/ 1842448 w 2016457"/>
              <a:gd name="connsiteY27" fmla="*/ 798394 h 2640841"/>
              <a:gd name="connsiteX28" fmla="*/ 1907275 w 2016457"/>
              <a:gd name="connsiteY28" fmla="*/ 777922 h 2640841"/>
              <a:gd name="connsiteX29" fmla="*/ 1876567 w 2016457"/>
              <a:gd name="connsiteY29" fmla="*/ 740391 h 2640841"/>
              <a:gd name="connsiteX30" fmla="*/ 1890215 w 2016457"/>
              <a:gd name="connsiteY30" fmla="*/ 696036 h 2640841"/>
              <a:gd name="connsiteX31" fmla="*/ 1897039 w 2016457"/>
              <a:gd name="connsiteY31" fmla="*/ 648268 h 2640841"/>
              <a:gd name="connsiteX32" fmla="*/ 1965278 w 2016457"/>
              <a:gd name="connsiteY32" fmla="*/ 658504 h 2640841"/>
              <a:gd name="connsiteX33" fmla="*/ 2016457 w 2016457"/>
              <a:gd name="connsiteY33" fmla="*/ 631209 h 2640841"/>
              <a:gd name="connsiteX34" fmla="*/ 2002809 w 2016457"/>
              <a:gd name="connsiteY34" fmla="*/ 474259 h 2640841"/>
              <a:gd name="connsiteX35" fmla="*/ 1972101 w 2016457"/>
              <a:gd name="connsiteY35" fmla="*/ 450376 h 2640841"/>
              <a:gd name="connsiteX36" fmla="*/ 1661615 w 2016457"/>
              <a:gd name="connsiteY36" fmla="*/ 436728 h 2640841"/>
              <a:gd name="connsiteX37" fmla="*/ 1658203 w 2016457"/>
              <a:gd name="connsiteY37" fmla="*/ 361665 h 2640841"/>
              <a:gd name="connsiteX38" fmla="*/ 1627496 w 2016457"/>
              <a:gd name="connsiteY38" fmla="*/ 361665 h 2640841"/>
              <a:gd name="connsiteX39" fmla="*/ 1473958 w 2016457"/>
              <a:gd name="connsiteY39" fmla="*/ 221776 h 2640841"/>
              <a:gd name="connsiteX40" fmla="*/ 1446663 w 2016457"/>
              <a:gd name="connsiteY40" fmla="*/ 232012 h 2640841"/>
              <a:gd name="connsiteX41" fmla="*/ 1306773 w 2016457"/>
              <a:gd name="connsiteY41" fmla="*/ 143301 h 2640841"/>
              <a:gd name="connsiteX42" fmla="*/ 1323833 w 2016457"/>
              <a:gd name="connsiteY42" fmla="*/ 109182 h 2640841"/>
              <a:gd name="connsiteX43" fmla="*/ 1282890 w 2016457"/>
              <a:gd name="connsiteY43" fmla="*/ 61415 h 2640841"/>
              <a:gd name="connsiteX44" fmla="*/ 1218063 w 2016457"/>
              <a:gd name="connsiteY44" fmla="*/ 98946 h 2640841"/>
              <a:gd name="connsiteX45" fmla="*/ 1211239 w 2016457"/>
              <a:gd name="connsiteY45" fmla="*/ 68239 h 2640841"/>
              <a:gd name="connsiteX46" fmla="*/ 1160060 w 2016457"/>
              <a:gd name="connsiteY46" fmla="*/ 30707 h 2640841"/>
              <a:gd name="connsiteX47" fmla="*/ 1149824 w 2016457"/>
              <a:gd name="connsiteY47" fmla="*/ 0 h 2640841"/>
              <a:gd name="connsiteX48" fmla="*/ 1122528 w 2016457"/>
              <a:gd name="connsiteY48" fmla="*/ 47767 h 2640841"/>
              <a:gd name="connsiteX49" fmla="*/ 1071349 w 2016457"/>
              <a:gd name="connsiteY49" fmla="*/ 3412 h 2640841"/>
              <a:gd name="connsiteX50" fmla="*/ 1003110 w 2016457"/>
              <a:gd name="connsiteY50" fmla="*/ 23883 h 2640841"/>
              <a:gd name="connsiteX51" fmla="*/ 842749 w 2016457"/>
              <a:gd name="connsiteY51" fmla="*/ 6824 h 2640841"/>
              <a:gd name="connsiteX52" fmla="*/ 808630 w 2016457"/>
              <a:gd name="connsiteY52" fmla="*/ 34119 h 2640841"/>
              <a:gd name="connsiteX53" fmla="*/ 832513 w 2016457"/>
              <a:gd name="connsiteY53" fmla="*/ 68239 h 2640841"/>
              <a:gd name="connsiteX54" fmla="*/ 805218 w 2016457"/>
              <a:gd name="connsiteY54" fmla="*/ 95534 h 2640841"/>
              <a:gd name="connsiteX55" fmla="*/ 794982 w 2016457"/>
              <a:gd name="connsiteY55" fmla="*/ 88710 h 2640841"/>
              <a:gd name="connsiteX56" fmla="*/ 788158 w 2016457"/>
              <a:gd name="connsiteY56" fmla="*/ 64827 h 2640841"/>
              <a:gd name="connsiteX57" fmla="*/ 699448 w 2016457"/>
              <a:gd name="connsiteY57" fmla="*/ 71650 h 2640841"/>
              <a:gd name="connsiteX58" fmla="*/ 569794 w 2016457"/>
              <a:gd name="connsiteY58" fmla="*/ 122830 h 2640841"/>
              <a:gd name="connsiteX59" fmla="*/ 573206 w 2016457"/>
              <a:gd name="connsiteY59" fmla="*/ 150125 h 2640841"/>
              <a:gd name="connsiteX60" fmla="*/ 539087 w 2016457"/>
              <a:gd name="connsiteY60" fmla="*/ 160361 h 2640841"/>
              <a:gd name="connsiteX61" fmla="*/ 532263 w 2016457"/>
              <a:gd name="connsiteY61" fmla="*/ 133065 h 2640841"/>
              <a:gd name="connsiteX62" fmla="*/ 467436 w 2016457"/>
              <a:gd name="connsiteY62" fmla="*/ 156949 h 2640841"/>
              <a:gd name="connsiteX63" fmla="*/ 528851 w 2016457"/>
              <a:gd name="connsiteY63" fmla="*/ 327546 h 2640841"/>
              <a:gd name="connsiteX64" fmla="*/ 426493 w 2016457"/>
              <a:gd name="connsiteY64" fmla="*/ 375313 h 2640841"/>
              <a:gd name="connsiteX65" fmla="*/ 559558 w 2016457"/>
              <a:gd name="connsiteY65" fmla="*/ 511791 h 2640841"/>
              <a:gd name="connsiteX66" fmla="*/ 586854 w 2016457"/>
              <a:gd name="connsiteY66" fmla="*/ 515203 h 2640841"/>
              <a:gd name="connsiteX67" fmla="*/ 525439 w 2016457"/>
              <a:gd name="connsiteY67" fmla="*/ 678976 h 2640841"/>
              <a:gd name="connsiteX68" fmla="*/ 528851 w 2016457"/>
              <a:gd name="connsiteY68" fmla="*/ 829101 h 2640841"/>
              <a:gd name="connsiteX69" fmla="*/ 576618 w 2016457"/>
              <a:gd name="connsiteY69" fmla="*/ 856397 h 2640841"/>
              <a:gd name="connsiteX70" fmla="*/ 607325 w 2016457"/>
              <a:gd name="connsiteY70" fmla="*/ 917812 h 2640841"/>
              <a:gd name="connsiteX71" fmla="*/ 556146 w 2016457"/>
              <a:gd name="connsiteY71" fmla="*/ 958755 h 2640841"/>
              <a:gd name="connsiteX72" fmla="*/ 515203 w 2016457"/>
              <a:gd name="connsiteY72" fmla="*/ 948519 h 2640841"/>
              <a:gd name="connsiteX73" fmla="*/ 504967 w 2016457"/>
              <a:gd name="connsiteY73" fmla="*/ 1037230 h 2640841"/>
              <a:gd name="connsiteX74" fmla="*/ 522027 w 2016457"/>
              <a:gd name="connsiteY74" fmla="*/ 1054289 h 2640841"/>
              <a:gd name="connsiteX75" fmla="*/ 460612 w 2016457"/>
              <a:gd name="connsiteY75" fmla="*/ 1098644 h 2640841"/>
              <a:gd name="connsiteX76" fmla="*/ 440140 w 2016457"/>
              <a:gd name="connsiteY76" fmla="*/ 1156647 h 2640841"/>
              <a:gd name="connsiteX77" fmla="*/ 460612 w 2016457"/>
              <a:gd name="connsiteY77" fmla="*/ 1173707 h 2640841"/>
              <a:gd name="connsiteX78" fmla="*/ 436728 w 2016457"/>
              <a:gd name="connsiteY78" fmla="*/ 1241946 h 2640841"/>
              <a:gd name="connsiteX79" fmla="*/ 426493 w 2016457"/>
              <a:gd name="connsiteY79" fmla="*/ 1282889 h 2640841"/>
              <a:gd name="connsiteX80" fmla="*/ 399197 w 2016457"/>
              <a:gd name="connsiteY80" fmla="*/ 1293125 h 2640841"/>
              <a:gd name="connsiteX81" fmla="*/ 392373 w 2016457"/>
              <a:gd name="connsiteY81" fmla="*/ 1357952 h 2640841"/>
              <a:gd name="connsiteX82" fmla="*/ 409433 w 2016457"/>
              <a:gd name="connsiteY82" fmla="*/ 1364776 h 2640841"/>
              <a:gd name="connsiteX83" fmla="*/ 409433 w 2016457"/>
              <a:gd name="connsiteY83" fmla="*/ 1422779 h 2640841"/>
              <a:gd name="connsiteX84" fmla="*/ 429904 w 2016457"/>
              <a:gd name="connsiteY84" fmla="*/ 1446662 h 2640841"/>
              <a:gd name="connsiteX85" fmla="*/ 395785 w 2016457"/>
              <a:gd name="connsiteY85" fmla="*/ 1511489 h 2640841"/>
              <a:gd name="connsiteX86" fmla="*/ 515203 w 2016457"/>
              <a:gd name="connsiteY86" fmla="*/ 1562668 h 2640841"/>
              <a:gd name="connsiteX87" fmla="*/ 511791 w 2016457"/>
              <a:gd name="connsiteY87" fmla="*/ 1497841 h 2640841"/>
              <a:gd name="connsiteX88" fmla="*/ 569794 w 2016457"/>
              <a:gd name="connsiteY88" fmla="*/ 1508077 h 2640841"/>
              <a:gd name="connsiteX89" fmla="*/ 573206 w 2016457"/>
              <a:gd name="connsiteY89" fmla="*/ 1484194 h 2640841"/>
              <a:gd name="connsiteX90" fmla="*/ 631209 w 2016457"/>
              <a:gd name="connsiteY90" fmla="*/ 1473958 h 2640841"/>
              <a:gd name="connsiteX91" fmla="*/ 665328 w 2016457"/>
              <a:gd name="connsiteY91" fmla="*/ 1535373 h 2640841"/>
              <a:gd name="connsiteX92" fmla="*/ 651681 w 2016457"/>
              <a:gd name="connsiteY92" fmla="*/ 1562668 h 2640841"/>
              <a:gd name="connsiteX93" fmla="*/ 580030 w 2016457"/>
              <a:gd name="connsiteY93" fmla="*/ 1545609 h 2640841"/>
              <a:gd name="connsiteX94" fmla="*/ 545910 w 2016457"/>
              <a:gd name="connsiteY94" fmla="*/ 1583140 h 2640841"/>
              <a:gd name="connsiteX95" fmla="*/ 539087 w 2016457"/>
              <a:gd name="connsiteY95" fmla="*/ 1658203 h 2640841"/>
              <a:gd name="connsiteX96" fmla="*/ 474260 w 2016457"/>
              <a:gd name="connsiteY96" fmla="*/ 1647967 h 2640841"/>
              <a:gd name="connsiteX97" fmla="*/ 467436 w 2016457"/>
              <a:gd name="connsiteY97" fmla="*/ 1699146 h 2640841"/>
              <a:gd name="connsiteX98" fmla="*/ 412845 w 2016457"/>
              <a:gd name="connsiteY98" fmla="*/ 1726441 h 2640841"/>
              <a:gd name="connsiteX99" fmla="*/ 443552 w 2016457"/>
              <a:gd name="connsiteY99" fmla="*/ 1818564 h 2640841"/>
              <a:gd name="connsiteX100" fmla="*/ 351430 w 2016457"/>
              <a:gd name="connsiteY100" fmla="*/ 1862919 h 2640841"/>
              <a:gd name="connsiteX101" fmla="*/ 354842 w 2016457"/>
              <a:gd name="connsiteY101" fmla="*/ 1890215 h 2640841"/>
              <a:gd name="connsiteX102" fmla="*/ 416257 w 2016457"/>
              <a:gd name="connsiteY102" fmla="*/ 1978925 h 2640841"/>
              <a:gd name="connsiteX103" fmla="*/ 487907 w 2016457"/>
              <a:gd name="connsiteY103" fmla="*/ 1978925 h 2640841"/>
              <a:gd name="connsiteX104" fmla="*/ 511791 w 2016457"/>
              <a:gd name="connsiteY104" fmla="*/ 2016456 h 2640841"/>
              <a:gd name="connsiteX105" fmla="*/ 501555 w 2016457"/>
              <a:gd name="connsiteY105" fmla="*/ 2197289 h 2640841"/>
              <a:gd name="connsiteX106" fmla="*/ 419669 w 2016457"/>
              <a:gd name="connsiteY106" fmla="*/ 2183641 h 2640841"/>
              <a:gd name="connsiteX107" fmla="*/ 412845 w 2016457"/>
              <a:gd name="connsiteY107" fmla="*/ 2214349 h 2640841"/>
              <a:gd name="connsiteX108" fmla="*/ 365078 w 2016457"/>
              <a:gd name="connsiteY108" fmla="*/ 2221173 h 2640841"/>
              <a:gd name="connsiteX109" fmla="*/ 371901 w 2016457"/>
              <a:gd name="connsiteY109" fmla="*/ 2275764 h 2640841"/>
              <a:gd name="connsiteX110" fmla="*/ 259307 w 2016457"/>
              <a:gd name="connsiteY110" fmla="*/ 2248468 h 2640841"/>
              <a:gd name="connsiteX111" fmla="*/ 259307 w 2016457"/>
              <a:gd name="connsiteY111" fmla="*/ 2224585 h 2640841"/>
              <a:gd name="connsiteX112" fmla="*/ 68239 w 2016457"/>
              <a:gd name="connsiteY112" fmla="*/ 2227997 h 2640841"/>
              <a:gd name="connsiteX113" fmla="*/ 44355 w 2016457"/>
              <a:gd name="connsiteY113" fmla="*/ 2258704 h 2640841"/>
              <a:gd name="connsiteX114" fmla="*/ 0 w 2016457"/>
              <a:gd name="connsiteY114" fmla="*/ 2255292 h 2640841"/>
              <a:gd name="connsiteX115" fmla="*/ 3412 w 2016457"/>
              <a:gd name="connsiteY115" fmla="*/ 2422477 h 2640841"/>
              <a:gd name="connsiteX116" fmla="*/ 54591 w 2016457"/>
              <a:gd name="connsiteY116" fmla="*/ 2425889 h 2640841"/>
              <a:gd name="connsiteX117" fmla="*/ 44355 w 2016457"/>
              <a:gd name="connsiteY117" fmla="*/ 2494128 h 2640841"/>
              <a:gd name="connsiteX118" fmla="*/ 184245 w 2016457"/>
              <a:gd name="connsiteY118" fmla="*/ 2470244 h 2640841"/>
              <a:gd name="connsiteX119" fmla="*/ 197893 w 2016457"/>
              <a:gd name="connsiteY119" fmla="*/ 2425889 h 2640841"/>
              <a:gd name="connsiteX120" fmla="*/ 221776 w 2016457"/>
              <a:gd name="connsiteY120" fmla="*/ 2378122 h 2640841"/>
              <a:gd name="connsiteX121" fmla="*/ 290015 w 2016457"/>
              <a:gd name="connsiteY121" fmla="*/ 2347415 h 2640841"/>
              <a:gd name="connsiteX122" fmla="*/ 361666 w 2016457"/>
              <a:gd name="connsiteY122" fmla="*/ 2323531 h 2640841"/>
              <a:gd name="connsiteX123" fmla="*/ 412845 w 2016457"/>
              <a:gd name="connsiteY123" fmla="*/ 2320119 h 2640841"/>
              <a:gd name="connsiteX124" fmla="*/ 457200 w 2016457"/>
              <a:gd name="connsiteY124" fmla="*/ 2354239 h 2640841"/>
              <a:gd name="connsiteX125" fmla="*/ 528851 w 2016457"/>
              <a:gd name="connsiteY125" fmla="*/ 2391770 h 2640841"/>
              <a:gd name="connsiteX126" fmla="*/ 542498 w 2016457"/>
              <a:gd name="connsiteY126" fmla="*/ 2439537 h 2640841"/>
              <a:gd name="connsiteX127" fmla="*/ 583442 w 2016457"/>
              <a:gd name="connsiteY127" fmla="*/ 2436125 h 2640841"/>
              <a:gd name="connsiteX128" fmla="*/ 586854 w 2016457"/>
              <a:gd name="connsiteY128" fmla="*/ 2483892 h 2640841"/>
              <a:gd name="connsiteX129" fmla="*/ 627797 w 2016457"/>
              <a:gd name="connsiteY129" fmla="*/ 2494128 h 2640841"/>
              <a:gd name="connsiteX130" fmla="*/ 624385 w 2016457"/>
              <a:gd name="connsiteY130" fmla="*/ 2538483 h 2640841"/>
              <a:gd name="connsiteX131" fmla="*/ 614149 w 2016457"/>
              <a:gd name="connsiteY131" fmla="*/ 2593074 h 2640841"/>
              <a:gd name="connsiteX132" fmla="*/ 655093 w 2016457"/>
              <a:gd name="connsiteY132" fmla="*/ 2640841 h 2640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</a:cxnLst>
            <a:rect l="l" t="t" r="r" b="b"/>
            <a:pathLst>
              <a:path w="2016457" h="2640841">
                <a:moveTo>
                  <a:pt x="655093" y="2640841"/>
                </a:moveTo>
                <a:lnTo>
                  <a:pt x="723331" y="2558955"/>
                </a:lnTo>
                <a:lnTo>
                  <a:pt x="760863" y="2487304"/>
                </a:lnTo>
                <a:lnTo>
                  <a:pt x="1122528" y="2333767"/>
                </a:lnTo>
                <a:lnTo>
                  <a:pt x="1204415" y="2265528"/>
                </a:lnTo>
                <a:lnTo>
                  <a:pt x="1299949" y="2231409"/>
                </a:lnTo>
                <a:lnTo>
                  <a:pt x="1364776" y="2180230"/>
                </a:lnTo>
                <a:lnTo>
                  <a:pt x="1395484" y="2060812"/>
                </a:lnTo>
                <a:lnTo>
                  <a:pt x="1429603" y="1989161"/>
                </a:lnTo>
                <a:lnTo>
                  <a:pt x="1473958" y="1951630"/>
                </a:lnTo>
                <a:lnTo>
                  <a:pt x="1613848" y="1927746"/>
                </a:lnTo>
                <a:lnTo>
                  <a:pt x="1671851" y="1893627"/>
                </a:lnTo>
                <a:lnTo>
                  <a:pt x="1712794" y="1808328"/>
                </a:lnTo>
                <a:lnTo>
                  <a:pt x="1719618" y="1647967"/>
                </a:lnTo>
                <a:lnTo>
                  <a:pt x="1794681" y="1426191"/>
                </a:lnTo>
                <a:lnTo>
                  <a:pt x="1811740" y="1306773"/>
                </a:lnTo>
                <a:lnTo>
                  <a:pt x="1917510" y="1313597"/>
                </a:lnTo>
                <a:lnTo>
                  <a:pt x="1958454" y="1221474"/>
                </a:lnTo>
                <a:lnTo>
                  <a:pt x="1852684" y="1156647"/>
                </a:lnTo>
                <a:lnTo>
                  <a:pt x="1852684" y="1156647"/>
                </a:lnTo>
                <a:lnTo>
                  <a:pt x="1811740" y="1132764"/>
                </a:lnTo>
                <a:lnTo>
                  <a:pt x="1791269" y="1119116"/>
                </a:lnTo>
                <a:lnTo>
                  <a:pt x="1852684" y="1057701"/>
                </a:lnTo>
                <a:lnTo>
                  <a:pt x="1907275" y="1040641"/>
                </a:lnTo>
                <a:lnTo>
                  <a:pt x="1900451" y="1030406"/>
                </a:lnTo>
                <a:lnTo>
                  <a:pt x="1886803" y="1016758"/>
                </a:lnTo>
                <a:lnTo>
                  <a:pt x="1842448" y="931459"/>
                </a:lnTo>
                <a:lnTo>
                  <a:pt x="1842448" y="798394"/>
                </a:lnTo>
                <a:lnTo>
                  <a:pt x="1907275" y="777922"/>
                </a:lnTo>
                <a:lnTo>
                  <a:pt x="1876567" y="740391"/>
                </a:lnTo>
                <a:lnTo>
                  <a:pt x="1890215" y="696036"/>
                </a:lnTo>
                <a:lnTo>
                  <a:pt x="1897039" y="648268"/>
                </a:lnTo>
                <a:lnTo>
                  <a:pt x="1965278" y="658504"/>
                </a:lnTo>
                <a:lnTo>
                  <a:pt x="2016457" y="631209"/>
                </a:lnTo>
                <a:lnTo>
                  <a:pt x="2002809" y="474259"/>
                </a:lnTo>
                <a:lnTo>
                  <a:pt x="1972101" y="450376"/>
                </a:lnTo>
                <a:lnTo>
                  <a:pt x="1661615" y="436728"/>
                </a:lnTo>
                <a:lnTo>
                  <a:pt x="1658203" y="361665"/>
                </a:lnTo>
                <a:lnTo>
                  <a:pt x="1627496" y="361665"/>
                </a:lnTo>
                <a:lnTo>
                  <a:pt x="1473958" y="221776"/>
                </a:lnTo>
                <a:lnTo>
                  <a:pt x="1446663" y="232012"/>
                </a:lnTo>
                <a:lnTo>
                  <a:pt x="1306773" y="143301"/>
                </a:lnTo>
                <a:lnTo>
                  <a:pt x="1323833" y="109182"/>
                </a:lnTo>
                <a:lnTo>
                  <a:pt x="1282890" y="61415"/>
                </a:lnTo>
                <a:lnTo>
                  <a:pt x="1218063" y="98946"/>
                </a:lnTo>
                <a:lnTo>
                  <a:pt x="1211239" y="68239"/>
                </a:lnTo>
                <a:lnTo>
                  <a:pt x="1160060" y="30707"/>
                </a:lnTo>
                <a:lnTo>
                  <a:pt x="1149824" y="0"/>
                </a:lnTo>
                <a:lnTo>
                  <a:pt x="1122528" y="47767"/>
                </a:lnTo>
                <a:lnTo>
                  <a:pt x="1071349" y="3412"/>
                </a:lnTo>
                <a:lnTo>
                  <a:pt x="1003110" y="23883"/>
                </a:lnTo>
                <a:lnTo>
                  <a:pt x="842749" y="6824"/>
                </a:lnTo>
                <a:lnTo>
                  <a:pt x="808630" y="34119"/>
                </a:lnTo>
                <a:lnTo>
                  <a:pt x="832513" y="68239"/>
                </a:lnTo>
                <a:lnTo>
                  <a:pt x="805218" y="95534"/>
                </a:lnTo>
                <a:lnTo>
                  <a:pt x="794982" y="88710"/>
                </a:lnTo>
                <a:lnTo>
                  <a:pt x="788158" y="64827"/>
                </a:lnTo>
                <a:lnTo>
                  <a:pt x="699448" y="71650"/>
                </a:lnTo>
                <a:lnTo>
                  <a:pt x="569794" y="122830"/>
                </a:lnTo>
                <a:lnTo>
                  <a:pt x="573206" y="150125"/>
                </a:lnTo>
                <a:lnTo>
                  <a:pt x="539087" y="160361"/>
                </a:lnTo>
                <a:lnTo>
                  <a:pt x="532263" y="133065"/>
                </a:lnTo>
                <a:lnTo>
                  <a:pt x="467436" y="156949"/>
                </a:lnTo>
                <a:lnTo>
                  <a:pt x="528851" y="327546"/>
                </a:lnTo>
                <a:lnTo>
                  <a:pt x="426493" y="375313"/>
                </a:lnTo>
                <a:lnTo>
                  <a:pt x="559558" y="511791"/>
                </a:lnTo>
                <a:lnTo>
                  <a:pt x="586854" y="515203"/>
                </a:lnTo>
                <a:lnTo>
                  <a:pt x="525439" y="678976"/>
                </a:lnTo>
                <a:cubicBezTo>
                  <a:pt x="526576" y="729018"/>
                  <a:pt x="527714" y="779059"/>
                  <a:pt x="528851" y="829101"/>
                </a:cubicBezTo>
                <a:lnTo>
                  <a:pt x="576618" y="856397"/>
                </a:lnTo>
                <a:lnTo>
                  <a:pt x="607325" y="917812"/>
                </a:lnTo>
                <a:lnTo>
                  <a:pt x="556146" y="958755"/>
                </a:lnTo>
                <a:lnTo>
                  <a:pt x="515203" y="948519"/>
                </a:lnTo>
                <a:lnTo>
                  <a:pt x="504967" y="1037230"/>
                </a:lnTo>
                <a:lnTo>
                  <a:pt x="522027" y="1054289"/>
                </a:lnTo>
                <a:lnTo>
                  <a:pt x="460612" y="1098644"/>
                </a:lnTo>
                <a:lnTo>
                  <a:pt x="440140" y="1156647"/>
                </a:lnTo>
                <a:lnTo>
                  <a:pt x="460612" y="1173707"/>
                </a:lnTo>
                <a:lnTo>
                  <a:pt x="436728" y="1241946"/>
                </a:lnTo>
                <a:lnTo>
                  <a:pt x="426493" y="1282889"/>
                </a:lnTo>
                <a:lnTo>
                  <a:pt x="399197" y="1293125"/>
                </a:lnTo>
                <a:lnTo>
                  <a:pt x="392373" y="1357952"/>
                </a:lnTo>
                <a:lnTo>
                  <a:pt x="409433" y="1364776"/>
                </a:lnTo>
                <a:lnTo>
                  <a:pt x="409433" y="1422779"/>
                </a:lnTo>
                <a:lnTo>
                  <a:pt x="429904" y="1446662"/>
                </a:lnTo>
                <a:lnTo>
                  <a:pt x="395785" y="1511489"/>
                </a:lnTo>
                <a:lnTo>
                  <a:pt x="515203" y="1562668"/>
                </a:lnTo>
                <a:lnTo>
                  <a:pt x="511791" y="1497841"/>
                </a:lnTo>
                <a:lnTo>
                  <a:pt x="569794" y="1508077"/>
                </a:lnTo>
                <a:lnTo>
                  <a:pt x="573206" y="1484194"/>
                </a:lnTo>
                <a:lnTo>
                  <a:pt x="631209" y="1473958"/>
                </a:lnTo>
                <a:lnTo>
                  <a:pt x="665328" y="1535373"/>
                </a:lnTo>
                <a:lnTo>
                  <a:pt x="651681" y="1562668"/>
                </a:lnTo>
                <a:lnTo>
                  <a:pt x="580030" y="1545609"/>
                </a:lnTo>
                <a:lnTo>
                  <a:pt x="545910" y="1583140"/>
                </a:lnTo>
                <a:lnTo>
                  <a:pt x="539087" y="1658203"/>
                </a:lnTo>
                <a:lnTo>
                  <a:pt x="474260" y="1647967"/>
                </a:lnTo>
                <a:lnTo>
                  <a:pt x="467436" y="1699146"/>
                </a:lnTo>
                <a:lnTo>
                  <a:pt x="412845" y="1726441"/>
                </a:lnTo>
                <a:lnTo>
                  <a:pt x="443552" y="1818564"/>
                </a:lnTo>
                <a:lnTo>
                  <a:pt x="351430" y="1862919"/>
                </a:lnTo>
                <a:lnTo>
                  <a:pt x="354842" y="1890215"/>
                </a:lnTo>
                <a:lnTo>
                  <a:pt x="416257" y="1978925"/>
                </a:lnTo>
                <a:lnTo>
                  <a:pt x="487907" y="1978925"/>
                </a:lnTo>
                <a:lnTo>
                  <a:pt x="511791" y="2016456"/>
                </a:lnTo>
                <a:lnTo>
                  <a:pt x="501555" y="2197289"/>
                </a:lnTo>
                <a:lnTo>
                  <a:pt x="419669" y="2183641"/>
                </a:lnTo>
                <a:lnTo>
                  <a:pt x="412845" y="2214349"/>
                </a:lnTo>
                <a:lnTo>
                  <a:pt x="365078" y="2221173"/>
                </a:lnTo>
                <a:lnTo>
                  <a:pt x="371901" y="2275764"/>
                </a:lnTo>
                <a:lnTo>
                  <a:pt x="259307" y="2248468"/>
                </a:lnTo>
                <a:lnTo>
                  <a:pt x="259307" y="2224585"/>
                </a:lnTo>
                <a:lnTo>
                  <a:pt x="68239" y="2227997"/>
                </a:lnTo>
                <a:lnTo>
                  <a:pt x="44355" y="2258704"/>
                </a:lnTo>
                <a:lnTo>
                  <a:pt x="0" y="2255292"/>
                </a:lnTo>
                <a:cubicBezTo>
                  <a:pt x="1137" y="2311020"/>
                  <a:pt x="2275" y="2366749"/>
                  <a:pt x="3412" y="2422477"/>
                </a:cubicBezTo>
                <a:lnTo>
                  <a:pt x="54591" y="2425889"/>
                </a:lnTo>
                <a:lnTo>
                  <a:pt x="44355" y="2494128"/>
                </a:lnTo>
                <a:lnTo>
                  <a:pt x="184245" y="2470244"/>
                </a:lnTo>
                <a:lnTo>
                  <a:pt x="197893" y="2425889"/>
                </a:lnTo>
                <a:lnTo>
                  <a:pt x="221776" y="2378122"/>
                </a:lnTo>
                <a:lnTo>
                  <a:pt x="290015" y="2347415"/>
                </a:lnTo>
                <a:lnTo>
                  <a:pt x="361666" y="2323531"/>
                </a:lnTo>
                <a:lnTo>
                  <a:pt x="412845" y="2320119"/>
                </a:lnTo>
                <a:lnTo>
                  <a:pt x="457200" y="2354239"/>
                </a:lnTo>
                <a:lnTo>
                  <a:pt x="528851" y="2391770"/>
                </a:lnTo>
                <a:lnTo>
                  <a:pt x="542498" y="2439537"/>
                </a:lnTo>
                <a:lnTo>
                  <a:pt x="583442" y="2436125"/>
                </a:lnTo>
                <a:lnTo>
                  <a:pt x="586854" y="2483892"/>
                </a:lnTo>
                <a:lnTo>
                  <a:pt x="627797" y="2494128"/>
                </a:lnTo>
                <a:lnTo>
                  <a:pt x="624385" y="2538483"/>
                </a:lnTo>
                <a:lnTo>
                  <a:pt x="614149" y="2593074"/>
                </a:lnTo>
                <a:lnTo>
                  <a:pt x="655093" y="2640841"/>
                </a:lnTo>
                <a:close/>
              </a:path>
            </a:pathLst>
          </a:custGeom>
          <a:solidFill>
            <a:srgbClr val="FF0000">
              <a:alpha val="50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 dirty="0">
              <a:latin typeface="+mj-lt"/>
            </a:endParaRPr>
          </a:p>
        </p:txBody>
      </p:sp>
      <p:sp>
        <p:nvSpPr>
          <p:cNvPr id="13" name="Полилиния 12"/>
          <p:cNvSpPr/>
          <p:nvPr/>
        </p:nvSpPr>
        <p:spPr>
          <a:xfrm>
            <a:off x="1378851" y="2127358"/>
            <a:ext cx="1307036" cy="1382624"/>
          </a:xfrm>
          <a:custGeom>
            <a:avLst/>
            <a:gdLst>
              <a:gd name="connsiteX0" fmla="*/ 726744 w 1415956"/>
              <a:gd name="connsiteY0" fmla="*/ 1303361 h 1497842"/>
              <a:gd name="connsiteX1" fmla="*/ 665329 w 1415956"/>
              <a:gd name="connsiteY1" fmla="*/ 1398895 h 1497842"/>
              <a:gd name="connsiteX2" fmla="*/ 723332 w 1415956"/>
              <a:gd name="connsiteY2" fmla="*/ 1453487 h 1497842"/>
              <a:gd name="connsiteX3" fmla="*/ 672153 w 1415956"/>
              <a:gd name="connsiteY3" fmla="*/ 1497842 h 1497842"/>
              <a:gd name="connsiteX4" fmla="*/ 552735 w 1415956"/>
              <a:gd name="connsiteY4" fmla="*/ 1388660 h 1497842"/>
              <a:gd name="connsiteX5" fmla="*/ 566382 w 1415956"/>
              <a:gd name="connsiteY5" fmla="*/ 1364776 h 1497842"/>
              <a:gd name="connsiteX6" fmla="*/ 481084 w 1415956"/>
              <a:gd name="connsiteY6" fmla="*/ 1252182 h 1497842"/>
              <a:gd name="connsiteX7" fmla="*/ 358254 w 1415956"/>
              <a:gd name="connsiteY7" fmla="*/ 1241946 h 1497842"/>
              <a:gd name="connsiteX8" fmla="*/ 337782 w 1415956"/>
              <a:gd name="connsiteY8" fmla="*/ 1248770 h 1497842"/>
              <a:gd name="connsiteX9" fmla="*/ 307075 w 1415956"/>
              <a:gd name="connsiteY9" fmla="*/ 1218063 h 1497842"/>
              <a:gd name="connsiteX10" fmla="*/ 324135 w 1415956"/>
              <a:gd name="connsiteY10" fmla="*/ 1102057 h 1497842"/>
              <a:gd name="connsiteX11" fmla="*/ 310487 w 1415956"/>
              <a:gd name="connsiteY11" fmla="*/ 1030406 h 1497842"/>
              <a:gd name="connsiteX12" fmla="*/ 255896 w 1415956"/>
              <a:gd name="connsiteY12" fmla="*/ 1013346 h 1497842"/>
              <a:gd name="connsiteX13" fmla="*/ 232012 w 1415956"/>
              <a:gd name="connsiteY13" fmla="*/ 1030406 h 1497842"/>
              <a:gd name="connsiteX14" fmla="*/ 184245 w 1415956"/>
              <a:gd name="connsiteY14" fmla="*/ 1026994 h 1497842"/>
              <a:gd name="connsiteX15" fmla="*/ 133066 w 1415956"/>
              <a:gd name="connsiteY15" fmla="*/ 1026994 h 1497842"/>
              <a:gd name="connsiteX16" fmla="*/ 98947 w 1415956"/>
              <a:gd name="connsiteY16" fmla="*/ 941695 h 1497842"/>
              <a:gd name="connsiteX17" fmla="*/ 92123 w 1415956"/>
              <a:gd name="connsiteY17" fmla="*/ 907576 h 1497842"/>
              <a:gd name="connsiteX18" fmla="*/ 61415 w 1415956"/>
              <a:gd name="connsiteY18" fmla="*/ 870045 h 1497842"/>
              <a:gd name="connsiteX19" fmla="*/ 58003 w 1415956"/>
              <a:gd name="connsiteY19" fmla="*/ 842749 h 1497842"/>
              <a:gd name="connsiteX20" fmla="*/ 10236 w 1415956"/>
              <a:gd name="connsiteY20" fmla="*/ 818866 h 1497842"/>
              <a:gd name="connsiteX21" fmla="*/ 0 w 1415956"/>
              <a:gd name="connsiteY21" fmla="*/ 764275 h 1497842"/>
              <a:gd name="connsiteX22" fmla="*/ 47767 w 1415956"/>
              <a:gd name="connsiteY22" fmla="*/ 754039 h 1497842"/>
              <a:gd name="connsiteX23" fmla="*/ 225188 w 1415956"/>
              <a:gd name="connsiteY23" fmla="*/ 556146 h 1497842"/>
              <a:gd name="connsiteX24" fmla="*/ 354842 w 1415956"/>
              <a:gd name="connsiteY24" fmla="*/ 484495 h 1497842"/>
              <a:gd name="connsiteX25" fmla="*/ 324135 w 1415956"/>
              <a:gd name="connsiteY25" fmla="*/ 361666 h 1497842"/>
              <a:gd name="connsiteX26" fmla="*/ 337782 w 1415956"/>
              <a:gd name="connsiteY26" fmla="*/ 354842 h 1497842"/>
              <a:gd name="connsiteX27" fmla="*/ 348018 w 1415956"/>
              <a:gd name="connsiteY27" fmla="*/ 232012 h 1497842"/>
              <a:gd name="connsiteX28" fmla="*/ 477672 w 1415956"/>
              <a:gd name="connsiteY28" fmla="*/ 160361 h 1497842"/>
              <a:gd name="connsiteX29" fmla="*/ 743803 w 1415956"/>
              <a:gd name="connsiteY29" fmla="*/ 85298 h 1497842"/>
              <a:gd name="connsiteX30" fmla="*/ 948520 w 1415956"/>
              <a:gd name="connsiteY30" fmla="*/ 109182 h 1497842"/>
              <a:gd name="connsiteX31" fmla="*/ 1003111 w 1415956"/>
              <a:gd name="connsiteY31" fmla="*/ 64827 h 1497842"/>
              <a:gd name="connsiteX32" fmla="*/ 1037230 w 1415956"/>
              <a:gd name="connsiteY32" fmla="*/ 88710 h 1497842"/>
              <a:gd name="connsiteX33" fmla="*/ 1050878 w 1415956"/>
              <a:gd name="connsiteY33" fmla="*/ 88710 h 1497842"/>
              <a:gd name="connsiteX34" fmla="*/ 1061114 w 1415956"/>
              <a:gd name="connsiteY34" fmla="*/ 61415 h 1497842"/>
              <a:gd name="connsiteX35" fmla="*/ 1095233 w 1415956"/>
              <a:gd name="connsiteY35" fmla="*/ 61415 h 1497842"/>
              <a:gd name="connsiteX36" fmla="*/ 1112293 w 1415956"/>
              <a:gd name="connsiteY36" fmla="*/ 0 h 1497842"/>
              <a:gd name="connsiteX37" fmla="*/ 1351129 w 1415956"/>
              <a:gd name="connsiteY37" fmla="*/ 30707 h 1497842"/>
              <a:gd name="connsiteX38" fmla="*/ 1415956 w 1415956"/>
              <a:gd name="connsiteY38" fmla="*/ 20472 h 1497842"/>
              <a:gd name="connsiteX39" fmla="*/ 1327245 w 1415956"/>
              <a:gd name="connsiteY39" fmla="*/ 262719 h 1497842"/>
              <a:gd name="connsiteX40" fmla="*/ 1238535 w 1415956"/>
              <a:gd name="connsiteY40" fmla="*/ 481084 h 1497842"/>
              <a:gd name="connsiteX41" fmla="*/ 1286302 w 1415956"/>
              <a:gd name="connsiteY41" fmla="*/ 607325 h 1497842"/>
              <a:gd name="connsiteX42" fmla="*/ 1224887 w 1415956"/>
              <a:gd name="connsiteY42" fmla="*/ 631209 h 1497842"/>
              <a:gd name="connsiteX43" fmla="*/ 1272654 w 1415956"/>
              <a:gd name="connsiteY43" fmla="*/ 754039 h 1497842"/>
              <a:gd name="connsiteX44" fmla="*/ 1269242 w 1415956"/>
              <a:gd name="connsiteY44" fmla="*/ 791570 h 1497842"/>
              <a:gd name="connsiteX45" fmla="*/ 1173708 w 1415956"/>
              <a:gd name="connsiteY45" fmla="*/ 842749 h 1497842"/>
              <a:gd name="connsiteX46" fmla="*/ 996287 w 1415956"/>
              <a:gd name="connsiteY46" fmla="*/ 989463 h 1497842"/>
              <a:gd name="connsiteX47" fmla="*/ 941696 w 1415956"/>
              <a:gd name="connsiteY47" fmla="*/ 996287 h 1497842"/>
              <a:gd name="connsiteX48" fmla="*/ 945108 w 1415956"/>
              <a:gd name="connsiteY48" fmla="*/ 1153236 h 1497842"/>
              <a:gd name="connsiteX49" fmla="*/ 917812 w 1415956"/>
              <a:gd name="connsiteY49" fmla="*/ 1112292 h 1497842"/>
              <a:gd name="connsiteX50" fmla="*/ 846161 w 1415956"/>
              <a:gd name="connsiteY50" fmla="*/ 1143000 h 1497842"/>
              <a:gd name="connsiteX51" fmla="*/ 835926 w 1415956"/>
              <a:gd name="connsiteY51" fmla="*/ 1119116 h 1497842"/>
              <a:gd name="connsiteX52" fmla="*/ 767687 w 1415956"/>
              <a:gd name="connsiteY52" fmla="*/ 1091821 h 1497842"/>
              <a:gd name="connsiteX53" fmla="*/ 740391 w 1415956"/>
              <a:gd name="connsiteY53" fmla="*/ 1091821 h 1497842"/>
              <a:gd name="connsiteX54" fmla="*/ 719920 w 1415956"/>
              <a:gd name="connsiteY54" fmla="*/ 1136176 h 1497842"/>
              <a:gd name="connsiteX55" fmla="*/ 736979 w 1415956"/>
              <a:gd name="connsiteY55" fmla="*/ 1160060 h 1497842"/>
              <a:gd name="connsiteX56" fmla="*/ 709684 w 1415956"/>
              <a:gd name="connsiteY56" fmla="*/ 1204415 h 1497842"/>
              <a:gd name="connsiteX57" fmla="*/ 736979 w 1415956"/>
              <a:gd name="connsiteY57" fmla="*/ 1252182 h 1497842"/>
              <a:gd name="connsiteX58" fmla="*/ 726744 w 1415956"/>
              <a:gd name="connsiteY58" fmla="*/ 1303361 h 1497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415956" h="1497842">
                <a:moveTo>
                  <a:pt x="726744" y="1303361"/>
                </a:moveTo>
                <a:lnTo>
                  <a:pt x="665329" y="1398895"/>
                </a:lnTo>
                <a:lnTo>
                  <a:pt x="723332" y="1453487"/>
                </a:lnTo>
                <a:lnTo>
                  <a:pt x="672153" y="1497842"/>
                </a:lnTo>
                <a:lnTo>
                  <a:pt x="552735" y="1388660"/>
                </a:lnTo>
                <a:lnTo>
                  <a:pt x="566382" y="1364776"/>
                </a:lnTo>
                <a:lnTo>
                  <a:pt x="481084" y="1252182"/>
                </a:lnTo>
                <a:lnTo>
                  <a:pt x="358254" y="1241946"/>
                </a:lnTo>
                <a:lnTo>
                  <a:pt x="337782" y="1248770"/>
                </a:lnTo>
                <a:lnTo>
                  <a:pt x="307075" y="1218063"/>
                </a:lnTo>
                <a:lnTo>
                  <a:pt x="324135" y="1102057"/>
                </a:lnTo>
                <a:lnTo>
                  <a:pt x="310487" y="1030406"/>
                </a:lnTo>
                <a:lnTo>
                  <a:pt x="255896" y="1013346"/>
                </a:lnTo>
                <a:lnTo>
                  <a:pt x="232012" y="1030406"/>
                </a:lnTo>
                <a:lnTo>
                  <a:pt x="184245" y="1026994"/>
                </a:lnTo>
                <a:lnTo>
                  <a:pt x="133066" y="1026994"/>
                </a:lnTo>
                <a:lnTo>
                  <a:pt x="98947" y="941695"/>
                </a:lnTo>
                <a:lnTo>
                  <a:pt x="92123" y="907576"/>
                </a:lnTo>
                <a:lnTo>
                  <a:pt x="61415" y="870045"/>
                </a:lnTo>
                <a:lnTo>
                  <a:pt x="58003" y="842749"/>
                </a:lnTo>
                <a:lnTo>
                  <a:pt x="10236" y="818866"/>
                </a:lnTo>
                <a:lnTo>
                  <a:pt x="0" y="764275"/>
                </a:lnTo>
                <a:lnTo>
                  <a:pt x="47767" y="754039"/>
                </a:lnTo>
                <a:lnTo>
                  <a:pt x="225188" y="556146"/>
                </a:lnTo>
                <a:lnTo>
                  <a:pt x="354842" y="484495"/>
                </a:lnTo>
                <a:lnTo>
                  <a:pt x="324135" y="361666"/>
                </a:lnTo>
                <a:lnTo>
                  <a:pt x="337782" y="354842"/>
                </a:lnTo>
                <a:lnTo>
                  <a:pt x="348018" y="232012"/>
                </a:lnTo>
                <a:lnTo>
                  <a:pt x="477672" y="160361"/>
                </a:lnTo>
                <a:lnTo>
                  <a:pt x="743803" y="85298"/>
                </a:lnTo>
                <a:lnTo>
                  <a:pt x="948520" y="109182"/>
                </a:lnTo>
                <a:lnTo>
                  <a:pt x="1003111" y="64827"/>
                </a:lnTo>
                <a:lnTo>
                  <a:pt x="1037230" y="88710"/>
                </a:lnTo>
                <a:lnTo>
                  <a:pt x="1050878" y="88710"/>
                </a:lnTo>
                <a:lnTo>
                  <a:pt x="1061114" y="61415"/>
                </a:lnTo>
                <a:lnTo>
                  <a:pt x="1095233" y="61415"/>
                </a:lnTo>
                <a:lnTo>
                  <a:pt x="1112293" y="0"/>
                </a:lnTo>
                <a:lnTo>
                  <a:pt x="1351129" y="30707"/>
                </a:lnTo>
                <a:lnTo>
                  <a:pt x="1415956" y="20472"/>
                </a:lnTo>
                <a:lnTo>
                  <a:pt x="1327245" y="262719"/>
                </a:lnTo>
                <a:lnTo>
                  <a:pt x="1238535" y="481084"/>
                </a:lnTo>
                <a:lnTo>
                  <a:pt x="1286302" y="607325"/>
                </a:lnTo>
                <a:lnTo>
                  <a:pt x="1224887" y="631209"/>
                </a:lnTo>
                <a:lnTo>
                  <a:pt x="1272654" y="754039"/>
                </a:lnTo>
                <a:lnTo>
                  <a:pt x="1269242" y="791570"/>
                </a:lnTo>
                <a:lnTo>
                  <a:pt x="1173708" y="842749"/>
                </a:lnTo>
                <a:lnTo>
                  <a:pt x="996287" y="989463"/>
                </a:lnTo>
                <a:lnTo>
                  <a:pt x="941696" y="996287"/>
                </a:lnTo>
                <a:cubicBezTo>
                  <a:pt x="942833" y="1048603"/>
                  <a:pt x="943971" y="1100920"/>
                  <a:pt x="945108" y="1153236"/>
                </a:cubicBezTo>
                <a:lnTo>
                  <a:pt x="917812" y="1112292"/>
                </a:lnTo>
                <a:lnTo>
                  <a:pt x="846161" y="1143000"/>
                </a:lnTo>
                <a:lnTo>
                  <a:pt x="835926" y="1119116"/>
                </a:lnTo>
                <a:lnTo>
                  <a:pt x="767687" y="1091821"/>
                </a:lnTo>
                <a:lnTo>
                  <a:pt x="740391" y="1091821"/>
                </a:lnTo>
                <a:lnTo>
                  <a:pt x="719920" y="1136176"/>
                </a:lnTo>
                <a:lnTo>
                  <a:pt x="736979" y="1160060"/>
                </a:lnTo>
                <a:lnTo>
                  <a:pt x="709684" y="1204415"/>
                </a:lnTo>
                <a:lnTo>
                  <a:pt x="736979" y="1252182"/>
                </a:lnTo>
                <a:lnTo>
                  <a:pt x="726744" y="1303361"/>
                </a:lnTo>
                <a:close/>
              </a:path>
            </a:pathLst>
          </a:custGeom>
          <a:solidFill>
            <a:srgbClr val="FF0000">
              <a:alpha val="35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14" name="Полилиния 13"/>
          <p:cNvSpPr/>
          <p:nvPr/>
        </p:nvSpPr>
        <p:spPr>
          <a:xfrm>
            <a:off x="2528806" y="2049474"/>
            <a:ext cx="668216" cy="668216"/>
          </a:xfrm>
          <a:custGeom>
            <a:avLst/>
            <a:gdLst>
              <a:gd name="connsiteX0" fmla="*/ 190500 w 723900"/>
              <a:gd name="connsiteY0" fmla="*/ 0 h 723900"/>
              <a:gd name="connsiteX1" fmla="*/ 166688 w 723900"/>
              <a:gd name="connsiteY1" fmla="*/ 104775 h 723900"/>
              <a:gd name="connsiteX2" fmla="*/ 66675 w 723900"/>
              <a:gd name="connsiteY2" fmla="*/ 400050 h 723900"/>
              <a:gd name="connsiteX3" fmla="*/ 0 w 723900"/>
              <a:gd name="connsiteY3" fmla="*/ 552450 h 723900"/>
              <a:gd name="connsiteX4" fmla="*/ 42863 w 723900"/>
              <a:gd name="connsiteY4" fmla="*/ 690562 h 723900"/>
              <a:gd name="connsiteX5" fmla="*/ 71438 w 723900"/>
              <a:gd name="connsiteY5" fmla="*/ 723900 h 723900"/>
              <a:gd name="connsiteX6" fmla="*/ 90488 w 723900"/>
              <a:gd name="connsiteY6" fmla="*/ 714375 h 723900"/>
              <a:gd name="connsiteX7" fmla="*/ 85725 w 723900"/>
              <a:gd name="connsiteY7" fmla="*/ 671512 h 723900"/>
              <a:gd name="connsiteX8" fmla="*/ 228600 w 723900"/>
              <a:gd name="connsiteY8" fmla="*/ 614362 h 723900"/>
              <a:gd name="connsiteX9" fmla="*/ 300038 w 723900"/>
              <a:gd name="connsiteY9" fmla="*/ 619125 h 723900"/>
              <a:gd name="connsiteX10" fmla="*/ 323850 w 723900"/>
              <a:gd name="connsiteY10" fmla="*/ 647700 h 723900"/>
              <a:gd name="connsiteX11" fmla="*/ 347663 w 723900"/>
              <a:gd name="connsiteY11" fmla="*/ 628650 h 723900"/>
              <a:gd name="connsiteX12" fmla="*/ 333375 w 723900"/>
              <a:gd name="connsiteY12" fmla="*/ 590550 h 723900"/>
              <a:gd name="connsiteX13" fmla="*/ 333375 w 723900"/>
              <a:gd name="connsiteY13" fmla="*/ 571500 h 723900"/>
              <a:gd name="connsiteX14" fmla="*/ 528638 w 723900"/>
              <a:gd name="connsiteY14" fmla="*/ 581025 h 723900"/>
              <a:gd name="connsiteX15" fmla="*/ 566738 w 723900"/>
              <a:gd name="connsiteY15" fmla="*/ 528637 h 723900"/>
              <a:gd name="connsiteX16" fmla="*/ 552450 w 723900"/>
              <a:gd name="connsiteY16" fmla="*/ 495300 h 723900"/>
              <a:gd name="connsiteX17" fmla="*/ 504825 w 723900"/>
              <a:gd name="connsiteY17" fmla="*/ 457200 h 723900"/>
              <a:gd name="connsiteX18" fmla="*/ 514350 w 723900"/>
              <a:gd name="connsiteY18" fmla="*/ 409575 h 723900"/>
              <a:gd name="connsiteX19" fmla="*/ 490538 w 723900"/>
              <a:gd name="connsiteY19" fmla="*/ 314325 h 723900"/>
              <a:gd name="connsiteX20" fmla="*/ 600075 w 723900"/>
              <a:gd name="connsiteY20" fmla="*/ 290512 h 723900"/>
              <a:gd name="connsiteX21" fmla="*/ 623888 w 723900"/>
              <a:gd name="connsiteY21" fmla="*/ 71437 h 723900"/>
              <a:gd name="connsiteX22" fmla="*/ 723900 w 723900"/>
              <a:gd name="connsiteY22" fmla="*/ 85725 h 723900"/>
              <a:gd name="connsiteX23" fmla="*/ 719138 w 723900"/>
              <a:gd name="connsiteY23" fmla="*/ 4762 h 723900"/>
              <a:gd name="connsiteX24" fmla="*/ 190500 w 723900"/>
              <a:gd name="connsiteY24" fmla="*/ 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23900" h="723900">
                <a:moveTo>
                  <a:pt x="190500" y="0"/>
                </a:moveTo>
                <a:lnTo>
                  <a:pt x="166688" y="104775"/>
                </a:lnTo>
                <a:lnTo>
                  <a:pt x="66675" y="400050"/>
                </a:lnTo>
                <a:lnTo>
                  <a:pt x="0" y="552450"/>
                </a:lnTo>
                <a:lnTo>
                  <a:pt x="42863" y="690562"/>
                </a:lnTo>
                <a:lnTo>
                  <a:pt x="71438" y="723900"/>
                </a:lnTo>
                <a:lnTo>
                  <a:pt x="90488" y="714375"/>
                </a:lnTo>
                <a:lnTo>
                  <a:pt x="85725" y="671512"/>
                </a:lnTo>
                <a:lnTo>
                  <a:pt x="228600" y="614362"/>
                </a:lnTo>
                <a:lnTo>
                  <a:pt x="300038" y="619125"/>
                </a:lnTo>
                <a:lnTo>
                  <a:pt x="323850" y="647700"/>
                </a:lnTo>
                <a:lnTo>
                  <a:pt x="347663" y="628650"/>
                </a:lnTo>
                <a:lnTo>
                  <a:pt x="333375" y="590550"/>
                </a:lnTo>
                <a:lnTo>
                  <a:pt x="333375" y="571500"/>
                </a:lnTo>
                <a:lnTo>
                  <a:pt x="528638" y="581025"/>
                </a:lnTo>
                <a:lnTo>
                  <a:pt x="566738" y="528637"/>
                </a:lnTo>
                <a:lnTo>
                  <a:pt x="552450" y="495300"/>
                </a:lnTo>
                <a:lnTo>
                  <a:pt x="504825" y="457200"/>
                </a:lnTo>
                <a:lnTo>
                  <a:pt x="514350" y="409575"/>
                </a:lnTo>
                <a:lnTo>
                  <a:pt x="490538" y="314325"/>
                </a:lnTo>
                <a:lnTo>
                  <a:pt x="600075" y="290512"/>
                </a:lnTo>
                <a:lnTo>
                  <a:pt x="623888" y="71437"/>
                </a:lnTo>
                <a:lnTo>
                  <a:pt x="723900" y="85725"/>
                </a:lnTo>
                <a:lnTo>
                  <a:pt x="719138" y="4762"/>
                </a:lnTo>
                <a:lnTo>
                  <a:pt x="190500" y="0"/>
                </a:lnTo>
                <a:close/>
              </a:path>
            </a:pathLst>
          </a:custGeom>
          <a:solidFill>
            <a:srgbClr val="FF0000">
              <a:alpha val="25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16" name="Полилиния 15"/>
          <p:cNvSpPr/>
          <p:nvPr/>
        </p:nvSpPr>
        <p:spPr>
          <a:xfrm>
            <a:off x="779137" y="2053871"/>
            <a:ext cx="1652954" cy="2105758"/>
          </a:xfrm>
          <a:custGeom>
            <a:avLst/>
            <a:gdLst>
              <a:gd name="connsiteX0" fmla="*/ 1009650 w 1790700"/>
              <a:gd name="connsiteY0" fmla="*/ 0 h 2281238"/>
              <a:gd name="connsiteX1" fmla="*/ 981075 w 1790700"/>
              <a:gd name="connsiteY1" fmla="*/ 66675 h 2281238"/>
              <a:gd name="connsiteX2" fmla="*/ 957263 w 1790700"/>
              <a:gd name="connsiteY2" fmla="*/ 100013 h 2281238"/>
              <a:gd name="connsiteX3" fmla="*/ 971550 w 1790700"/>
              <a:gd name="connsiteY3" fmla="*/ 161925 h 2281238"/>
              <a:gd name="connsiteX4" fmla="*/ 990600 w 1790700"/>
              <a:gd name="connsiteY4" fmla="*/ 180975 h 2281238"/>
              <a:gd name="connsiteX5" fmla="*/ 1004888 w 1790700"/>
              <a:gd name="connsiteY5" fmla="*/ 238125 h 2281238"/>
              <a:gd name="connsiteX6" fmla="*/ 1038225 w 1790700"/>
              <a:gd name="connsiteY6" fmla="*/ 290513 h 2281238"/>
              <a:gd name="connsiteX7" fmla="*/ 1004888 w 1790700"/>
              <a:gd name="connsiteY7" fmla="*/ 314325 h 2281238"/>
              <a:gd name="connsiteX8" fmla="*/ 990600 w 1790700"/>
              <a:gd name="connsiteY8" fmla="*/ 419100 h 2281238"/>
              <a:gd name="connsiteX9" fmla="*/ 962025 w 1790700"/>
              <a:gd name="connsiteY9" fmla="*/ 438150 h 2281238"/>
              <a:gd name="connsiteX10" fmla="*/ 1014413 w 1790700"/>
              <a:gd name="connsiteY10" fmla="*/ 566738 h 2281238"/>
              <a:gd name="connsiteX11" fmla="*/ 866775 w 1790700"/>
              <a:gd name="connsiteY11" fmla="*/ 652463 h 2281238"/>
              <a:gd name="connsiteX12" fmla="*/ 700088 w 1790700"/>
              <a:gd name="connsiteY12" fmla="*/ 828675 h 2281238"/>
              <a:gd name="connsiteX13" fmla="*/ 638175 w 1790700"/>
              <a:gd name="connsiteY13" fmla="*/ 838200 h 2281238"/>
              <a:gd name="connsiteX14" fmla="*/ 666750 w 1790700"/>
              <a:gd name="connsiteY14" fmla="*/ 900113 h 2281238"/>
              <a:gd name="connsiteX15" fmla="*/ 700088 w 1790700"/>
              <a:gd name="connsiteY15" fmla="*/ 914400 h 2281238"/>
              <a:gd name="connsiteX16" fmla="*/ 728663 w 1790700"/>
              <a:gd name="connsiteY16" fmla="*/ 952500 h 2281238"/>
              <a:gd name="connsiteX17" fmla="*/ 762000 w 1790700"/>
              <a:gd name="connsiteY17" fmla="*/ 995363 h 2281238"/>
              <a:gd name="connsiteX18" fmla="*/ 762000 w 1790700"/>
              <a:gd name="connsiteY18" fmla="*/ 1038225 h 2281238"/>
              <a:gd name="connsiteX19" fmla="*/ 790575 w 1790700"/>
              <a:gd name="connsiteY19" fmla="*/ 1095375 h 2281238"/>
              <a:gd name="connsiteX20" fmla="*/ 838200 w 1790700"/>
              <a:gd name="connsiteY20" fmla="*/ 1104900 h 2281238"/>
              <a:gd name="connsiteX21" fmla="*/ 885825 w 1790700"/>
              <a:gd name="connsiteY21" fmla="*/ 1109663 h 2281238"/>
              <a:gd name="connsiteX22" fmla="*/ 909638 w 1790700"/>
              <a:gd name="connsiteY22" fmla="*/ 1090613 h 2281238"/>
              <a:gd name="connsiteX23" fmla="*/ 966788 w 1790700"/>
              <a:gd name="connsiteY23" fmla="*/ 1095375 h 2281238"/>
              <a:gd name="connsiteX24" fmla="*/ 985838 w 1790700"/>
              <a:gd name="connsiteY24" fmla="*/ 1147763 h 2281238"/>
              <a:gd name="connsiteX25" fmla="*/ 985838 w 1790700"/>
              <a:gd name="connsiteY25" fmla="*/ 1195388 h 2281238"/>
              <a:gd name="connsiteX26" fmla="*/ 966788 w 1790700"/>
              <a:gd name="connsiteY26" fmla="*/ 1271588 h 2281238"/>
              <a:gd name="connsiteX27" fmla="*/ 971550 w 1790700"/>
              <a:gd name="connsiteY27" fmla="*/ 1328738 h 2281238"/>
              <a:gd name="connsiteX28" fmla="*/ 1143000 w 1790700"/>
              <a:gd name="connsiteY28" fmla="*/ 1333500 h 2281238"/>
              <a:gd name="connsiteX29" fmla="*/ 1219200 w 1790700"/>
              <a:gd name="connsiteY29" fmla="*/ 1428750 h 2281238"/>
              <a:gd name="connsiteX30" fmla="*/ 1204913 w 1790700"/>
              <a:gd name="connsiteY30" fmla="*/ 1471613 h 2281238"/>
              <a:gd name="connsiteX31" fmla="*/ 1328738 w 1790700"/>
              <a:gd name="connsiteY31" fmla="*/ 1576388 h 2281238"/>
              <a:gd name="connsiteX32" fmla="*/ 1371600 w 1790700"/>
              <a:gd name="connsiteY32" fmla="*/ 1528763 h 2281238"/>
              <a:gd name="connsiteX33" fmla="*/ 1314450 w 1790700"/>
              <a:gd name="connsiteY33" fmla="*/ 1457325 h 2281238"/>
              <a:gd name="connsiteX34" fmla="*/ 1371600 w 1790700"/>
              <a:gd name="connsiteY34" fmla="*/ 1395413 h 2281238"/>
              <a:gd name="connsiteX35" fmla="*/ 1400175 w 1790700"/>
              <a:gd name="connsiteY35" fmla="*/ 1438275 h 2281238"/>
              <a:gd name="connsiteX36" fmla="*/ 1400175 w 1790700"/>
              <a:gd name="connsiteY36" fmla="*/ 1438275 h 2281238"/>
              <a:gd name="connsiteX37" fmla="*/ 1428750 w 1790700"/>
              <a:gd name="connsiteY37" fmla="*/ 1471613 h 2281238"/>
              <a:gd name="connsiteX38" fmla="*/ 1500188 w 1790700"/>
              <a:gd name="connsiteY38" fmla="*/ 1443038 h 2281238"/>
              <a:gd name="connsiteX39" fmla="*/ 1533525 w 1790700"/>
              <a:gd name="connsiteY39" fmla="*/ 1490663 h 2281238"/>
              <a:gd name="connsiteX40" fmla="*/ 1562100 w 1790700"/>
              <a:gd name="connsiteY40" fmla="*/ 1490663 h 2281238"/>
              <a:gd name="connsiteX41" fmla="*/ 1609725 w 1790700"/>
              <a:gd name="connsiteY41" fmla="*/ 1581150 h 2281238"/>
              <a:gd name="connsiteX42" fmla="*/ 1728788 w 1790700"/>
              <a:gd name="connsiteY42" fmla="*/ 1585913 h 2281238"/>
              <a:gd name="connsiteX43" fmla="*/ 1743075 w 1790700"/>
              <a:gd name="connsiteY43" fmla="*/ 1614488 h 2281238"/>
              <a:gd name="connsiteX44" fmla="*/ 1790700 w 1790700"/>
              <a:gd name="connsiteY44" fmla="*/ 1600200 h 2281238"/>
              <a:gd name="connsiteX45" fmla="*/ 1714500 w 1790700"/>
              <a:gd name="connsiteY45" fmla="*/ 1766888 h 2281238"/>
              <a:gd name="connsiteX46" fmla="*/ 1747838 w 1790700"/>
              <a:gd name="connsiteY46" fmla="*/ 1862138 h 2281238"/>
              <a:gd name="connsiteX47" fmla="*/ 1743075 w 1790700"/>
              <a:gd name="connsiteY47" fmla="*/ 1900238 h 2281238"/>
              <a:gd name="connsiteX48" fmla="*/ 1633538 w 1790700"/>
              <a:gd name="connsiteY48" fmla="*/ 1928813 h 2281238"/>
              <a:gd name="connsiteX49" fmla="*/ 1643063 w 1790700"/>
              <a:gd name="connsiteY49" fmla="*/ 2076450 h 2281238"/>
              <a:gd name="connsiteX50" fmla="*/ 1604963 w 1790700"/>
              <a:gd name="connsiteY50" fmla="*/ 2071688 h 2281238"/>
              <a:gd name="connsiteX51" fmla="*/ 1566863 w 1790700"/>
              <a:gd name="connsiteY51" fmla="*/ 2128838 h 2281238"/>
              <a:gd name="connsiteX52" fmla="*/ 1519238 w 1790700"/>
              <a:gd name="connsiteY52" fmla="*/ 2095500 h 2281238"/>
              <a:gd name="connsiteX53" fmla="*/ 1481138 w 1790700"/>
              <a:gd name="connsiteY53" fmla="*/ 2143125 h 2281238"/>
              <a:gd name="connsiteX54" fmla="*/ 1500188 w 1790700"/>
              <a:gd name="connsiteY54" fmla="*/ 2171700 h 2281238"/>
              <a:gd name="connsiteX55" fmla="*/ 1423988 w 1790700"/>
              <a:gd name="connsiteY55" fmla="*/ 2271713 h 2281238"/>
              <a:gd name="connsiteX56" fmla="*/ 1371600 w 1790700"/>
              <a:gd name="connsiteY56" fmla="*/ 2281238 h 2281238"/>
              <a:gd name="connsiteX57" fmla="*/ 1223963 w 1790700"/>
              <a:gd name="connsiteY57" fmla="*/ 2224088 h 2281238"/>
              <a:gd name="connsiteX58" fmla="*/ 1152525 w 1790700"/>
              <a:gd name="connsiteY58" fmla="*/ 2100263 h 2281238"/>
              <a:gd name="connsiteX59" fmla="*/ 1085850 w 1790700"/>
              <a:gd name="connsiteY59" fmla="*/ 2109788 h 2281238"/>
              <a:gd name="connsiteX60" fmla="*/ 1104900 w 1790700"/>
              <a:gd name="connsiteY60" fmla="*/ 2147888 h 2281238"/>
              <a:gd name="connsiteX61" fmla="*/ 1071563 w 1790700"/>
              <a:gd name="connsiteY61" fmla="*/ 2166938 h 2281238"/>
              <a:gd name="connsiteX62" fmla="*/ 938213 w 1790700"/>
              <a:gd name="connsiteY62" fmla="*/ 2066925 h 2281238"/>
              <a:gd name="connsiteX63" fmla="*/ 909638 w 1790700"/>
              <a:gd name="connsiteY63" fmla="*/ 2095500 h 2281238"/>
              <a:gd name="connsiteX64" fmla="*/ 914400 w 1790700"/>
              <a:gd name="connsiteY64" fmla="*/ 2128838 h 2281238"/>
              <a:gd name="connsiteX65" fmla="*/ 976313 w 1790700"/>
              <a:gd name="connsiteY65" fmla="*/ 2152650 h 2281238"/>
              <a:gd name="connsiteX66" fmla="*/ 947738 w 1790700"/>
              <a:gd name="connsiteY66" fmla="*/ 2224088 h 2281238"/>
              <a:gd name="connsiteX67" fmla="*/ 919163 w 1790700"/>
              <a:gd name="connsiteY67" fmla="*/ 2190750 h 2281238"/>
              <a:gd name="connsiteX68" fmla="*/ 819150 w 1790700"/>
              <a:gd name="connsiteY68" fmla="*/ 2181225 h 2281238"/>
              <a:gd name="connsiteX69" fmla="*/ 804863 w 1790700"/>
              <a:gd name="connsiteY69" fmla="*/ 2209800 h 2281238"/>
              <a:gd name="connsiteX70" fmla="*/ 757238 w 1790700"/>
              <a:gd name="connsiteY70" fmla="*/ 2171700 h 2281238"/>
              <a:gd name="connsiteX71" fmla="*/ 719138 w 1790700"/>
              <a:gd name="connsiteY71" fmla="*/ 2166938 h 2281238"/>
              <a:gd name="connsiteX72" fmla="*/ 647700 w 1790700"/>
              <a:gd name="connsiteY72" fmla="*/ 2124075 h 2281238"/>
              <a:gd name="connsiteX73" fmla="*/ 438150 w 1790700"/>
              <a:gd name="connsiteY73" fmla="*/ 2100263 h 2281238"/>
              <a:gd name="connsiteX74" fmla="*/ 366713 w 1790700"/>
              <a:gd name="connsiteY74" fmla="*/ 2162175 h 2281238"/>
              <a:gd name="connsiteX75" fmla="*/ 295275 w 1790700"/>
              <a:gd name="connsiteY75" fmla="*/ 2133600 h 2281238"/>
              <a:gd name="connsiteX76" fmla="*/ 261938 w 1790700"/>
              <a:gd name="connsiteY76" fmla="*/ 2143125 h 2281238"/>
              <a:gd name="connsiteX77" fmla="*/ 204788 w 1790700"/>
              <a:gd name="connsiteY77" fmla="*/ 2038350 h 2281238"/>
              <a:gd name="connsiteX78" fmla="*/ 214313 w 1790700"/>
              <a:gd name="connsiteY78" fmla="*/ 2014538 h 2281238"/>
              <a:gd name="connsiteX79" fmla="*/ 161925 w 1790700"/>
              <a:gd name="connsiteY79" fmla="*/ 1866900 h 2281238"/>
              <a:gd name="connsiteX80" fmla="*/ 176213 w 1790700"/>
              <a:gd name="connsiteY80" fmla="*/ 1852613 h 2281238"/>
              <a:gd name="connsiteX81" fmla="*/ 152400 w 1790700"/>
              <a:gd name="connsiteY81" fmla="*/ 1819275 h 2281238"/>
              <a:gd name="connsiteX82" fmla="*/ 71438 w 1790700"/>
              <a:gd name="connsiteY82" fmla="*/ 1804988 h 2281238"/>
              <a:gd name="connsiteX83" fmla="*/ 104775 w 1790700"/>
              <a:gd name="connsiteY83" fmla="*/ 1700213 h 2281238"/>
              <a:gd name="connsiteX84" fmla="*/ 71438 w 1790700"/>
              <a:gd name="connsiteY84" fmla="*/ 1657350 h 2281238"/>
              <a:gd name="connsiteX85" fmla="*/ 90488 w 1790700"/>
              <a:gd name="connsiteY85" fmla="*/ 1547813 h 2281238"/>
              <a:gd name="connsiteX86" fmla="*/ 138113 w 1790700"/>
              <a:gd name="connsiteY86" fmla="*/ 1524000 h 2281238"/>
              <a:gd name="connsiteX87" fmla="*/ 176213 w 1790700"/>
              <a:gd name="connsiteY87" fmla="*/ 1485900 h 2281238"/>
              <a:gd name="connsiteX88" fmla="*/ 242888 w 1790700"/>
              <a:gd name="connsiteY88" fmla="*/ 1476375 h 2281238"/>
              <a:gd name="connsiteX89" fmla="*/ 271463 w 1790700"/>
              <a:gd name="connsiteY89" fmla="*/ 1457325 h 2281238"/>
              <a:gd name="connsiteX90" fmla="*/ 276225 w 1790700"/>
              <a:gd name="connsiteY90" fmla="*/ 1404938 h 2281238"/>
              <a:gd name="connsiteX91" fmla="*/ 338138 w 1790700"/>
              <a:gd name="connsiteY91" fmla="*/ 1414463 h 2281238"/>
              <a:gd name="connsiteX92" fmla="*/ 323850 w 1790700"/>
              <a:gd name="connsiteY92" fmla="*/ 1357313 h 2281238"/>
              <a:gd name="connsiteX93" fmla="*/ 266700 w 1790700"/>
              <a:gd name="connsiteY93" fmla="*/ 1357313 h 2281238"/>
              <a:gd name="connsiteX94" fmla="*/ 219075 w 1790700"/>
              <a:gd name="connsiteY94" fmla="*/ 1319213 h 2281238"/>
              <a:gd name="connsiteX95" fmla="*/ 142875 w 1790700"/>
              <a:gd name="connsiteY95" fmla="*/ 1214438 h 2281238"/>
              <a:gd name="connsiteX96" fmla="*/ 123825 w 1790700"/>
              <a:gd name="connsiteY96" fmla="*/ 1128713 h 2281238"/>
              <a:gd name="connsiteX97" fmla="*/ 47625 w 1790700"/>
              <a:gd name="connsiteY97" fmla="*/ 1109663 h 2281238"/>
              <a:gd name="connsiteX98" fmla="*/ 19050 w 1790700"/>
              <a:gd name="connsiteY98" fmla="*/ 1152525 h 2281238"/>
              <a:gd name="connsiteX99" fmla="*/ 4763 w 1790700"/>
              <a:gd name="connsiteY99" fmla="*/ 1128713 h 2281238"/>
              <a:gd name="connsiteX100" fmla="*/ 0 w 1790700"/>
              <a:gd name="connsiteY100" fmla="*/ 385763 h 2281238"/>
              <a:gd name="connsiteX101" fmla="*/ 76200 w 1790700"/>
              <a:gd name="connsiteY101" fmla="*/ 209550 h 2281238"/>
              <a:gd name="connsiteX102" fmla="*/ 147638 w 1790700"/>
              <a:gd name="connsiteY102" fmla="*/ 204788 h 2281238"/>
              <a:gd name="connsiteX103" fmla="*/ 166688 w 1790700"/>
              <a:gd name="connsiteY103" fmla="*/ 200025 h 2281238"/>
              <a:gd name="connsiteX104" fmla="*/ 195263 w 1790700"/>
              <a:gd name="connsiteY104" fmla="*/ 114300 h 2281238"/>
              <a:gd name="connsiteX105" fmla="*/ 166688 w 1790700"/>
              <a:gd name="connsiteY105" fmla="*/ 4763 h 2281238"/>
              <a:gd name="connsiteX106" fmla="*/ 1009650 w 1790700"/>
              <a:gd name="connsiteY106" fmla="*/ 0 h 2281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1790700" h="2281238">
                <a:moveTo>
                  <a:pt x="1009650" y="0"/>
                </a:moveTo>
                <a:lnTo>
                  <a:pt x="981075" y="66675"/>
                </a:lnTo>
                <a:lnTo>
                  <a:pt x="957263" y="100013"/>
                </a:lnTo>
                <a:lnTo>
                  <a:pt x="971550" y="161925"/>
                </a:lnTo>
                <a:lnTo>
                  <a:pt x="990600" y="180975"/>
                </a:lnTo>
                <a:lnTo>
                  <a:pt x="1004888" y="238125"/>
                </a:lnTo>
                <a:lnTo>
                  <a:pt x="1038225" y="290513"/>
                </a:lnTo>
                <a:lnTo>
                  <a:pt x="1004888" y="314325"/>
                </a:lnTo>
                <a:lnTo>
                  <a:pt x="990600" y="419100"/>
                </a:lnTo>
                <a:lnTo>
                  <a:pt x="962025" y="438150"/>
                </a:lnTo>
                <a:lnTo>
                  <a:pt x="1014413" y="566738"/>
                </a:lnTo>
                <a:lnTo>
                  <a:pt x="866775" y="652463"/>
                </a:lnTo>
                <a:lnTo>
                  <a:pt x="700088" y="828675"/>
                </a:lnTo>
                <a:lnTo>
                  <a:pt x="638175" y="838200"/>
                </a:lnTo>
                <a:lnTo>
                  <a:pt x="666750" y="900113"/>
                </a:lnTo>
                <a:lnTo>
                  <a:pt x="700088" y="914400"/>
                </a:lnTo>
                <a:lnTo>
                  <a:pt x="728663" y="952500"/>
                </a:lnTo>
                <a:lnTo>
                  <a:pt x="762000" y="995363"/>
                </a:lnTo>
                <a:lnTo>
                  <a:pt x="762000" y="1038225"/>
                </a:lnTo>
                <a:lnTo>
                  <a:pt x="790575" y="1095375"/>
                </a:lnTo>
                <a:lnTo>
                  <a:pt x="838200" y="1104900"/>
                </a:lnTo>
                <a:lnTo>
                  <a:pt x="885825" y="1109663"/>
                </a:lnTo>
                <a:lnTo>
                  <a:pt x="909638" y="1090613"/>
                </a:lnTo>
                <a:lnTo>
                  <a:pt x="966788" y="1095375"/>
                </a:lnTo>
                <a:lnTo>
                  <a:pt x="985838" y="1147763"/>
                </a:lnTo>
                <a:lnTo>
                  <a:pt x="985838" y="1195388"/>
                </a:lnTo>
                <a:lnTo>
                  <a:pt x="966788" y="1271588"/>
                </a:lnTo>
                <a:lnTo>
                  <a:pt x="971550" y="1328738"/>
                </a:lnTo>
                <a:lnTo>
                  <a:pt x="1143000" y="1333500"/>
                </a:lnTo>
                <a:lnTo>
                  <a:pt x="1219200" y="1428750"/>
                </a:lnTo>
                <a:lnTo>
                  <a:pt x="1204913" y="1471613"/>
                </a:lnTo>
                <a:lnTo>
                  <a:pt x="1328738" y="1576388"/>
                </a:lnTo>
                <a:lnTo>
                  <a:pt x="1371600" y="1528763"/>
                </a:lnTo>
                <a:lnTo>
                  <a:pt x="1314450" y="1457325"/>
                </a:lnTo>
                <a:lnTo>
                  <a:pt x="1371600" y="1395413"/>
                </a:lnTo>
                <a:lnTo>
                  <a:pt x="1400175" y="1438275"/>
                </a:lnTo>
                <a:lnTo>
                  <a:pt x="1400175" y="1438275"/>
                </a:lnTo>
                <a:lnTo>
                  <a:pt x="1428750" y="1471613"/>
                </a:lnTo>
                <a:lnTo>
                  <a:pt x="1500188" y="1443038"/>
                </a:lnTo>
                <a:lnTo>
                  <a:pt x="1533525" y="1490663"/>
                </a:lnTo>
                <a:lnTo>
                  <a:pt x="1562100" y="1490663"/>
                </a:lnTo>
                <a:lnTo>
                  <a:pt x="1609725" y="1581150"/>
                </a:lnTo>
                <a:lnTo>
                  <a:pt x="1728788" y="1585913"/>
                </a:lnTo>
                <a:lnTo>
                  <a:pt x="1743075" y="1614488"/>
                </a:lnTo>
                <a:lnTo>
                  <a:pt x="1790700" y="1600200"/>
                </a:lnTo>
                <a:lnTo>
                  <a:pt x="1714500" y="1766888"/>
                </a:lnTo>
                <a:lnTo>
                  <a:pt x="1747838" y="1862138"/>
                </a:lnTo>
                <a:lnTo>
                  <a:pt x="1743075" y="1900238"/>
                </a:lnTo>
                <a:lnTo>
                  <a:pt x="1633538" y="1928813"/>
                </a:lnTo>
                <a:lnTo>
                  <a:pt x="1643063" y="2076450"/>
                </a:lnTo>
                <a:lnTo>
                  <a:pt x="1604963" y="2071688"/>
                </a:lnTo>
                <a:lnTo>
                  <a:pt x="1566863" y="2128838"/>
                </a:lnTo>
                <a:lnTo>
                  <a:pt x="1519238" y="2095500"/>
                </a:lnTo>
                <a:lnTo>
                  <a:pt x="1481138" y="2143125"/>
                </a:lnTo>
                <a:lnTo>
                  <a:pt x="1500188" y="2171700"/>
                </a:lnTo>
                <a:lnTo>
                  <a:pt x="1423988" y="2271713"/>
                </a:lnTo>
                <a:lnTo>
                  <a:pt x="1371600" y="2281238"/>
                </a:lnTo>
                <a:lnTo>
                  <a:pt x="1223963" y="2224088"/>
                </a:lnTo>
                <a:lnTo>
                  <a:pt x="1152525" y="2100263"/>
                </a:lnTo>
                <a:lnTo>
                  <a:pt x="1085850" y="2109788"/>
                </a:lnTo>
                <a:lnTo>
                  <a:pt x="1104900" y="2147888"/>
                </a:lnTo>
                <a:lnTo>
                  <a:pt x="1071563" y="2166938"/>
                </a:lnTo>
                <a:lnTo>
                  <a:pt x="938213" y="2066925"/>
                </a:lnTo>
                <a:lnTo>
                  <a:pt x="909638" y="2095500"/>
                </a:lnTo>
                <a:lnTo>
                  <a:pt x="914400" y="2128838"/>
                </a:lnTo>
                <a:lnTo>
                  <a:pt x="976313" y="2152650"/>
                </a:lnTo>
                <a:lnTo>
                  <a:pt x="947738" y="2224088"/>
                </a:lnTo>
                <a:lnTo>
                  <a:pt x="919163" y="2190750"/>
                </a:lnTo>
                <a:lnTo>
                  <a:pt x="819150" y="2181225"/>
                </a:lnTo>
                <a:lnTo>
                  <a:pt x="804863" y="2209800"/>
                </a:lnTo>
                <a:lnTo>
                  <a:pt x="757238" y="2171700"/>
                </a:lnTo>
                <a:lnTo>
                  <a:pt x="719138" y="2166938"/>
                </a:lnTo>
                <a:lnTo>
                  <a:pt x="647700" y="2124075"/>
                </a:lnTo>
                <a:lnTo>
                  <a:pt x="438150" y="2100263"/>
                </a:lnTo>
                <a:lnTo>
                  <a:pt x="366713" y="2162175"/>
                </a:lnTo>
                <a:lnTo>
                  <a:pt x="295275" y="2133600"/>
                </a:lnTo>
                <a:lnTo>
                  <a:pt x="261938" y="2143125"/>
                </a:lnTo>
                <a:lnTo>
                  <a:pt x="204788" y="2038350"/>
                </a:lnTo>
                <a:lnTo>
                  <a:pt x="214313" y="2014538"/>
                </a:lnTo>
                <a:lnTo>
                  <a:pt x="161925" y="1866900"/>
                </a:lnTo>
                <a:lnTo>
                  <a:pt x="176213" y="1852613"/>
                </a:lnTo>
                <a:lnTo>
                  <a:pt x="152400" y="1819275"/>
                </a:lnTo>
                <a:lnTo>
                  <a:pt x="71438" y="1804988"/>
                </a:lnTo>
                <a:lnTo>
                  <a:pt x="104775" y="1700213"/>
                </a:lnTo>
                <a:lnTo>
                  <a:pt x="71438" y="1657350"/>
                </a:lnTo>
                <a:lnTo>
                  <a:pt x="90488" y="1547813"/>
                </a:lnTo>
                <a:lnTo>
                  <a:pt x="138113" y="1524000"/>
                </a:lnTo>
                <a:lnTo>
                  <a:pt x="176213" y="1485900"/>
                </a:lnTo>
                <a:lnTo>
                  <a:pt x="242888" y="1476375"/>
                </a:lnTo>
                <a:lnTo>
                  <a:pt x="271463" y="1457325"/>
                </a:lnTo>
                <a:lnTo>
                  <a:pt x="276225" y="1404938"/>
                </a:lnTo>
                <a:lnTo>
                  <a:pt x="338138" y="1414463"/>
                </a:lnTo>
                <a:lnTo>
                  <a:pt x="323850" y="1357313"/>
                </a:lnTo>
                <a:lnTo>
                  <a:pt x="266700" y="1357313"/>
                </a:lnTo>
                <a:lnTo>
                  <a:pt x="219075" y="1319213"/>
                </a:lnTo>
                <a:lnTo>
                  <a:pt x="142875" y="1214438"/>
                </a:lnTo>
                <a:lnTo>
                  <a:pt x="123825" y="1128713"/>
                </a:lnTo>
                <a:lnTo>
                  <a:pt x="47625" y="1109663"/>
                </a:lnTo>
                <a:lnTo>
                  <a:pt x="19050" y="1152525"/>
                </a:lnTo>
                <a:lnTo>
                  <a:pt x="4763" y="1128713"/>
                </a:lnTo>
                <a:cubicBezTo>
                  <a:pt x="3175" y="881063"/>
                  <a:pt x="1588" y="633413"/>
                  <a:pt x="0" y="385763"/>
                </a:cubicBezTo>
                <a:lnTo>
                  <a:pt x="76200" y="209550"/>
                </a:lnTo>
                <a:lnTo>
                  <a:pt x="147638" y="204788"/>
                </a:lnTo>
                <a:lnTo>
                  <a:pt x="166688" y="200025"/>
                </a:lnTo>
                <a:lnTo>
                  <a:pt x="195263" y="114300"/>
                </a:lnTo>
                <a:lnTo>
                  <a:pt x="166688" y="4763"/>
                </a:lnTo>
                <a:lnTo>
                  <a:pt x="1009650" y="0"/>
                </a:lnTo>
                <a:close/>
              </a:path>
            </a:pathLst>
          </a:custGeom>
          <a:solidFill>
            <a:srgbClr val="FF0000">
              <a:alpha val="15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17" name="Полилиния 16"/>
          <p:cNvSpPr/>
          <p:nvPr/>
        </p:nvSpPr>
        <p:spPr>
          <a:xfrm>
            <a:off x="1861568" y="5179536"/>
            <a:ext cx="2223477" cy="1072172"/>
          </a:xfrm>
          <a:custGeom>
            <a:avLst/>
            <a:gdLst>
              <a:gd name="connsiteX0" fmla="*/ 2557462 w 2557462"/>
              <a:gd name="connsiteY0" fmla="*/ 1038225 h 1428750"/>
              <a:gd name="connsiteX1" fmla="*/ 2419350 w 2557462"/>
              <a:gd name="connsiteY1" fmla="*/ 895350 h 1428750"/>
              <a:gd name="connsiteX2" fmla="*/ 2319337 w 2557462"/>
              <a:gd name="connsiteY2" fmla="*/ 871537 h 1428750"/>
              <a:gd name="connsiteX3" fmla="*/ 2157412 w 2557462"/>
              <a:gd name="connsiteY3" fmla="*/ 852487 h 1428750"/>
              <a:gd name="connsiteX4" fmla="*/ 1962150 w 2557462"/>
              <a:gd name="connsiteY4" fmla="*/ 833437 h 1428750"/>
              <a:gd name="connsiteX5" fmla="*/ 1762125 w 2557462"/>
              <a:gd name="connsiteY5" fmla="*/ 771525 h 1428750"/>
              <a:gd name="connsiteX6" fmla="*/ 1524000 w 2557462"/>
              <a:gd name="connsiteY6" fmla="*/ 681037 h 1428750"/>
              <a:gd name="connsiteX7" fmla="*/ 1433512 w 2557462"/>
              <a:gd name="connsiteY7" fmla="*/ 652462 h 1428750"/>
              <a:gd name="connsiteX8" fmla="*/ 1262062 w 2557462"/>
              <a:gd name="connsiteY8" fmla="*/ 666750 h 1428750"/>
              <a:gd name="connsiteX9" fmla="*/ 1300162 w 2557462"/>
              <a:gd name="connsiteY9" fmla="*/ 347662 h 1428750"/>
              <a:gd name="connsiteX10" fmla="*/ 1343025 w 2557462"/>
              <a:gd name="connsiteY10" fmla="*/ 314325 h 1428750"/>
              <a:gd name="connsiteX11" fmla="*/ 1362075 w 2557462"/>
              <a:gd name="connsiteY11" fmla="*/ 252412 h 1428750"/>
              <a:gd name="connsiteX12" fmla="*/ 1362075 w 2557462"/>
              <a:gd name="connsiteY12" fmla="*/ 228600 h 1428750"/>
              <a:gd name="connsiteX13" fmla="*/ 1319212 w 2557462"/>
              <a:gd name="connsiteY13" fmla="*/ 228600 h 1428750"/>
              <a:gd name="connsiteX14" fmla="*/ 1304925 w 2557462"/>
              <a:gd name="connsiteY14" fmla="*/ 100012 h 1428750"/>
              <a:gd name="connsiteX15" fmla="*/ 1438275 w 2557462"/>
              <a:gd name="connsiteY15" fmla="*/ 119062 h 1428750"/>
              <a:gd name="connsiteX16" fmla="*/ 1438275 w 2557462"/>
              <a:gd name="connsiteY16" fmla="*/ 42862 h 1428750"/>
              <a:gd name="connsiteX17" fmla="*/ 1390650 w 2557462"/>
              <a:gd name="connsiteY17" fmla="*/ 0 h 1428750"/>
              <a:gd name="connsiteX18" fmla="*/ 1252537 w 2557462"/>
              <a:gd name="connsiteY18" fmla="*/ 76200 h 1428750"/>
              <a:gd name="connsiteX19" fmla="*/ 1204912 w 2557462"/>
              <a:gd name="connsiteY19" fmla="*/ 57150 h 1428750"/>
              <a:gd name="connsiteX20" fmla="*/ 1195387 w 2557462"/>
              <a:gd name="connsiteY20" fmla="*/ 23812 h 1428750"/>
              <a:gd name="connsiteX21" fmla="*/ 1128712 w 2557462"/>
              <a:gd name="connsiteY21" fmla="*/ 61912 h 1428750"/>
              <a:gd name="connsiteX22" fmla="*/ 1147762 w 2557462"/>
              <a:gd name="connsiteY22" fmla="*/ 176212 h 1428750"/>
              <a:gd name="connsiteX23" fmla="*/ 1085850 w 2557462"/>
              <a:gd name="connsiteY23" fmla="*/ 190500 h 1428750"/>
              <a:gd name="connsiteX24" fmla="*/ 981075 w 2557462"/>
              <a:gd name="connsiteY24" fmla="*/ 219075 h 1428750"/>
              <a:gd name="connsiteX25" fmla="*/ 1114425 w 2557462"/>
              <a:gd name="connsiteY25" fmla="*/ 700087 h 1428750"/>
              <a:gd name="connsiteX26" fmla="*/ 1023937 w 2557462"/>
              <a:gd name="connsiteY26" fmla="*/ 714375 h 1428750"/>
              <a:gd name="connsiteX27" fmla="*/ 857250 w 2557462"/>
              <a:gd name="connsiteY27" fmla="*/ 838200 h 1428750"/>
              <a:gd name="connsiteX28" fmla="*/ 719137 w 2557462"/>
              <a:gd name="connsiteY28" fmla="*/ 947737 h 1428750"/>
              <a:gd name="connsiteX29" fmla="*/ 533400 w 2557462"/>
              <a:gd name="connsiteY29" fmla="*/ 1009650 h 1428750"/>
              <a:gd name="connsiteX30" fmla="*/ 385762 w 2557462"/>
              <a:gd name="connsiteY30" fmla="*/ 1028700 h 1428750"/>
              <a:gd name="connsiteX31" fmla="*/ 233362 w 2557462"/>
              <a:gd name="connsiteY31" fmla="*/ 1119187 h 1428750"/>
              <a:gd name="connsiteX32" fmla="*/ 90487 w 2557462"/>
              <a:gd name="connsiteY32" fmla="*/ 1233487 h 1428750"/>
              <a:gd name="connsiteX33" fmla="*/ 23812 w 2557462"/>
              <a:gd name="connsiteY33" fmla="*/ 1343025 h 1428750"/>
              <a:gd name="connsiteX34" fmla="*/ 0 w 2557462"/>
              <a:gd name="connsiteY34" fmla="*/ 1428750 h 1428750"/>
              <a:gd name="connsiteX35" fmla="*/ 2543175 w 2557462"/>
              <a:gd name="connsiteY35" fmla="*/ 1423987 h 1428750"/>
              <a:gd name="connsiteX36" fmla="*/ 2557462 w 2557462"/>
              <a:gd name="connsiteY36" fmla="*/ 1038225 h 1428750"/>
              <a:gd name="connsiteX0" fmla="*/ 2533650 w 2533650"/>
              <a:gd name="connsiteY0" fmla="*/ 1038225 h 1423987"/>
              <a:gd name="connsiteX1" fmla="*/ 2395538 w 2533650"/>
              <a:gd name="connsiteY1" fmla="*/ 895350 h 1423987"/>
              <a:gd name="connsiteX2" fmla="*/ 2295525 w 2533650"/>
              <a:gd name="connsiteY2" fmla="*/ 871537 h 1423987"/>
              <a:gd name="connsiteX3" fmla="*/ 2133600 w 2533650"/>
              <a:gd name="connsiteY3" fmla="*/ 852487 h 1423987"/>
              <a:gd name="connsiteX4" fmla="*/ 1938338 w 2533650"/>
              <a:gd name="connsiteY4" fmla="*/ 833437 h 1423987"/>
              <a:gd name="connsiteX5" fmla="*/ 1738313 w 2533650"/>
              <a:gd name="connsiteY5" fmla="*/ 771525 h 1423987"/>
              <a:gd name="connsiteX6" fmla="*/ 1500188 w 2533650"/>
              <a:gd name="connsiteY6" fmla="*/ 681037 h 1423987"/>
              <a:gd name="connsiteX7" fmla="*/ 1409700 w 2533650"/>
              <a:gd name="connsiteY7" fmla="*/ 652462 h 1423987"/>
              <a:gd name="connsiteX8" fmla="*/ 1238250 w 2533650"/>
              <a:gd name="connsiteY8" fmla="*/ 666750 h 1423987"/>
              <a:gd name="connsiteX9" fmla="*/ 1276350 w 2533650"/>
              <a:gd name="connsiteY9" fmla="*/ 347662 h 1423987"/>
              <a:gd name="connsiteX10" fmla="*/ 1319213 w 2533650"/>
              <a:gd name="connsiteY10" fmla="*/ 314325 h 1423987"/>
              <a:gd name="connsiteX11" fmla="*/ 1338263 w 2533650"/>
              <a:gd name="connsiteY11" fmla="*/ 252412 h 1423987"/>
              <a:gd name="connsiteX12" fmla="*/ 1338263 w 2533650"/>
              <a:gd name="connsiteY12" fmla="*/ 228600 h 1423987"/>
              <a:gd name="connsiteX13" fmla="*/ 1295400 w 2533650"/>
              <a:gd name="connsiteY13" fmla="*/ 228600 h 1423987"/>
              <a:gd name="connsiteX14" fmla="*/ 1281113 w 2533650"/>
              <a:gd name="connsiteY14" fmla="*/ 100012 h 1423987"/>
              <a:gd name="connsiteX15" fmla="*/ 1414463 w 2533650"/>
              <a:gd name="connsiteY15" fmla="*/ 119062 h 1423987"/>
              <a:gd name="connsiteX16" fmla="*/ 1414463 w 2533650"/>
              <a:gd name="connsiteY16" fmla="*/ 42862 h 1423987"/>
              <a:gd name="connsiteX17" fmla="*/ 1366838 w 2533650"/>
              <a:gd name="connsiteY17" fmla="*/ 0 h 1423987"/>
              <a:gd name="connsiteX18" fmla="*/ 1228725 w 2533650"/>
              <a:gd name="connsiteY18" fmla="*/ 76200 h 1423987"/>
              <a:gd name="connsiteX19" fmla="*/ 1181100 w 2533650"/>
              <a:gd name="connsiteY19" fmla="*/ 57150 h 1423987"/>
              <a:gd name="connsiteX20" fmla="*/ 1171575 w 2533650"/>
              <a:gd name="connsiteY20" fmla="*/ 23812 h 1423987"/>
              <a:gd name="connsiteX21" fmla="*/ 1104900 w 2533650"/>
              <a:gd name="connsiteY21" fmla="*/ 61912 h 1423987"/>
              <a:gd name="connsiteX22" fmla="*/ 1123950 w 2533650"/>
              <a:gd name="connsiteY22" fmla="*/ 176212 h 1423987"/>
              <a:gd name="connsiteX23" fmla="*/ 1062038 w 2533650"/>
              <a:gd name="connsiteY23" fmla="*/ 190500 h 1423987"/>
              <a:gd name="connsiteX24" fmla="*/ 957263 w 2533650"/>
              <a:gd name="connsiteY24" fmla="*/ 219075 h 1423987"/>
              <a:gd name="connsiteX25" fmla="*/ 1090613 w 2533650"/>
              <a:gd name="connsiteY25" fmla="*/ 700087 h 1423987"/>
              <a:gd name="connsiteX26" fmla="*/ 1000125 w 2533650"/>
              <a:gd name="connsiteY26" fmla="*/ 714375 h 1423987"/>
              <a:gd name="connsiteX27" fmla="*/ 833438 w 2533650"/>
              <a:gd name="connsiteY27" fmla="*/ 838200 h 1423987"/>
              <a:gd name="connsiteX28" fmla="*/ 695325 w 2533650"/>
              <a:gd name="connsiteY28" fmla="*/ 947737 h 1423987"/>
              <a:gd name="connsiteX29" fmla="*/ 509588 w 2533650"/>
              <a:gd name="connsiteY29" fmla="*/ 1009650 h 1423987"/>
              <a:gd name="connsiteX30" fmla="*/ 361950 w 2533650"/>
              <a:gd name="connsiteY30" fmla="*/ 1028700 h 1423987"/>
              <a:gd name="connsiteX31" fmla="*/ 209550 w 2533650"/>
              <a:gd name="connsiteY31" fmla="*/ 1119187 h 1423987"/>
              <a:gd name="connsiteX32" fmla="*/ 66675 w 2533650"/>
              <a:gd name="connsiteY32" fmla="*/ 1233487 h 1423987"/>
              <a:gd name="connsiteX33" fmla="*/ 0 w 2533650"/>
              <a:gd name="connsiteY33" fmla="*/ 1343025 h 1423987"/>
              <a:gd name="connsiteX34" fmla="*/ 2519363 w 2533650"/>
              <a:gd name="connsiteY34" fmla="*/ 1423987 h 1423987"/>
              <a:gd name="connsiteX35" fmla="*/ 2533650 w 2533650"/>
              <a:gd name="connsiteY35" fmla="*/ 1038225 h 1423987"/>
              <a:gd name="connsiteX0" fmla="*/ 2466975 w 2466975"/>
              <a:gd name="connsiteY0" fmla="*/ 1038225 h 1423987"/>
              <a:gd name="connsiteX1" fmla="*/ 2328863 w 2466975"/>
              <a:gd name="connsiteY1" fmla="*/ 895350 h 1423987"/>
              <a:gd name="connsiteX2" fmla="*/ 2228850 w 2466975"/>
              <a:gd name="connsiteY2" fmla="*/ 871537 h 1423987"/>
              <a:gd name="connsiteX3" fmla="*/ 2066925 w 2466975"/>
              <a:gd name="connsiteY3" fmla="*/ 852487 h 1423987"/>
              <a:gd name="connsiteX4" fmla="*/ 1871663 w 2466975"/>
              <a:gd name="connsiteY4" fmla="*/ 833437 h 1423987"/>
              <a:gd name="connsiteX5" fmla="*/ 1671638 w 2466975"/>
              <a:gd name="connsiteY5" fmla="*/ 771525 h 1423987"/>
              <a:gd name="connsiteX6" fmla="*/ 1433513 w 2466975"/>
              <a:gd name="connsiteY6" fmla="*/ 681037 h 1423987"/>
              <a:gd name="connsiteX7" fmla="*/ 1343025 w 2466975"/>
              <a:gd name="connsiteY7" fmla="*/ 652462 h 1423987"/>
              <a:gd name="connsiteX8" fmla="*/ 1171575 w 2466975"/>
              <a:gd name="connsiteY8" fmla="*/ 666750 h 1423987"/>
              <a:gd name="connsiteX9" fmla="*/ 1209675 w 2466975"/>
              <a:gd name="connsiteY9" fmla="*/ 347662 h 1423987"/>
              <a:gd name="connsiteX10" fmla="*/ 1252538 w 2466975"/>
              <a:gd name="connsiteY10" fmla="*/ 314325 h 1423987"/>
              <a:gd name="connsiteX11" fmla="*/ 1271588 w 2466975"/>
              <a:gd name="connsiteY11" fmla="*/ 252412 h 1423987"/>
              <a:gd name="connsiteX12" fmla="*/ 1271588 w 2466975"/>
              <a:gd name="connsiteY12" fmla="*/ 228600 h 1423987"/>
              <a:gd name="connsiteX13" fmla="*/ 1228725 w 2466975"/>
              <a:gd name="connsiteY13" fmla="*/ 228600 h 1423987"/>
              <a:gd name="connsiteX14" fmla="*/ 1214438 w 2466975"/>
              <a:gd name="connsiteY14" fmla="*/ 100012 h 1423987"/>
              <a:gd name="connsiteX15" fmla="*/ 1347788 w 2466975"/>
              <a:gd name="connsiteY15" fmla="*/ 119062 h 1423987"/>
              <a:gd name="connsiteX16" fmla="*/ 1347788 w 2466975"/>
              <a:gd name="connsiteY16" fmla="*/ 42862 h 1423987"/>
              <a:gd name="connsiteX17" fmla="*/ 1300163 w 2466975"/>
              <a:gd name="connsiteY17" fmla="*/ 0 h 1423987"/>
              <a:gd name="connsiteX18" fmla="*/ 1162050 w 2466975"/>
              <a:gd name="connsiteY18" fmla="*/ 76200 h 1423987"/>
              <a:gd name="connsiteX19" fmla="*/ 1114425 w 2466975"/>
              <a:gd name="connsiteY19" fmla="*/ 57150 h 1423987"/>
              <a:gd name="connsiteX20" fmla="*/ 1104900 w 2466975"/>
              <a:gd name="connsiteY20" fmla="*/ 23812 h 1423987"/>
              <a:gd name="connsiteX21" fmla="*/ 1038225 w 2466975"/>
              <a:gd name="connsiteY21" fmla="*/ 61912 h 1423987"/>
              <a:gd name="connsiteX22" fmla="*/ 1057275 w 2466975"/>
              <a:gd name="connsiteY22" fmla="*/ 176212 h 1423987"/>
              <a:gd name="connsiteX23" fmla="*/ 995363 w 2466975"/>
              <a:gd name="connsiteY23" fmla="*/ 190500 h 1423987"/>
              <a:gd name="connsiteX24" fmla="*/ 890588 w 2466975"/>
              <a:gd name="connsiteY24" fmla="*/ 219075 h 1423987"/>
              <a:gd name="connsiteX25" fmla="*/ 1023938 w 2466975"/>
              <a:gd name="connsiteY25" fmla="*/ 700087 h 1423987"/>
              <a:gd name="connsiteX26" fmla="*/ 933450 w 2466975"/>
              <a:gd name="connsiteY26" fmla="*/ 714375 h 1423987"/>
              <a:gd name="connsiteX27" fmla="*/ 766763 w 2466975"/>
              <a:gd name="connsiteY27" fmla="*/ 838200 h 1423987"/>
              <a:gd name="connsiteX28" fmla="*/ 628650 w 2466975"/>
              <a:gd name="connsiteY28" fmla="*/ 947737 h 1423987"/>
              <a:gd name="connsiteX29" fmla="*/ 442913 w 2466975"/>
              <a:gd name="connsiteY29" fmla="*/ 1009650 h 1423987"/>
              <a:gd name="connsiteX30" fmla="*/ 295275 w 2466975"/>
              <a:gd name="connsiteY30" fmla="*/ 1028700 h 1423987"/>
              <a:gd name="connsiteX31" fmla="*/ 142875 w 2466975"/>
              <a:gd name="connsiteY31" fmla="*/ 1119187 h 1423987"/>
              <a:gd name="connsiteX32" fmla="*/ 0 w 2466975"/>
              <a:gd name="connsiteY32" fmla="*/ 1233487 h 1423987"/>
              <a:gd name="connsiteX33" fmla="*/ 2452688 w 2466975"/>
              <a:gd name="connsiteY33" fmla="*/ 1423987 h 1423987"/>
              <a:gd name="connsiteX34" fmla="*/ 2466975 w 2466975"/>
              <a:gd name="connsiteY34" fmla="*/ 1038225 h 1423987"/>
              <a:gd name="connsiteX0" fmla="*/ 2324100 w 2324100"/>
              <a:gd name="connsiteY0" fmla="*/ 1038225 h 1423987"/>
              <a:gd name="connsiteX1" fmla="*/ 2185988 w 2324100"/>
              <a:gd name="connsiteY1" fmla="*/ 895350 h 1423987"/>
              <a:gd name="connsiteX2" fmla="*/ 2085975 w 2324100"/>
              <a:gd name="connsiteY2" fmla="*/ 871537 h 1423987"/>
              <a:gd name="connsiteX3" fmla="*/ 1924050 w 2324100"/>
              <a:gd name="connsiteY3" fmla="*/ 852487 h 1423987"/>
              <a:gd name="connsiteX4" fmla="*/ 1728788 w 2324100"/>
              <a:gd name="connsiteY4" fmla="*/ 833437 h 1423987"/>
              <a:gd name="connsiteX5" fmla="*/ 1528763 w 2324100"/>
              <a:gd name="connsiteY5" fmla="*/ 771525 h 1423987"/>
              <a:gd name="connsiteX6" fmla="*/ 1290638 w 2324100"/>
              <a:gd name="connsiteY6" fmla="*/ 681037 h 1423987"/>
              <a:gd name="connsiteX7" fmla="*/ 1200150 w 2324100"/>
              <a:gd name="connsiteY7" fmla="*/ 652462 h 1423987"/>
              <a:gd name="connsiteX8" fmla="*/ 1028700 w 2324100"/>
              <a:gd name="connsiteY8" fmla="*/ 666750 h 1423987"/>
              <a:gd name="connsiteX9" fmla="*/ 1066800 w 2324100"/>
              <a:gd name="connsiteY9" fmla="*/ 347662 h 1423987"/>
              <a:gd name="connsiteX10" fmla="*/ 1109663 w 2324100"/>
              <a:gd name="connsiteY10" fmla="*/ 314325 h 1423987"/>
              <a:gd name="connsiteX11" fmla="*/ 1128713 w 2324100"/>
              <a:gd name="connsiteY11" fmla="*/ 252412 h 1423987"/>
              <a:gd name="connsiteX12" fmla="*/ 1128713 w 2324100"/>
              <a:gd name="connsiteY12" fmla="*/ 228600 h 1423987"/>
              <a:gd name="connsiteX13" fmla="*/ 1085850 w 2324100"/>
              <a:gd name="connsiteY13" fmla="*/ 228600 h 1423987"/>
              <a:gd name="connsiteX14" fmla="*/ 1071563 w 2324100"/>
              <a:gd name="connsiteY14" fmla="*/ 100012 h 1423987"/>
              <a:gd name="connsiteX15" fmla="*/ 1204913 w 2324100"/>
              <a:gd name="connsiteY15" fmla="*/ 119062 h 1423987"/>
              <a:gd name="connsiteX16" fmla="*/ 1204913 w 2324100"/>
              <a:gd name="connsiteY16" fmla="*/ 42862 h 1423987"/>
              <a:gd name="connsiteX17" fmla="*/ 1157288 w 2324100"/>
              <a:gd name="connsiteY17" fmla="*/ 0 h 1423987"/>
              <a:gd name="connsiteX18" fmla="*/ 1019175 w 2324100"/>
              <a:gd name="connsiteY18" fmla="*/ 76200 h 1423987"/>
              <a:gd name="connsiteX19" fmla="*/ 971550 w 2324100"/>
              <a:gd name="connsiteY19" fmla="*/ 57150 h 1423987"/>
              <a:gd name="connsiteX20" fmla="*/ 962025 w 2324100"/>
              <a:gd name="connsiteY20" fmla="*/ 23812 h 1423987"/>
              <a:gd name="connsiteX21" fmla="*/ 895350 w 2324100"/>
              <a:gd name="connsiteY21" fmla="*/ 61912 h 1423987"/>
              <a:gd name="connsiteX22" fmla="*/ 914400 w 2324100"/>
              <a:gd name="connsiteY22" fmla="*/ 176212 h 1423987"/>
              <a:gd name="connsiteX23" fmla="*/ 852488 w 2324100"/>
              <a:gd name="connsiteY23" fmla="*/ 190500 h 1423987"/>
              <a:gd name="connsiteX24" fmla="*/ 747713 w 2324100"/>
              <a:gd name="connsiteY24" fmla="*/ 219075 h 1423987"/>
              <a:gd name="connsiteX25" fmla="*/ 881063 w 2324100"/>
              <a:gd name="connsiteY25" fmla="*/ 700087 h 1423987"/>
              <a:gd name="connsiteX26" fmla="*/ 790575 w 2324100"/>
              <a:gd name="connsiteY26" fmla="*/ 714375 h 1423987"/>
              <a:gd name="connsiteX27" fmla="*/ 623888 w 2324100"/>
              <a:gd name="connsiteY27" fmla="*/ 838200 h 1423987"/>
              <a:gd name="connsiteX28" fmla="*/ 485775 w 2324100"/>
              <a:gd name="connsiteY28" fmla="*/ 947737 h 1423987"/>
              <a:gd name="connsiteX29" fmla="*/ 300038 w 2324100"/>
              <a:gd name="connsiteY29" fmla="*/ 1009650 h 1423987"/>
              <a:gd name="connsiteX30" fmla="*/ 152400 w 2324100"/>
              <a:gd name="connsiteY30" fmla="*/ 1028700 h 1423987"/>
              <a:gd name="connsiteX31" fmla="*/ 0 w 2324100"/>
              <a:gd name="connsiteY31" fmla="*/ 1119187 h 1423987"/>
              <a:gd name="connsiteX32" fmla="*/ 2309813 w 2324100"/>
              <a:gd name="connsiteY32" fmla="*/ 1423987 h 1423987"/>
              <a:gd name="connsiteX33" fmla="*/ 2324100 w 2324100"/>
              <a:gd name="connsiteY33" fmla="*/ 1038225 h 1423987"/>
              <a:gd name="connsiteX0" fmla="*/ 2408767 w 2408767"/>
              <a:gd name="connsiteY0" fmla="*/ 1038225 h 1423987"/>
              <a:gd name="connsiteX1" fmla="*/ 2270655 w 2408767"/>
              <a:gd name="connsiteY1" fmla="*/ 895350 h 1423987"/>
              <a:gd name="connsiteX2" fmla="*/ 2170642 w 2408767"/>
              <a:gd name="connsiteY2" fmla="*/ 871537 h 1423987"/>
              <a:gd name="connsiteX3" fmla="*/ 2008717 w 2408767"/>
              <a:gd name="connsiteY3" fmla="*/ 852487 h 1423987"/>
              <a:gd name="connsiteX4" fmla="*/ 1813455 w 2408767"/>
              <a:gd name="connsiteY4" fmla="*/ 833437 h 1423987"/>
              <a:gd name="connsiteX5" fmla="*/ 1613430 w 2408767"/>
              <a:gd name="connsiteY5" fmla="*/ 771525 h 1423987"/>
              <a:gd name="connsiteX6" fmla="*/ 1375305 w 2408767"/>
              <a:gd name="connsiteY6" fmla="*/ 681037 h 1423987"/>
              <a:gd name="connsiteX7" fmla="*/ 1284817 w 2408767"/>
              <a:gd name="connsiteY7" fmla="*/ 652462 h 1423987"/>
              <a:gd name="connsiteX8" fmla="*/ 1113367 w 2408767"/>
              <a:gd name="connsiteY8" fmla="*/ 666750 h 1423987"/>
              <a:gd name="connsiteX9" fmla="*/ 1151467 w 2408767"/>
              <a:gd name="connsiteY9" fmla="*/ 347662 h 1423987"/>
              <a:gd name="connsiteX10" fmla="*/ 1194330 w 2408767"/>
              <a:gd name="connsiteY10" fmla="*/ 314325 h 1423987"/>
              <a:gd name="connsiteX11" fmla="*/ 1213380 w 2408767"/>
              <a:gd name="connsiteY11" fmla="*/ 252412 h 1423987"/>
              <a:gd name="connsiteX12" fmla="*/ 1213380 w 2408767"/>
              <a:gd name="connsiteY12" fmla="*/ 228600 h 1423987"/>
              <a:gd name="connsiteX13" fmla="*/ 1170517 w 2408767"/>
              <a:gd name="connsiteY13" fmla="*/ 228600 h 1423987"/>
              <a:gd name="connsiteX14" fmla="*/ 1156230 w 2408767"/>
              <a:gd name="connsiteY14" fmla="*/ 100012 h 1423987"/>
              <a:gd name="connsiteX15" fmla="*/ 1289580 w 2408767"/>
              <a:gd name="connsiteY15" fmla="*/ 119062 h 1423987"/>
              <a:gd name="connsiteX16" fmla="*/ 1289580 w 2408767"/>
              <a:gd name="connsiteY16" fmla="*/ 42862 h 1423987"/>
              <a:gd name="connsiteX17" fmla="*/ 1241955 w 2408767"/>
              <a:gd name="connsiteY17" fmla="*/ 0 h 1423987"/>
              <a:gd name="connsiteX18" fmla="*/ 1103842 w 2408767"/>
              <a:gd name="connsiteY18" fmla="*/ 76200 h 1423987"/>
              <a:gd name="connsiteX19" fmla="*/ 1056217 w 2408767"/>
              <a:gd name="connsiteY19" fmla="*/ 57150 h 1423987"/>
              <a:gd name="connsiteX20" fmla="*/ 1046692 w 2408767"/>
              <a:gd name="connsiteY20" fmla="*/ 23812 h 1423987"/>
              <a:gd name="connsiteX21" fmla="*/ 980017 w 2408767"/>
              <a:gd name="connsiteY21" fmla="*/ 61912 h 1423987"/>
              <a:gd name="connsiteX22" fmla="*/ 999067 w 2408767"/>
              <a:gd name="connsiteY22" fmla="*/ 176212 h 1423987"/>
              <a:gd name="connsiteX23" fmla="*/ 937155 w 2408767"/>
              <a:gd name="connsiteY23" fmla="*/ 190500 h 1423987"/>
              <a:gd name="connsiteX24" fmla="*/ 832380 w 2408767"/>
              <a:gd name="connsiteY24" fmla="*/ 219075 h 1423987"/>
              <a:gd name="connsiteX25" fmla="*/ 965730 w 2408767"/>
              <a:gd name="connsiteY25" fmla="*/ 700087 h 1423987"/>
              <a:gd name="connsiteX26" fmla="*/ 875242 w 2408767"/>
              <a:gd name="connsiteY26" fmla="*/ 714375 h 1423987"/>
              <a:gd name="connsiteX27" fmla="*/ 708555 w 2408767"/>
              <a:gd name="connsiteY27" fmla="*/ 838200 h 1423987"/>
              <a:gd name="connsiteX28" fmla="*/ 570442 w 2408767"/>
              <a:gd name="connsiteY28" fmla="*/ 947737 h 1423987"/>
              <a:gd name="connsiteX29" fmla="*/ 384705 w 2408767"/>
              <a:gd name="connsiteY29" fmla="*/ 1009650 h 1423987"/>
              <a:gd name="connsiteX30" fmla="*/ 237067 w 2408767"/>
              <a:gd name="connsiteY30" fmla="*/ 1028700 h 1423987"/>
              <a:gd name="connsiteX31" fmla="*/ 0 w 2408767"/>
              <a:gd name="connsiteY31" fmla="*/ 1161520 h 1423987"/>
              <a:gd name="connsiteX32" fmla="*/ 2394480 w 2408767"/>
              <a:gd name="connsiteY32" fmla="*/ 1423987 h 1423987"/>
              <a:gd name="connsiteX33" fmla="*/ 2408767 w 2408767"/>
              <a:gd name="connsiteY33" fmla="*/ 1038225 h 1423987"/>
              <a:gd name="connsiteX0" fmla="*/ 2408767 w 2408767"/>
              <a:gd name="connsiteY0" fmla="*/ 1038225 h 1161520"/>
              <a:gd name="connsiteX1" fmla="*/ 2270655 w 2408767"/>
              <a:gd name="connsiteY1" fmla="*/ 895350 h 1161520"/>
              <a:gd name="connsiteX2" fmla="*/ 2170642 w 2408767"/>
              <a:gd name="connsiteY2" fmla="*/ 871537 h 1161520"/>
              <a:gd name="connsiteX3" fmla="*/ 2008717 w 2408767"/>
              <a:gd name="connsiteY3" fmla="*/ 852487 h 1161520"/>
              <a:gd name="connsiteX4" fmla="*/ 1813455 w 2408767"/>
              <a:gd name="connsiteY4" fmla="*/ 833437 h 1161520"/>
              <a:gd name="connsiteX5" fmla="*/ 1613430 w 2408767"/>
              <a:gd name="connsiteY5" fmla="*/ 771525 h 1161520"/>
              <a:gd name="connsiteX6" fmla="*/ 1375305 w 2408767"/>
              <a:gd name="connsiteY6" fmla="*/ 681037 h 1161520"/>
              <a:gd name="connsiteX7" fmla="*/ 1284817 w 2408767"/>
              <a:gd name="connsiteY7" fmla="*/ 652462 h 1161520"/>
              <a:gd name="connsiteX8" fmla="*/ 1113367 w 2408767"/>
              <a:gd name="connsiteY8" fmla="*/ 666750 h 1161520"/>
              <a:gd name="connsiteX9" fmla="*/ 1151467 w 2408767"/>
              <a:gd name="connsiteY9" fmla="*/ 347662 h 1161520"/>
              <a:gd name="connsiteX10" fmla="*/ 1194330 w 2408767"/>
              <a:gd name="connsiteY10" fmla="*/ 314325 h 1161520"/>
              <a:gd name="connsiteX11" fmla="*/ 1213380 w 2408767"/>
              <a:gd name="connsiteY11" fmla="*/ 252412 h 1161520"/>
              <a:gd name="connsiteX12" fmla="*/ 1213380 w 2408767"/>
              <a:gd name="connsiteY12" fmla="*/ 228600 h 1161520"/>
              <a:gd name="connsiteX13" fmla="*/ 1170517 w 2408767"/>
              <a:gd name="connsiteY13" fmla="*/ 228600 h 1161520"/>
              <a:gd name="connsiteX14" fmla="*/ 1156230 w 2408767"/>
              <a:gd name="connsiteY14" fmla="*/ 100012 h 1161520"/>
              <a:gd name="connsiteX15" fmla="*/ 1289580 w 2408767"/>
              <a:gd name="connsiteY15" fmla="*/ 119062 h 1161520"/>
              <a:gd name="connsiteX16" fmla="*/ 1289580 w 2408767"/>
              <a:gd name="connsiteY16" fmla="*/ 42862 h 1161520"/>
              <a:gd name="connsiteX17" fmla="*/ 1241955 w 2408767"/>
              <a:gd name="connsiteY17" fmla="*/ 0 h 1161520"/>
              <a:gd name="connsiteX18" fmla="*/ 1103842 w 2408767"/>
              <a:gd name="connsiteY18" fmla="*/ 76200 h 1161520"/>
              <a:gd name="connsiteX19" fmla="*/ 1056217 w 2408767"/>
              <a:gd name="connsiteY19" fmla="*/ 57150 h 1161520"/>
              <a:gd name="connsiteX20" fmla="*/ 1046692 w 2408767"/>
              <a:gd name="connsiteY20" fmla="*/ 23812 h 1161520"/>
              <a:gd name="connsiteX21" fmla="*/ 980017 w 2408767"/>
              <a:gd name="connsiteY21" fmla="*/ 61912 h 1161520"/>
              <a:gd name="connsiteX22" fmla="*/ 999067 w 2408767"/>
              <a:gd name="connsiteY22" fmla="*/ 176212 h 1161520"/>
              <a:gd name="connsiteX23" fmla="*/ 937155 w 2408767"/>
              <a:gd name="connsiteY23" fmla="*/ 190500 h 1161520"/>
              <a:gd name="connsiteX24" fmla="*/ 832380 w 2408767"/>
              <a:gd name="connsiteY24" fmla="*/ 219075 h 1161520"/>
              <a:gd name="connsiteX25" fmla="*/ 965730 w 2408767"/>
              <a:gd name="connsiteY25" fmla="*/ 700087 h 1161520"/>
              <a:gd name="connsiteX26" fmla="*/ 875242 w 2408767"/>
              <a:gd name="connsiteY26" fmla="*/ 714375 h 1161520"/>
              <a:gd name="connsiteX27" fmla="*/ 708555 w 2408767"/>
              <a:gd name="connsiteY27" fmla="*/ 838200 h 1161520"/>
              <a:gd name="connsiteX28" fmla="*/ 570442 w 2408767"/>
              <a:gd name="connsiteY28" fmla="*/ 947737 h 1161520"/>
              <a:gd name="connsiteX29" fmla="*/ 384705 w 2408767"/>
              <a:gd name="connsiteY29" fmla="*/ 1009650 h 1161520"/>
              <a:gd name="connsiteX30" fmla="*/ 237067 w 2408767"/>
              <a:gd name="connsiteY30" fmla="*/ 1028700 h 1161520"/>
              <a:gd name="connsiteX31" fmla="*/ 0 w 2408767"/>
              <a:gd name="connsiteY31" fmla="*/ 1161520 h 1161520"/>
              <a:gd name="connsiteX32" fmla="*/ 2394480 w 2408767"/>
              <a:gd name="connsiteY32" fmla="*/ 1161520 h 1161520"/>
              <a:gd name="connsiteX33" fmla="*/ 2408767 w 2408767"/>
              <a:gd name="connsiteY33" fmla="*/ 1038225 h 1161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2408767" h="1161520">
                <a:moveTo>
                  <a:pt x="2408767" y="1038225"/>
                </a:moveTo>
                <a:lnTo>
                  <a:pt x="2270655" y="895350"/>
                </a:lnTo>
                <a:lnTo>
                  <a:pt x="2170642" y="871537"/>
                </a:lnTo>
                <a:lnTo>
                  <a:pt x="2008717" y="852487"/>
                </a:lnTo>
                <a:lnTo>
                  <a:pt x="1813455" y="833437"/>
                </a:lnTo>
                <a:lnTo>
                  <a:pt x="1613430" y="771525"/>
                </a:lnTo>
                <a:lnTo>
                  <a:pt x="1375305" y="681037"/>
                </a:lnTo>
                <a:lnTo>
                  <a:pt x="1284817" y="652462"/>
                </a:lnTo>
                <a:lnTo>
                  <a:pt x="1113367" y="666750"/>
                </a:lnTo>
                <a:lnTo>
                  <a:pt x="1151467" y="347662"/>
                </a:lnTo>
                <a:lnTo>
                  <a:pt x="1194330" y="314325"/>
                </a:lnTo>
                <a:lnTo>
                  <a:pt x="1213380" y="252412"/>
                </a:lnTo>
                <a:lnTo>
                  <a:pt x="1213380" y="228600"/>
                </a:lnTo>
                <a:lnTo>
                  <a:pt x="1170517" y="228600"/>
                </a:lnTo>
                <a:lnTo>
                  <a:pt x="1156230" y="100012"/>
                </a:lnTo>
                <a:lnTo>
                  <a:pt x="1289580" y="119062"/>
                </a:lnTo>
                <a:lnTo>
                  <a:pt x="1289580" y="42862"/>
                </a:lnTo>
                <a:lnTo>
                  <a:pt x="1241955" y="0"/>
                </a:lnTo>
                <a:lnTo>
                  <a:pt x="1103842" y="76200"/>
                </a:lnTo>
                <a:lnTo>
                  <a:pt x="1056217" y="57150"/>
                </a:lnTo>
                <a:lnTo>
                  <a:pt x="1046692" y="23812"/>
                </a:lnTo>
                <a:lnTo>
                  <a:pt x="980017" y="61912"/>
                </a:lnTo>
                <a:lnTo>
                  <a:pt x="999067" y="176212"/>
                </a:lnTo>
                <a:lnTo>
                  <a:pt x="937155" y="190500"/>
                </a:lnTo>
                <a:lnTo>
                  <a:pt x="832380" y="219075"/>
                </a:lnTo>
                <a:lnTo>
                  <a:pt x="965730" y="700087"/>
                </a:lnTo>
                <a:lnTo>
                  <a:pt x="875242" y="714375"/>
                </a:lnTo>
                <a:lnTo>
                  <a:pt x="708555" y="838200"/>
                </a:lnTo>
                <a:lnTo>
                  <a:pt x="570442" y="947737"/>
                </a:lnTo>
                <a:lnTo>
                  <a:pt x="384705" y="1009650"/>
                </a:lnTo>
                <a:lnTo>
                  <a:pt x="237067" y="1028700"/>
                </a:lnTo>
                <a:lnTo>
                  <a:pt x="0" y="1161520"/>
                </a:lnTo>
                <a:lnTo>
                  <a:pt x="2394480" y="1161520"/>
                </a:lnTo>
                <a:cubicBezTo>
                  <a:pt x="2396067" y="1034520"/>
                  <a:pt x="2397655" y="1169987"/>
                  <a:pt x="2408767" y="1038225"/>
                </a:cubicBezTo>
                <a:close/>
              </a:path>
            </a:pathLst>
          </a:custGeom>
          <a:solidFill>
            <a:srgbClr val="C00000">
              <a:alpha val="75000"/>
            </a:srgbClr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2414673" y="4420378"/>
            <a:ext cx="548040" cy="1826652"/>
          </a:xfrm>
          <a:custGeom>
            <a:avLst/>
            <a:gdLst>
              <a:gd name="connsiteX0" fmla="*/ 619711 w 619711"/>
              <a:gd name="connsiteY0" fmla="*/ 2240496 h 2240496"/>
              <a:gd name="connsiteX1" fmla="*/ 598043 w 619711"/>
              <a:gd name="connsiteY1" fmla="*/ 2041149 h 2240496"/>
              <a:gd name="connsiteX2" fmla="*/ 593710 w 619711"/>
              <a:gd name="connsiteY2" fmla="*/ 1911139 h 2240496"/>
              <a:gd name="connsiteX3" fmla="*/ 554707 w 619711"/>
              <a:gd name="connsiteY3" fmla="*/ 1755128 h 2240496"/>
              <a:gd name="connsiteX4" fmla="*/ 459366 w 619711"/>
              <a:gd name="connsiteY4" fmla="*/ 1672788 h 2240496"/>
              <a:gd name="connsiteX5" fmla="*/ 390028 w 619711"/>
              <a:gd name="connsiteY5" fmla="*/ 1612117 h 2240496"/>
              <a:gd name="connsiteX6" fmla="*/ 342358 w 619711"/>
              <a:gd name="connsiteY6" fmla="*/ 1469107 h 2240496"/>
              <a:gd name="connsiteX7" fmla="*/ 86673 w 619711"/>
              <a:gd name="connsiteY7" fmla="*/ 654381 h 2240496"/>
              <a:gd name="connsiteX8" fmla="*/ 17334 w 619711"/>
              <a:gd name="connsiteY8" fmla="*/ 368360 h 2240496"/>
              <a:gd name="connsiteX9" fmla="*/ 4333 w 619711"/>
              <a:gd name="connsiteY9" fmla="*/ 208015 h 2240496"/>
              <a:gd name="connsiteX10" fmla="*/ 21668 w 619711"/>
              <a:gd name="connsiteY10" fmla="*/ 125676 h 2240496"/>
              <a:gd name="connsiteX11" fmla="*/ 0 w 619711"/>
              <a:gd name="connsiteY11" fmla="*/ 0 h 2240496"/>
              <a:gd name="connsiteX0" fmla="*/ 598043 w 598043"/>
              <a:gd name="connsiteY0" fmla="*/ 2041149 h 2041149"/>
              <a:gd name="connsiteX1" fmla="*/ 593710 w 598043"/>
              <a:gd name="connsiteY1" fmla="*/ 1911139 h 2041149"/>
              <a:gd name="connsiteX2" fmla="*/ 554707 w 598043"/>
              <a:gd name="connsiteY2" fmla="*/ 1755128 h 2041149"/>
              <a:gd name="connsiteX3" fmla="*/ 459366 w 598043"/>
              <a:gd name="connsiteY3" fmla="*/ 1672788 h 2041149"/>
              <a:gd name="connsiteX4" fmla="*/ 390028 w 598043"/>
              <a:gd name="connsiteY4" fmla="*/ 1612117 h 2041149"/>
              <a:gd name="connsiteX5" fmla="*/ 342358 w 598043"/>
              <a:gd name="connsiteY5" fmla="*/ 1469107 h 2041149"/>
              <a:gd name="connsiteX6" fmla="*/ 86673 w 598043"/>
              <a:gd name="connsiteY6" fmla="*/ 654381 h 2041149"/>
              <a:gd name="connsiteX7" fmla="*/ 17334 w 598043"/>
              <a:gd name="connsiteY7" fmla="*/ 368360 h 2041149"/>
              <a:gd name="connsiteX8" fmla="*/ 4333 w 598043"/>
              <a:gd name="connsiteY8" fmla="*/ 208015 h 2041149"/>
              <a:gd name="connsiteX9" fmla="*/ 21668 w 598043"/>
              <a:gd name="connsiteY9" fmla="*/ 125676 h 2041149"/>
              <a:gd name="connsiteX10" fmla="*/ 0 w 598043"/>
              <a:gd name="connsiteY10" fmla="*/ 0 h 2041149"/>
              <a:gd name="connsiteX0" fmla="*/ 593710 w 593710"/>
              <a:gd name="connsiteY0" fmla="*/ 1911139 h 1911139"/>
              <a:gd name="connsiteX1" fmla="*/ 554707 w 593710"/>
              <a:gd name="connsiteY1" fmla="*/ 1755128 h 1911139"/>
              <a:gd name="connsiteX2" fmla="*/ 459366 w 593710"/>
              <a:gd name="connsiteY2" fmla="*/ 1672788 h 1911139"/>
              <a:gd name="connsiteX3" fmla="*/ 390028 w 593710"/>
              <a:gd name="connsiteY3" fmla="*/ 1612117 h 1911139"/>
              <a:gd name="connsiteX4" fmla="*/ 342358 w 593710"/>
              <a:gd name="connsiteY4" fmla="*/ 1469107 h 1911139"/>
              <a:gd name="connsiteX5" fmla="*/ 86673 w 593710"/>
              <a:gd name="connsiteY5" fmla="*/ 654381 h 1911139"/>
              <a:gd name="connsiteX6" fmla="*/ 17334 w 593710"/>
              <a:gd name="connsiteY6" fmla="*/ 368360 h 1911139"/>
              <a:gd name="connsiteX7" fmla="*/ 4333 w 593710"/>
              <a:gd name="connsiteY7" fmla="*/ 208015 h 1911139"/>
              <a:gd name="connsiteX8" fmla="*/ 21668 w 593710"/>
              <a:gd name="connsiteY8" fmla="*/ 125676 h 1911139"/>
              <a:gd name="connsiteX9" fmla="*/ 0 w 593710"/>
              <a:gd name="connsiteY9" fmla="*/ 0 h 1911139"/>
              <a:gd name="connsiteX0" fmla="*/ 593710 w 593710"/>
              <a:gd name="connsiteY0" fmla="*/ 1978873 h 1978873"/>
              <a:gd name="connsiteX1" fmla="*/ 554707 w 593710"/>
              <a:gd name="connsiteY1" fmla="*/ 1755128 h 1978873"/>
              <a:gd name="connsiteX2" fmla="*/ 459366 w 593710"/>
              <a:gd name="connsiteY2" fmla="*/ 1672788 h 1978873"/>
              <a:gd name="connsiteX3" fmla="*/ 390028 w 593710"/>
              <a:gd name="connsiteY3" fmla="*/ 1612117 h 1978873"/>
              <a:gd name="connsiteX4" fmla="*/ 342358 w 593710"/>
              <a:gd name="connsiteY4" fmla="*/ 1469107 h 1978873"/>
              <a:gd name="connsiteX5" fmla="*/ 86673 w 593710"/>
              <a:gd name="connsiteY5" fmla="*/ 654381 h 1978873"/>
              <a:gd name="connsiteX6" fmla="*/ 17334 w 593710"/>
              <a:gd name="connsiteY6" fmla="*/ 368360 h 1978873"/>
              <a:gd name="connsiteX7" fmla="*/ 4333 w 593710"/>
              <a:gd name="connsiteY7" fmla="*/ 208015 h 1978873"/>
              <a:gd name="connsiteX8" fmla="*/ 21668 w 593710"/>
              <a:gd name="connsiteY8" fmla="*/ 125676 h 1978873"/>
              <a:gd name="connsiteX9" fmla="*/ 0 w 593710"/>
              <a:gd name="connsiteY9" fmla="*/ 0 h 1978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3710" h="1978873">
                <a:moveTo>
                  <a:pt x="593710" y="1978873"/>
                </a:moveTo>
                <a:cubicBezTo>
                  <a:pt x="586487" y="1931203"/>
                  <a:pt x="577098" y="1806142"/>
                  <a:pt x="554707" y="1755128"/>
                </a:cubicBezTo>
                <a:cubicBezTo>
                  <a:pt x="532316" y="1704114"/>
                  <a:pt x="459366" y="1672788"/>
                  <a:pt x="459366" y="1672788"/>
                </a:cubicBezTo>
                <a:cubicBezTo>
                  <a:pt x="431920" y="1648953"/>
                  <a:pt x="409529" y="1646064"/>
                  <a:pt x="390028" y="1612117"/>
                </a:cubicBezTo>
                <a:cubicBezTo>
                  <a:pt x="370527" y="1578170"/>
                  <a:pt x="392917" y="1628730"/>
                  <a:pt x="342358" y="1469107"/>
                </a:cubicBezTo>
                <a:cubicBezTo>
                  <a:pt x="291799" y="1309484"/>
                  <a:pt x="140844" y="837839"/>
                  <a:pt x="86673" y="654381"/>
                </a:cubicBezTo>
                <a:cubicBezTo>
                  <a:pt x="32502" y="470923"/>
                  <a:pt x="31057" y="442754"/>
                  <a:pt x="17334" y="368360"/>
                </a:cubicBezTo>
                <a:cubicBezTo>
                  <a:pt x="3611" y="293966"/>
                  <a:pt x="3611" y="248462"/>
                  <a:pt x="4333" y="208015"/>
                </a:cubicBezTo>
                <a:cubicBezTo>
                  <a:pt x="5055" y="167568"/>
                  <a:pt x="22390" y="160345"/>
                  <a:pt x="21668" y="125676"/>
                </a:cubicBezTo>
                <a:cubicBezTo>
                  <a:pt x="20946" y="91007"/>
                  <a:pt x="10473" y="45503"/>
                  <a:pt x="0" y="0"/>
                </a:cubicBezTo>
              </a:path>
            </a:pathLst>
          </a:custGeom>
          <a:noFill/>
          <a:ln w="254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19" name="Полилиния 18"/>
          <p:cNvSpPr/>
          <p:nvPr/>
        </p:nvSpPr>
        <p:spPr>
          <a:xfrm>
            <a:off x="2406673" y="2060206"/>
            <a:ext cx="268020" cy="2360172"/>
          </a:xfrm>
          <a:custGeom>
            <a:avLst/>
            <a:gdLst>
              <a:gd name="connsiteX0" fmla="*/ 290355 w 290355"/>
              <a:gd name="connsiteY0" fmla="*/ 0 h 2556853"/>
              <a:gd name="connsiteX1" fmla="*/ 242685 w 290355"/>
              <a:gd name="connsiteY1" fmla="*/ 199347 h 2556853"/>
              <a:gd name="connsiteX2" fmla="*/ 156012 w 290355"/>
              <a:gd name="connsiteY2" fmla="*/ 433365 h 2556853"/>
              <a:gd name="connsiteX3" fmla="*/ 112675 w 290355"/>
              <a:gd name="connsiteY3" fmla="*/ 641380 h 2556853"/>
              <a:gd name="connsiteX4" fmla="*/ 147344 w 290355"/>
              <a:gd name="connsiteY4" fmla="*/ 823393 h 2556853"/>
              <a:gd name="connsiteX5" fmla="*/ 221016 w 290355"/>
              <a:gd name="connsiteY5" fmla="*/ 975071 h 2556853"/>
              <a:gd name="connsiteX6" fmla="*/ 195014 w 290355"/>
              <a:gd name="connsiteY6" fmla="*/ 1152750 h 2556853"/>
              <a:gd name="connsiteX7" fmla="*/ 203682 w 290355"/>
              <a:gd name="connsiteY7" fmla="*/ 1300094 h 2556853"/>
              <a:gd name="connsiteX8" fmla="*/ 151678 w 290355"/>
              <a:gd name="connsiteY8" fmla="*/ 1443105 h 2556853"/>
              <a:gd name="connsiteX9" fmla="*/ 117009 w 290355"/>
              <a:gd name="connsiteY9" fmla="*/ 1594783 h 2556853"/>
              <a:gd name="connsiteX10" fmla="*/ 78006 w 290355"/>
              <a:gd name="connsiteY10" fmla="*/ 1746460 h 2556853"/>
              <a:gd name="connsiteX11" fmla="*/ 30336 w 290355"/>
              <a:gd name="connsiteY11" fmla="*/ 1937141 h 2556853"/>
              <a:gd name="connsiteX12" fmla="*/ 56338 w 290355"/>
              <a:gd name="connsiteY12" fmla="*/ 2119154 h 2556853"/>
              <a:gd name="connsiteX13" fmla="*/ 39003 w 290355"/>
              <a:gd name="connsiteY13" fmla="*/ 2283833 h 2556853"/>
              <a:gd name="connsiteX14" fmla="*/ 8668 w 290355"/>
              <a:gd name="connsiteY14" fmla="*/ 2413842 h 2556853"/>
              <a:gd name="connsiteX15" fmla="*/ 0 w 290355"/>
              <a:gd name="connsiteY15" fmla="*/ 2496182 h 2556853"/>
              <a:gd name="connsiteX16" fmla="*/ 8668 w 290355"/>
              <a:gd name="connsiteY16" fmla="*/ 2556853 h 2556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90355" h="2556853">
                <a:moveTo>
                  <a:pt x="290355" y="0"/>
                </a:moveTo>
                <a:cubicBezTo>
                  <a:pt x="277715" y="63560"/>
                  <a:pt x="265075" y="127120"/>
                  <a:pt x="242685" y="199347"/>
                </a:cubicBezTo>
                <a:cubicBezTo>
                  <a:pt x="220295" y="271574"/>
                  <a:pt x="177680" y="359693"/>
                  <a:pt x="156012" y="433365"/>
                </a:cubicBezTo>
                <a:cubicBezTo>
                  <a:pt x="134344" y="507037"/>
                  <a:pt x="114120" y="576375"/>
                  <a:pt x="112675" y="641380"/>
                </a:cubicBezTo>
                <a:cubicBezTo>
                  <a:pt x="111230" y="706385"/>
                  <a:pt x="129287" y="767778"/>
                  <a:pt x="147344" y="823393"/>
                </a:cubicBezTo>
                <a:cubicBezTo>
                  <a:pt x="165401" y="879008"/>
                  <a:pt x="213071" y="920178"/>
                  <a:pt x="221016" y="975071"/>
                </a:cubicBezTo>
                <a:cubicBezTo>
                  <a:pt x="228961" y="1029964"/>
                  <a:pt x="197903" y="1098580"/>
                  <a:pt x="195014" y="1152750"/>
                </a:cubicBezTo>
                <a:cubicBezTo>
                  <a:pt x="192125" y="1206920"/>
                  <a:pt x="210905" y="1251701"/>
                  <a:pt x="203682" y="1300094"/>
                </a:cubicBezTo>
                <a:cubicBezTo>
                  <a:pt x="196459" y="1348487"/>
                  <a:pt x="166123" y="1393990"/>
                  <a:pt x="151678" y="1443105"/>
                </a:cubicBezTo>
                <a:cubicBezTo>
                  <a:pt x="137233" y="1492220"/>
                  <a:pt x="129288" y="1544224"/>
                  <a:pt x="117009" y="1594783"/>
                </a:cubicBezTo>
                <a:cubicBezTo>
                  <a:pt x="104730" y="1645342"/>
                  <a:pt x="92451" y="1689400"/>
                  <a:pt x="78006" y="1746460"/>
                </a:cubicBezTo>
                <a:cubicBezTo>
                  <a:pt x="63561" y="1803520"/>
                  <a:pt x="33947" y="1875025"/>
                  <a:pt x="30336" y="1937141"/>
                </a:cubicBezTo>
                <a:cubicBezTo>
                  <a:pt x="26725" y="1999257"/>
                  <a:pt x="54893" y="2061372"/>
                  <a:pt x="56338" y="2119154"/>
                </a:cubicBezTo>
                <a:cubicBezTo>
                  <a:pt x="57782" y="2176936"/>
                  <a:pt x="46948" y="2234718"/>
                  <a:pt x="39003" y="2283833"/>
                </a:cubicBezTo>
                <a:cubicBezTo>
                  <a:pt x="31058" y="2332948"/>
                  <a:pt x="15168" y="2378451"/>
                  <a:pt x="8668" y="2413842"/>
                </a:cubicBezTo>
                <a:cubicBezTo>
                  <a:pt x="2168" y="2449233"/>
                  <a:pt x="0" y="2472347"/>
                  <a:pt x="0" y="2496182"/>
                </a:cubicBezTo>
                <a:cubicBezTo>
                  <a:pt x="0" y="2520017"/>
                  <a:pt x="4334" y="2538435"/>
                  <a:pt x="8668" y="2556853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2381442" y="4408376"/>
            <a:ext cx="66461" cy="6646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2586227" y="5387990"/>
            <a:ext cx="66461" cy="6646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2660690" y="5640613"/>
            <a:ext cx="66461" cy="6646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2515435" y="5185898"/>
            <a:ext cx="66461" cy="6646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2381442" y="4653123"/>
            <a:ext cx="66461" cy="6646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 b="1" dirty="0">
              <a:latin typeface="+mj-lt"/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2445887" y="4945226"/>
            <a:ext cx="66461" cy="6646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 b="1" dirty="0">
              <a:latin typeface="+mj-lt"/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2745046" y="5878933"/>
            <a:ext cx="66461" cy="6646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2849720" y="5959607"/>
            <a:ext cx="66461" cy="6646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2417615" y="4189035"/>
            <a:ext cx="33231" cy="3323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2417011" y="3837736"/>
            <a:ext cx="33231" cy="3323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2494331" y="3533150"/>
            <a:ext cx="33231" cy="3323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2581897" y="3047128"/>
            <a:ext cx="33231" cy="3323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2511546" y="2770383"/>
            <a:ext cx="33231" cy="3323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2536776" y="2451056"/>
            <a:ext cx="33231" cy="3323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sp>
        <p:nvSpPr>
          <p:cNvPr id="35" name="Овал 34"/>
          <p:cNvSpPr/>
          <p:nvPr/>
        </p:nvSpPr>
        <p:spPr>
          <a:xfrm>
            <a:off x="2645304" y="2096141"/>
            <a:ext cx="33231" cy="3323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9">
              <a:latin typeface="+mj-lt"/>
            </a:endParaRPr>
          </a:p>
        </p:txBody>
      </p:sp>
      <p:graphicFrame>
        <p:nvGraphicFramePr>
          <p:cNvPr id="39" name="Таблица 38"/>
          <p:cNvGraphicFramePr>
            <a:graphicFrameLocks noGrp="1"/>
          </p:cNvGraphicFramePr>
          <p:nvPr/>
        </p:nvGraphicFramePr>
        <p:xfrm>
          <a:off x="4147286" y="2049476"/>
          <a:ext cx="2452362" cy="4201339"/>
        </p:xfrm>
        <a:graphic>
          <a:graphicData uri="http://schemas.openxmlformats.org/drawingml/2006/table">
            <a:tbl>
              <a:tblPr/>
              <a:tblGrid>
                <a:gridCol w="10819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48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5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02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27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Интервал\ О.П.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рогноз. поток, пасс./</a:t>
                      </a:r>
                      <a:r>
                        <a:rPr lang="ru-RU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ут</a:t>
                      </a: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.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екущий поток, пасс./</a:t>
                      </a:r>
                      <a:r>
                        <a:rPr lang="ru-RU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ут</a:t>
                      </a: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.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Динамика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Лобня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7 996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 683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99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Шереметьевская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 708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 436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0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Хлебниково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 997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 309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4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Водники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 336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154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4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7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Долгопрудна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3 406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 473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8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A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Новодачна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 002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 659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8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Марк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 269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 279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28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Лианозово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7 147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438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1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7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Бескудниково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0 812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554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62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BD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Дегунино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 516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102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5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Окружная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0 483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 395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9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имирязевска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2 145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 568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1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авёловский</a:t>
                      </a:r>
                      <a:r>
                        <a:rPr lang="ru-RU" sz="7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вокз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6 847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 162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0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BC4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Белорусский вокзал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0 919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 716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0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Беговая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1 188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 281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9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естовска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 177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102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1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Фили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6 176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532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41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1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89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лавянский бульвар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6 006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унцево-1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3 093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 178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1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FCF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Рабочий посёлок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 300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76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8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етунь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 303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 803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7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C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Немчиновк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 880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85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18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рехгорк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 909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44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36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Баковк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 643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702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25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4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Одинцово</a:t>
                      </a:r>
                    </a:p>
                  </a:txBody>
                  <a:tcPr marL="7332" marR="7332" marT="7332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8 827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1 445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7%</a:t>
                      </a:r>
                    </a:p>
                  </a:txBody>
                  <a:tcPr marL="7332" marR="7332" marT="73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graphicFrame>
        <p:nvGraphicFramePr>
          <p:cNvPr id="43" name="Таблица 42"/>
          <p:cNvGraphicFramePr>
            <a:graphicFrameLocks noGrp="1"/>
          </p:cNvGraphicFramePr>
          <p:nvPr/>
        </p:nvGraphicFramePr>
        <p:xfrm>
          <a:off x="6702244" y="2055196"/>
          <a:ext cx="2272789" cy="4204577"/>
        </p:xfrm>
        <a:graphic>
          <a:graphicData uri="http://schemas.openxmlformats.org/drawingml/2006/table">
            <a:tbl>
              <a:tblPr/>
              <a:tblGrid>
                <a:gridCol w="8934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80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67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46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16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Интервал\ О.П.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рогноз. Поток, пасс./</a:t>
                      </a:r>
                      <a:r>
                        <a:rPr lang="ru-RU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ут</a:t>
                      </a: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.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екущий поток, пасс/</a:t>
                      </a:r>
                      <a:r>
                        <a:rPr lang="ru-RU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ут</a:t>
                      </a: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.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Динамика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Нахабино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 308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 072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2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C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Аникеевка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 326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53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9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Опалиха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 248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 615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8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D0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расногорская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 375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482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7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6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авшино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5 784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 41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4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6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рикотажная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 618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445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4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ушино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5 259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 057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4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12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окровское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трешнево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 923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 284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6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9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Ленинградская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 695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 906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9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расный Балтиец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 34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797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6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ражданская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 783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310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7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Дмитровска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0 337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 746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9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A2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Ржевская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 990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 22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5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аланчевская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0 122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 274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7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D3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М-Курская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0 98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 58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6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М-Тов.-Кур.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61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 842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4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алитники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 510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 842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6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4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Новохохловская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933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0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екстильщики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2 722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 806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8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Люблино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 252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 115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5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C1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Депо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 893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 892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3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B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ерерва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 854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 519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76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Москворечье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 580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373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8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F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Царицыно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5 158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 050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6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окровская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 026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 083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64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расный строитель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 991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854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5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Битца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 506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 759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97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Бутово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 817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223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94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Щербинка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 776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 226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4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A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иликатная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 227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 708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7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22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одольск</a:t>
                      </a:r>
                    </a:p>
                  </a:txBody>
                  <a:tcPr marL="6216" marR="6216" marT="6216" marB="0" anchor="ctr">
                    <a:lnL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1 628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 765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6%</a:t>
                      </a:r>
                    </a:p>
                  </a:txBody>
                  <a:tcPr marL="6216" marR="6216" marT="621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352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892035" y="4216243"/>
            <a:ext cx="574196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8" b="1" dirty="0">
                <a:solidFill>
                  <a:schemeClr val="bg1"/>
                </a:solidFill>
                <a:latin typeface="+mj-lt"/>
              </a:rPr>
              <a:t>Лобня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898707" y="5412062"/>
            <a:ext cx="1069524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8" b="1" dirty="0">
                <a:latin typeface="+mj-lt"/>
              </a:rPr>
              <a:t>Долгопрудный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024423" y="5991338"/>
            <a:ext cx="726481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8" b="1" dirty="0">
                <a:solidFill>
                  <a:schemeClr val="bg1"/>
                </a:solidFill>
                <a:latin typeface="+mj-lt"/>
              </a:rPr>
              <a:t>МОСКВ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9DBD5A-AA0A-3B46-AA4C-E4511BAF1408}"/>
              </a:ext>
            </a:extLst>
          </p:cNvPr>
          <p:cNvSpPr txBox="1"/>
          <p:nvPr/>
        </p:nvSpPr>
        <p:spPr>
          <a:xfrm>
            <a:off x="5144347" y="1780013"/>
            <a:ext cx="673582" cy="29117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1292" dirty="0">
                <a:latin typeface="+mj-lt"/>
              </a:rPr>
              <a:t>МЦД-1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3031F8E-D09C-A94E-BA94-667BBDAC6534}"/>
              </a:ext>
            </a:extLst>
          </p:cNvPr>
          <p:cNvSpPr txBox="1"/>
          <p:nvPr/>
        </p:nvSpPr>
        <p:spPr>
          <a:xfrm>
            <a:off x="7508519" y="1788929"/>
            <a:ext cx="673582" cy="29117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1292" dirty="0">
                <a:latin typeface="+mj-lt"/>
              </a:rPr>
              <a:t>МЦД-2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D3225E4-59DE-B94B-8E9A-526B57420F51}"/>
              </a:ext>
            </a:extLst>
          </p:cNvPr>
          <p:cNvSpPr/>
          <p:nvPr/>
        </p:nvSpPr>
        <p:spPr>
          <a:xfrm>
            <a:off x="888427" y="1005640"/>
            <a:ext cx="4255920" cy="429184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23" dirty="0">
                <a:latin typeface="+mj-lt"/>
              </a:rPr>
              <a:t>1. Анализ данных о </a:t>
            </a:r>
            <a:r>
              <a:rPr lang="ru-RU" sz="923" b="1" dirty="0">
                <a:latin typeface="+mj-lt"/>
              </a:rPr>
              <a:t>трудовой миграции абонентов </a:t>
            </a:r>
            <a:r>
              <a:rPr lang="ru-RU" sz="923" dirty="0">
                <a:latin typeface="+mj-lt"/>
              </a:rPr>
              <a:t>из районов и поселений Московской области, тяготеющих к зоне МЦД и вдоль железнодорожных направлений до границ Московской пригородной зоны 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A160A30B-A47B-D34C-9745-649749614493}"/>
              </a:ext>
            </a:extLst>
          </p:cNvPr>
          <p:cNvSpPr/>
          <p:nvPr/>
        </p:nvSpPr>
        <p:spPr>
          <a:xfrm>
            <a:off x="1307172" y="1486749"/>
            <a:ext cx="4354899" cy="293138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23" dirty="0">
                <a:latin typeface="+mj-lt"/>
              </a:rPr>
              <a:t>2. </a:t>
            </a:r>
            <a:r>
              <a:rPr lang="ru-RU" sz="923" b="1" dirty="0">
                <a:latin typeface="+mj-lt"/>
              </a:rPr>
              <a:t>Распределение въезжающего потока </a:t>
            </a:r>
            <a:r>
              <a:rPr lang="ru-RU" sz="923" dirty="0">
                <a:latin typeface="+mj-lt"/>
              </a:rPr>
              <a:t>пассажиров </a:t>
            </a:r>
            <a:r>
              <a:rPr lang="ru-RU" sz="923" b="1" dirty="0">
                <a:latin typeface="+mj-lt"/>
              </a:rPr>
              <a:t>по матрице пассажиров 2020 года</a:t>
            </a:r>
            <a:r>
              <a:rPr lang="ru-RU" sz="923" dirty="0">
                <a:latin typeface="+mj-lt"/>
              </a:rPr>
              <a:t> с целью определения нагрузки на каждый остановочный пункт</a:t>
            </a:r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92C0B3A9-F737-BD44-B2F4-502AEA493A76}"/>
              </a:ext>
            </a:extLst>
          </p:cNvPr>
          <p:cNvSpPr/>
          <p:nvPr/>
        </p:nvSpPr>
        <p:spPr>
          <a:xfrm>
            <a:off x="5944824" y="1007787"/>
            <a:ext cx="3030211" cy="772100"/>
          </a:xfrm>
          <a:prstGeom prst="roundRect">
            <a:avLst>
              <a:gd name="adj" fmla="val 9493"/>
            </a:avLst>
          </a:prstGeom>
          <a:solidFill>
            <a:srgbClr val="F9F7FA"/>
          </a:solidFill>
          <a:ln>
            <a:noFill/>
          </a:ln>
          <a:effectLst>
            <a:outerShdw blurRad="88900" dist="76200" dir="2700000" algn="t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ru-RU" sz="923" b="1" dirty="0">
                <a:solidFill>
                  <a:schemeClr val="tx1"/>
                </a:solidFill>
                <a:latin typeface="+mj-lt"/>
              </a:rPr>
              <a:t>Результаты анализа максимального пассажиропотока на основе данных мобильных операторов демонстрируют значительный потенциальный прирост пассажиропотока (в среднем </a:t>
            </a:r>
            <a:r>
              <a:rPr lang="ru-RU" sz="923" b="1" dirty="0">
                <a:solidFill>
                  <a:srgbClr val="C00000"/>
                </a:solidFill>
                <a:latin typeface="+mj-lt"/>
              </a:rPr>
              <a:t>рост в 4,5 раза</a:t>
            </a:r>
            <a:r>
              <a:rPr lang="ru-RU" sz="923" b="1" dirty="0">
                <a:solidFill>
                  <a:schemeClr val="tx1"/>
                </a:solidFill>
                <a:latin typeface="+mj-lt"/>
              </a:rPr>
              <a:t>)</a:t>
            </a:r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E2B964C6-C2BD-3D4A-AF72-17535652CB4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69" b="99644" l="1392" r="9860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5936" y="2130637"/>
            <a:ext cx="807576" cy="1576631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87CDF3D8-F367-4D44-BD40-880E5473867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rgbClr val="25455B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730" y="2729583"/>
            <a:ext cx="493020" cy="378736"/>
          </a:xfrm>
          <a:prstGeom prst="rect">
            <a:avLst/>
          </a:prstGeom>
        </p:spPr>
      </p:pic>
      <p:cxnSp>
        <p:nvCxnSpPr>
          <p:cNvPr id="57" name="Соединительная линия уступом 56">
            <a:extLst>
              <a:ext uri="{FF2B5EF4-FFF2-40B4-BE49-F238E27FC236}">
                <a16:creationId xmlns:a16="http://schemas.microsoft.com/office/drawing/2014/main" id="{A44F0E93-CFD8-8D43-AF03-64DE8670EF73}"/>
              </a:ext>
            </a:extLst>
          </p:cNvPr>
          <p:cNvCxnSpPr>
            <a:cxnSpLocks/>
          </p:cNvCxnSpPr>
          <p:nvPr/>
        </p:nvCxnSpPr>
        <p:spPr>
          <a:xfrm flipH="1" flipV="1">
            <a:off x="854122" y="1244280"/>
            <a:ext cx="16317" cy="1240007"/>
          </a:xfrm>
          <a:prstGeom prst="bentConnector3">
            <a:avLst>
              <a:gd name="adj1" fmla="val 1800000"/>
            </a:avLst>
          </a:prstGeom>
          <a:ln w="31750">
            <a:solidFill>
              <a:schemeClr val="tx1"/>
            </a:solidFill>
            <a:prstDash val="sysDot"/>
            <a:headEnd type="diamond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Номер слайда 1">
            <a:extLst>
              <a:ext uri="{FF2B5EF4-FFF2-40B4-BE49-F238E27FC236}">
                <a16:creationId xmlns:a16="http://schemas.microsoft.com/office/drawing/2014/main" id="{F3990521-0AE1-BD49-B897-CCFD803B6E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52509" y="6533804"/>
            <a:ext cx="1704454" cy="234671"/>
          </a:xfrm>
        </p:spPr>
        <p:txBody>
          <a:bodyPr/>
          <a:lstStyle/>
          <a:p>
            <a:fld id="{2B86E897-D47A-DF49-947E-7FDF216B1BB3}" type="slidenum">
              <a:rPr lang="ru-RU" smtClean="0">
                <a:latin typeface="+mj-lt"/>
              </a:rPr>
              <a:pPr/>
              <a:t>5</a:t>
            </a:fld>
            <a:endParaRPr lang="ru-RU" dirty="0">
              <a:latin typeface="+mj-lt"/>
            </a:endParaRPr>
          </a:p>
        </p:txBody>
      </p:sp>
      <p:sp>
        <p:nvSpPr>
          <p:cNvPr id="54" name="Заголовок 1">
            <a:extLst>
              <a:ext uri="{FF2B5EF4-FFF2-40B4-BE49-F238E27FC236}">
                <a16:creationId xmlns:a16="http://schemas.microsoft.com/office/drawing/2014/main" id="{37F99965-575C-B440-984A-C4A456D2F8A6}"/>
              </a:ext>
            </a:extLst>
          </p:cNvPr>
          <p:cNvSpPr txBox="1">
            <a:spLocks/>
          </p:cNvSpPr>
          <p:nvPr/>
        </p:nvSpPr>
        <p:spPr>
          <a:xfrm>
            <a:off x="134580" y="130970"/>
            <a:ext cx="8840455" cy="659632"/>
          </a:xfrm>
          <a:prstGeom prst="rect">
            <a:avLst/>
          </a:prstGeom>
        </p:spPr>
        <p:txBody>
          <a:bodyPr vert="horz" lIns="122191" tIns="61096" rIns="122191" bIns="61096" rtlCol="0" anchor="ctr">
            <a:noAutofit/>
          </a:bodyPr>
          <a:lstStyle>
            <a:lvl1pPr algn="l" defTabSz="9455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27" kern="1200">
                <a:solidFill>
                  <a:srgbClr val="BF2D2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/>
              <a:t>Заключительный этап: верификация прогнозируемого пассажиропотока в коридорах МЦД на основе </a:t>
            </a:r>
            <a:r>
              <a:rPr lang="en" sz="2000" dirty="0"/>
              <a:t>Big Data (</a:t>
            </a:r>
            <a:r>
              <a:rPr lang="ru-RU" sz="2000" dirty="0"/>
              <a:t>по данным мобильных операторов)</a:t>
            </a:r>
          </a:p>
        </p:txBody>
      </p:sp>
    </p:spTree>
    <p:extLst>
      <p:ext uri="{BB962C8B-B14F-4D97-AF65-F5344CB8AC3E}">
        <p14:creationId xmlns:p14="http://schemas.microsoft.com/office/powerpoint/2010/main" val="28515636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9680" y="4575756"/>
            <a:ext cx="1941419" cy="1868843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3235" y="1136510"/>
            <a:ext cx="1999792" cy="1368937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86E897-D47A-DF49-947E-7FDF216B1BB3}" type="slidenum">
              <a:rPr lang="ru-RU" smtClean="0">
                <a:latin typeface="+mj-lt"/>
              </a:rPr>
              <a:pPr/>
              <a:t>6</a:t>
            </a:fld>
            <a:endParaRPr lang="ru-RU" dirty="0">
              <a:latin typeface="+mj-l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38125" y="593214"/>
            <a:ext cx="3009900" cy="5116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latin typeface="+mj-lt"/>
              </a:rPr>
              <a:t>1. Анализ Генпланов городов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38125" y="2660139"/>
            <a:ext cx="3009900" cy="5116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latin typeface="+mj-lt"/>
              </a:rPr>
              <a:t>2. Определение доли использования ОТ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38125" y="4574664"/>
            <a:ext cx="3009900" cy="5116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latin typeface="+mj-lt"/>
              </a:rPr>
              <a:t>3. Доля использования </a:t>
            </a:r>
            <a:r>
              <a:rPr lang="ru-RU" sz="1200" dirty="0" err="1">
                <a:latin typeface="+mj-lt"/>
              </a:rPr>
              <a:t>ж.д</a:t>
            </a:r>
            <a:r>
              <a:rPr lang="ru-RU" sz="1200" dirty="0">
                <a:latin typeface="+mj-lt"/>
              </a:rPr>
              <a:t>. платформ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991099" y="593214"/>
            <a:ext cx="4665863" cy="5116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latin typeface="+mj-lt"/>
              </a:rPr>
              <a:t>4. Прогнозные данные по населению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991100" y="2660139"/>
            <a:ext cx="4665862" cy="5116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latin typeface="+mj-lt"/>
              </a:rPr>
              <a:t>5. Формирование распределения по </a:t>
            </a:r>
            <a:r>
              <a:rPr lang="ru-RU" sz="1200" dirty="0" err="1">
                <a:latin typeface="+mj-lt"/>
              </a:rPr>
              <a:t>о.п</a:t>
            </a:r>
            <a:r>
              <a:rPr lang="ru-RU" sz="1200" dirty="0">
                <a:latin typeface="+mj-lt"/>
              </a:rPr>
              <a:t>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991100" y="4574664"/>
            <a:ext cx="4665862" cy="5116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latin typeface="+mj-lt"/>
              </a:rPr>
              <a:t>6. Прогноз пассажиропотоков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38125" y="1127679"/>
            <a:ext cx="30099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Прогнозные значения по населению на 2030 или 2035 годы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Планы по развитию территорий поселения,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Планы по развитию улично-дорожной сети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38125" y="3204157"/>
            <a:ext cx="30099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Данные Росстата по численности насел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Данные пассажиропотоков остановочных пунктов железной дорог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Данные пассажиропотоков с комплексов АСОКУПЭ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38125" y="5120900"/>
            <a:ext cx="30099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% текущего населения, пользующегося каждым остановочным пунктом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Доля каждого пассажирского остановочного пункта в общей сумме пассажиропотока</a:t>
            </a:r>
          </a:p>
          <a:p>
            <a:endParaRPr lang="ru-RU" sz="1000" dirty="0">
              <a:latin typeface="+mj-lt"/>
            </a:endParaRPr>
          </a:p>
        </p:txBody>
      </p:sp>
      <p:pic>
        <p:nvPicPr>
          <p:cNvPr id="1026" name="Picture 2" descr="http://www.odintsovo-gorod.ru/new%20images/2017%20october/P_3_karta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8299" y="602739"/>
            <a:ext cx="1619190" cy="1868070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4991100" y="1111058"/>
            <a:ext cx="30099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Данные по прогнозу населения населённых пунктов на 2030 г взяты из Генпланов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Прогноз населения 2045 выполнен из принципа сохранения динамики прироста населения 2020-2030</a:t>
            </a:r>
          </a:p>
          <a:p>
            <a:endParaRPr lang="ru-RU" sz="1000" dirty="0">
              <a:latin typeface="+mj-lt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25276" y="3234812"/>
            <a:ext cx="2235351" cy="1270513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5015451" y="3190038"/>
            <a:ext cx="23257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Прогноз транспортной роли каждого остановочного пункта в черте поселения в соответствии с планируемым развитием территории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Прогноз использования населением железнодорожного транспорта</a:t>
            </a:r>
          </a:p>
          <a:p>
            <a:endParaRPr lang="ru-RU" sz="1000" dirty="0">
              <a:latin typeface="+mj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998251" y="5097673"/>
            <a:ext cx="23257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Расчёт перспективного пассажиропотока на основе полученных данных по каждому остановочному пункту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latin typeface="+mj-lt"/>
              </a:rPr>
              <a:t>Прогноз значений по входу и выходу на основе полученных ранее пропорций с помощью моделирования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621" y="2660139"/>
            <a:ext cx="1580655" cy="1845185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91374" y="5116853"/>
            <a:ext cx="2465587" cy="1289085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238125" y="593214"/>
            <a:ext cx="4629151" cy="1912233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38125" y="2652249"/>
            <a:ext cx="4629151" cy="1853076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38125" y="4578897"/>
            <a:ext cx="4629151" cy="1818975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991100" y="590182"/>
            <a:ext cx="4669527" cy="1912233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991100" y="2665862"/>
            <a:ext cx="4669527" cy="1839464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991099" y="4578897"/>
            <a:ext cx="4669528" cy="1818975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0CEEC0E1-06FB-1749-9E35-6D0B050939FC}"/>
              </a:ext>
            </a:extLst>
          </p:cNvPr>
          <p:cNvSpPr txBox="1">
            <a:spLocks/>
          </p:cNvSpPr>
          <p:nvPr/>
        </p:nvSpPr>
        <p:spPr>
          <a:xfrm>
            <a:off x="134580" y="6498"/>
            <a:ext cx="9310755" cy="659632"/>
          </a:xfrm>
          <a:prstGeom prst="rect">
            <a:avLst/>
          </a:prstGeom>
        </p:spPr>
        <p:txBody>
          <a:bodyPr vert="horz" lIns="122191" tIns="61096" rIns="122191" bIns="61096" rtlCol="0" anchor="ctr">
            <a:noAutofit/>
          </a:bodyPr>
          <a:lstStyle>
            <a:lvl1pPr algn="l" defTabSz="9455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27" kern="1200">
                <a:solidFill>
                  <a:srgbClr val="BF2D2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/>
              <a:t>Расчёт перспективных пассажиропотоков по каждому остановочному пункту МЦД</a:t>
            </a:r>
          </a:p>
        </p:txBody>
      </p:sp>
    </p:spTree>
    <p:extLst>
      <p:ext uri="{BB962C8B-B14F-4D97-AF65-F5344CB8AC3E}">
        <p14:creationId xmlns:p14="http://schemas.microsoft.com/office/powerpoint/2010/main" val="1774158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" name="TextBox 318">
            <a:extLst>
              <a:ext uri="{FF2B5EF4-FFF2-40B4-BE49-F238E27FC236}">
                <a16:creationId xmlns:a16="http://schemas.microsoft.com/office/drawing/2014/main" id="{69A5BE7C-FFBA-AF44-B571-34AB2EB23C4C}"/>
              </a:ext>
            </a:extLst>
          </p:cNvPr>
          <p:cNvSpPr txBox="1"/>
          <p:nvPr/>
        </p:nvSpPr>
        <p:spPr>
          <a:xfrm>
            <a:off x="3178545" y="1345154"/>
            <a:ext cx="566181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00" i="1" dirty="0">
                <a:solidFill>
                  <a:schemeClr val="accent3">
                    <a:lumMod val="50000"/>
                    <a:alpha val="55000"/>
                  </a:schemeClr>
                </a:solidFill>
              </a:rPr>
              <a:t>Граница зоны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6977971-B575-B54D-B5E4-85DE820E162F}"/>
              </a:ext>
            </a:extLst>
          </p:cNvPr>
          <p:cNvGrpSpPr/>
          <p:nvPr/>
        </p:nvGrpSpPr>
        <p:grpSpPr>
          <a:xfrm>
            <a:off x="4008086" y="315104"/>
            <a:ext cx="1503380" cy="1517310"/>
            <a:chOff x="3593033" y="156775"/>
            <a:chExt cx="1503380" cy="1517310"/>
          </a:xfrm>
        </p:grpSpPr>
        <p:sp>
          <p:nvSpPr>
            <p:cNvPr id="234" name="Прямоугольник 233">
              <a:extLst>
                <a:ext uri="{FF2B5EF4-FFF2-40B4-BE49-F238E27FC236}">
                  <a16:creationId xmlns:a16="http://schemas.microsoft.com/office/drawing/2014/main" id="{F73FA2F5-CDD2-5E4D-AFC3-44ED9394E869}"/>
                </a:ext>
              </a:extLst>
            </p:cNvPr>
            <p:cNvSpPr/>
            <p:nvPr/>
          </p:nvSpPr>
          <p:spPr>
            <a:xfrm>
              <a:off x="3677698" y="252538"/>
              <a:ext cx="1337554" cy="1421547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accent1">
                  <a:lumMod val="50000"/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3461D4D9-8E46-2445-8C4E-F61F59D5243B}"/>
                </a:ext>
              </a:extLst>
            </p:cNvPr>
            <p:cNvSpPr/>
            <p:nvPr/>
          </p:nvSpPr>
          <p:spPr>
            <a:xfrm>
              <a:off x="3593033" y="156775"/>
              <a:ext cx="1503380" cy="24247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8113" algn="ctr"/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Размеры движения на </a:t>
              </a:r>
              <a:r>
                <a:rPr lang="ru-RU" sz="600" dirty="0" err="1">
                  <a:solidFill>
                    <a:schemeClr val="bg1"/>
                  </a:solidFill>
                  <a:latin typeface="+mj-lt"/>
                </a:rPr>
                <a:t>Савёловском</a:t>
              </a:r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 направлении, пар поездов/</a:t>
              </a:r>
              <a:r>
                <a:rPr lang="ru-RU" sz="600" dirty="0" err="1">
                  <a:solidFill>
                    <a:schemeClr val="bg1"/>
                  </a:solidFill>
                  <a:latin typeface="+mj-lt"/>
                </a:rPr>
                <a:t>сут</a:t>
              </a:r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.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0CF0F8F5-A310-6840-8327-DC379D650E11}"/>
              </a:ext>
            </a:extLst>
          </p:cNvPr>
          <p:cNvSpPr txBox="1"/>
          <p:nvPr/>
        </p:nvSpPr>
        <p:spPr>
          <a:xfrm>
            <a:off x="7584912" y="0"/>
            <a:ext cx="22413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dirty="0">
                <a:solidFill>
                  <a:srgbClr val="BA0B17"/>
                </a:solidFill>
                <a:latin typeface="+mj-lt"/>
              </a:rPr>
              <a:t>ПАСПОРТ МЦД</a:t>
            </a:r>
            <a:r>
              <a:rPr lang="en-US" dirty="0">
                <a:solidFill>
                  <a:srgbClr val="BA0B17"/>
                </a:solidFill>
                <a:latin typeface="+mj-lt"/>
              </a:rPr>
              <a:t> </a:t>
            </a:r>
            <a:r>
              <a:rPr lang="ru-RU" dirty="0">
                <a:solidFill>
                  <a:srgbClr val="BA0B17"/>
                </a:solidFill>
                <a:latin typeface="+mj-lt"/>
              </a:rPr>
              <a:t>1</a:t>
            </a:r>
          </a:p>
          <a:p>
            <a:pPr algn="r"/>
            <a:r>
              <a:rPr lang="ru-RU" cap="all" dirty="0">
                <a:solidFill>
                  <a:srgbClr val="BA0B17"/>
                </a:solidFill>
                <a:latin typeface="+mj-lt"/>
              </a:rPr>
              <a:t>Одинцово – Лобня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F15B390-F0C6-B54E-B40C-F487326FBFAB}"/>
              </a:ext>
            </a:extLst>
          </p:cNvPr>
          <p:cNvSpPr txBox="1"/>
          <p:nvPr/>
        </p:nvSpPr>
        <p:spPr>
          <a:xfrm>
            <a:off x="617696" y="4086074"/>
            <a:ext cx="9557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Одинцово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AC411E1-641F-624E-BDF8-9547F52859D6}"/>
              </a:ext>
            </a:extLst>
          </p:cNvPr>
          <p:cNvSpPr txBox="1"/>
          <p:nvPr/>
        </p:nvSpPr>
        <p:spPr>
          <a:xfrm>
            <a:off x="2433418" y="15175"/>
            <a:ext cx="6591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Лобня</a:t>
            </a:r>
          </a:p>
        </p:txBody>
      </p:sp>
      <p:sp>
        <p:nvSpPr>
          <p:cNvPr id="31" name="Полилиния 30">
            <a:extLst>
              <a:ext uri="{FF2B5EF4-FFF2-40B4-BE49-F238E27FC236}">
                <a16:creationId xmlns:a16="http://schemas.microsoft.com/office/drawing/2014/main" id="{951BAF14-AD15-154B-B15E-D0C695E05199}"/>
              </a:ext>
            </a:extLst>
          </p:cNvPr>
          <p:cNvSpPr/>
          <p:nvPr/>
        </p:nvSpPr>
        <p:spPr>
          <a:xfrm>
            <a:off x="2585621" y="1436789"/>
            <a:ext cx="642730" cy="232985"/>
          </a:xfrm>
          <a:custGeom>
            <a:avLst/>
            <a:gdLst>
              <a:gd name="connsiteX0" fmla="*/ 0 w 642730"/>
              <a:gd name="connsiteY0" fmla="*/ 232985 h 232985"/>
              <a:gd name="connsiteX1" fmla="*/ 185530 w 642730"/>
              <a:gd name="connsiteY1" fmla="*/ 126968 h 232985"/>
              <a:gd name="connsiteX2" fmla="*/ 258417 w 642730"/>
              <a:gd name="connsiteY2" fmla="*/ 54081 h 232985"/>
              <a:gd name="connsiteX3" fmla="*/ 417443 w 642730"/>
              <a:gd name="connsiteY3" fmla="*/ 27576 h 232985"/>
              <a:gd name="connsiteX4" fmla="*/ 583095 w 642730"/>
              <a:gd name="connsiteY4" fmla="*/ 1072 h 232985"/>
              <a:gd name="connsiteX5" fmla="*/ 642730 w 642730"/>
              <a:gd name="connsiteY5" fmla="*/ 7698 h 232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2730" h="232985">
                <a:moveTo>
                  <a:pt x="0" y="232985"/>
                </a:moveTo>
                <a:cubicBezTo>
                  <a:pt x="71230" y="194885"/>
                  <a:pt x="142461" y="156785"/>
                  <a:pt x="185530" y="126968"/>
                </a:cubicBezTo>
                <a:cubicBezTo>
                  <a:pt x="228599" y="97151"/>
                  <a:pt x="219765" y="70646"/>
                  <a:pt x="258417" y="54081"/>
                </a:cubicBezTo>
                <a:cubicBezTo>
                  <a:pt x="297069" y="37516"/>
                  <a:pt x="417443" y="27576"/>
                  <a:pt x="417443" y="27576"/>
                </a:cubicBezTo>
                <a:cubicBezTo>
                  <a:pt x="471556" y="18741"/>
                  <a:pt x="545547" y="4385"/>
                  <a:pt x="583095" y="1072"/>
                </a:cubicBezTo>
                <a:cubicBezTo>
                  <a:pt x="620643" y="-2241"/>
                  <a:pt x="631686" y="2728"/>
                  <a:pt x="642730" y="7698"/>
                </a:cubicBezTo>
              </a:path>
            </a:pathLst>
          </a:custGeom>
          <a:noFill/>
          <a:ln w="2540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олилиния 31">
            <a:extLst>
              <a:ext uri="{FF2B5EF4-FFF2-40B4-BE49-F238E27FC236}">
                <a16:creationId xmlns:a16="http://schemas.microsoft.com/office/drawing/2014/main" id="{1366EB79-2E97-E14C-BBE7-F7AC236F6806}"/>
              </a:ext>
            </a:extLst>
          </p:cNvPr>
          <p:cNvSpPr/>
          <p:nvPr/>
        </p:nvSpPr>
        <p:spPr>
          <a:xfrm>
            <a:off x="1928874" y="2866292"/>
            <a:ext cx="293076" cy="844062"/>
          </a:xfrm>
          <a:custGeom>
            <a:avLst/>
            <a:gdLst>
              <a:gd name="connsiteX0" fmla="*/ 0 w 293076"/>
              <a:gd name="connsiteY0" fmla="*/ 0 h 844062"/>
              <a:gd name="connsiteX1" fmla="*/ 5861 w 293076"/>
              <a:gd name="connsiteY1" fmla="*/ 117231 h 844062"/>
              <a:gd name="connsiteX2" fmla="*/ 17584 w 293076"/>
              <a:gd name="connsiteY2" fmla="*/ 263770 h 844062"/>
              <a:gd name="connsiteX3" fmla="*/ 52753 w 293076"/>
              <a:gd name="connsiteY3" fmla="*/ 392723 h 844062"/>
              <a:gd name="connsiteX4" fmla="*/ 87923 w 293076"/>
              <a:gd name="connsiteY4" fmla="*/ 509954 h 844062"/>
              <a:gd name="connsiteX5" fmla="*/ 117230 w 293076"/>
              <a:gd name="connsiteY5" fmla="*/ 609600 h 844062"/>
              <a:gd name="connsiteX6" fmla="*/ 164123 w 293076"/>
              <a:gd name="connsiteY6" fmla="*/ 715108 h 844062"/>
              <a:gd name="connsiteX7" fmla="*/ 269630 w 293076"/>
              <a:gd name="connsiteY7" fmla="*/ 797170 h 844062"/>
              <a:gd name="connsiteX8" fmla="*/ 293076 w 293076"/>
              <a:gd name="connsiteY8" fmla="*/ 844062 h 844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3076" h="844062">
                <a:moveTo>
                  <a:pt x="0" y="0"/>
                </a:moveTo>
                <a:cubicBezTo>
                  <a:pt x="1465" y="36634"/>
                  <a:pt x="2930" y="73269"/>
                  <a:pt x="5861" y="117231"/>
                </a:cubicBezTo>
                <a:cubicBezTo>
                  <a:pt x="8792" y="161193"/>
                  <a:pt x="9769" y="217855"/>
                  <a:pt x="17584" y="263770"/>
                </a:cubicBezTo>
                <a:cubicBezTo>
                  <a:pt x="25399" y="309685"/>
                  <a:pt x="41030" y="351692"/>
                  <a:pt x="52753" y="392723"/>
                </a:cubicBezTo>
                <a:cubicBezTo>
                  <a:pt x="64476" y="433754"/>
                  <a:pt x="77177" y="473808"/>
                  <a:pt x="87923" y="509954"/>
                </a:cubicBezTo>
                <a:cubicBezTo>
                  <a:pt x="98669" y="546100"/>
                  <a:pt x="104530" y="575408"/>
                  <a:pt x="117230" y="609600"/>
                </a:cubicBezTo>
                <a:cubicBezTo>
                  <a:pt x="129930" y="643792"/>
                  <a:pt x="138723" y="683846"/>
                  <a:pt x="164123" y="715108"/>
                </a:cubicBezTo>
                <a:cubicBezTo>
                  <a:pt x="189523" y="746370"/>
                  <a:pt x="248138" y="775678"/>
                  <a:pt x="269630" y="797170"/>
                </a:cubicBezTo>
                <a:cubicBezTo>
                  <a:pt x="291122" y="818662"/>
                  <a:pt x="292099" y="831362"/>
                  <a:pt x="293076" y="844062"/>
                </a:cubicBezTo>
              </a:path>
            </a:pathLst>
          </a:custGeom>
          <a:noFill/>
          <a:ln w="2540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36" name="Открывающая фигурная скобка 35">
            <a:extLst>
              <a:ext uri="{FF2B5EF4-FFF2-40B4-BE49-F238E27FC236}">
                <a16:creationId xmlns:a16="http://schemas.microsoft.com/office/drawing/2014/main" id="{C352C85A-5C4E-5848-A30E-0B76AC415F2E}"/>
              </a:ext>
            </a:extLst>
          </p:cNvPr>
          <p:cNvSpPr/>
          <p:nvPr/>
        </p:nvSpPr>
        <p:spPr>
          <a:xfrm>
            <a:off x="5604504" y="1981840"/>
            <a:ext cx="125623" cy="1900868"/>
          </a:xfrm>
          <a:prstGeom prst="leftBrace">
            <a:avLst>
              <a:gd name="adj1" fmla="val 73075"/>
              <a:gd name="adj2" fmla="val 50000"/>
            </a:avLst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EF19E67-7AB7-EC44-ABA2-B204406F47A5}"/>
              </a:ext>
            </a:extLst>
          </p:cNvPr>
          <p:cNvSpPr txBox="1"/>
          <p:nvPr/>
        </p:nvSpPr>
        <p:spPr>
          <a:xfrm>
            <a:off x="2676051" y="1540627"/>
            <a:ext cx="38824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Марк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24A6D6B-C112-FF45-8C6E-D7BC9DC18E59}"/>
              </a:ext>
            </a:extLst>
          </p:cNvPr>
          <p:cNvSpPr txBox="1"/>
          <p:nvPr/>
        </p:nvSpPr>
        <p:spPr>
          <a:xfrm>
            <a:off x="2242254" y="1281026"/>
            <a:ext cx="63991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Новодачная</a:t>
            </a:r>
            <a:endParaRPr lang="ru-RU" sz="700" dirty="0">
              <a:latin typeface="+mj-l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878685B-63E7-1B4D-8433-36ED0F27E27F}"/>
              </a:ext>
            </a:extLst>
          </p:cNvPr>
          <p:cNvSpPr txBox="1"/>
          <p:nvPr/>
        </p:nvSpPr>
        <p:spPr>
          <a:xfrm>
            <a:off x="1315674" y="3258301"/>
            <a:ext cx="65274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Немчиновка</a:t>
            </a:r>
            <a:endParaRPr lang="ru-RU" sz="700" dirty="0">
              <a:latin typeface="+mj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F438265-7E61-6D4C-9214-A44897AB3D63}"/>
              </a:ext>
            </a:extLst>
          </p:cNvPr>
          <p:cNvSpPr txBox="1"/>
          <p:nvPr/>
        </p:nvSpPr>
        <p:spPr>
          <a:xfrm>
            <a:off x="2093706" y="3313394"/>
            <a:ext cx="44275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Сетунь</a:t>
            </a:r>
            <a:endParaRPr lang="ru-RU" sz="700" dirty="0">
              <a:latin typeface="+mj-lt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C5F218E-B6C4-8B44-AACA-534960A209E9}"/>
              </a:ext>
            </a:extLst>
          </p:cNvPr>
          <p:cNvSpPr txBox="1"/>
          <p:nvPr/>
        </p:nvSpPr>
        <p:spPr>
          <a:xfrm>
            <a:off x="3118879" y="1928320"/>
            <a:ext cx="58221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Окружная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B1F6C3E-30FC-2548-B019-2713E7B208B8}"/>
              </a:ext>
            </a:extLst>
          </p:cNvPr>
          <p:cNvSpPr txBox="1"/>
          <p:nvPr/>
        </p:nvSpPr>
        <p:spPr>
          <a:xfrm>
            <a:off x="2259318" y="2873452"/>
            <a:ext cx="59663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Тестовская</a:t>
            </a:r>
            <a:endParaRPr lang="ru-RU" sz="700" dirty="0">
              <a:latin typeface="+mj-lt"/>
            </a:endParaRPr>
          </a:p>
        </p:txBody>
      </p: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FEF5752E-26B6-C946-913B-CC1944E32701}"/>
              </a:ext>
            </a:extLst>
          </p:cNvPr>
          <p:cNvCxnSpPr>
            <a:cxnSpLocks/>
          </p:cNvCxnSpPr>
          <p:nvPr/>
        </p:nvCxnSpPr>
        <p:spPr>
          <a:xfrm flipH="1">
            <a:off x="2780798" y="1304333"/>
            <a:ext cx="69171" cy="491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93DC72C0-CF07-B740-9AF5-2AD12155908C}"/>
              </a:ext>
            </a:extLst>
          </p:cNvPr>
          <p:cNvCxnSpPr>
            <a:cxnSpLocks/>
          </p:cNvCxnSpPr>
          <p:nvPr/>
        </p:nvCxnSpPr>
        <p:spPr>
          <a:xfrm flipH="1">
            <a:off x="2860749" y="1504199"/>
            <a:ext cx="40456" cy="8701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AFD555A5-EA52-1A45-ADE5-C9CAE7103249}"/>
              </a:ext>
            </a:extLst>
          </p:cNvPr>
          <p:cNvCxnSpPr>
            <a:cxnSpLocks/>
          </p:cNvCxnSpPr>
          <p:nvPr/>
        </p:nvCxnSpPr>
        <p:spPr>
          <a:xfrm flipV="1">
            <a:off x="3112042" y="2059249"/>
            <a:ext cx="84624" cy="4042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C4C81620-09A9-6F41-A3DC-04407467DDA9}"/>
              </a:ext>
            </a:extLst>
          </p:cNvPr>
          <p:cNvCxnSpPr>
            <a:cxnSpLocks/>
          </p:cNvCxnSpPr>
          <p:nvPr/>
        </p:nvCxnSpPr>
        <p:spPr>
          <a:xfrm>
            <a:off x="2774089" y="3007591"/>
            <a:ext cx="96086" cy="2241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22C68462-247F-CE43-B955-8AA64E6EF7B9}"/>
              </a:ext>
            </a:extLst>
          </p:cNvPr>
          <p:cNvCxnSpPr>
            <a:cxnSpLocks/>
          </p:cNvCxnSpPr>
          <p:nvPr/>
        </p:nvCxnSpPr>
        <p:spPr>
          <a:xfrm>
            <a:off x="2107949" y="3332993"/>
            <a:ext cx="76898" cy="415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8E136CFA-7D64-D344-9132-5E18C36AC66B}"/>
              </a:ext>
            </a:extLst>
          </p:cNvPr>
          <p:cNvCxnSpPr>
            <a:cxnSpLocks/>
          </p:cNvCxnSpPr>
          <p:nvPr/>
        </p:nvCxnSpPr>
        <p:spPr>
          <a:xfrm>
            <a:off x="1886812" y="3387764"/>
            <a:ext cx="96086" cy="2241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Box 158">
            <a:extLst>
              <a:ext uri="{FF2B5EF4-FFF2-40B4-BE49-F238E27FC236}">
                <a16:creationId xmlns:a16="http://schemas.microsoft.com/office/drawing/2014/main" id="{F3BAAB5C-2E99-8342-9F9B-2669115CD2C5}"/>
              </a:ext>
            </a:extLst>
          </p:cNvPr>
          <p:cNvSpPr txBox="1"/>
          <p:nvPr/>
        </p:nvSpPr>
        <p:spPr>
          <a:xfrm>
            <a:off x="5436566" y="579239"/>
            <a:ext cx="427481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000" dirty="0">
                <a:latin typeface="+mj-lt"/>
              </a:rPr>
              <a:t>Итоги моделирования спроса на МЦД 1 по данным валидаций </a:t>
            </a:r>
          </a:p>
          <a:p>
            <a:pPr algn="ctr"/>
            <a:r>
              <a:rPr lang="ru-RU" sz="1000" dirty="0">
                <a:latin typeface="+mj-lt"/>
              </a:rPr>
              <a:t>билетов ЦППК, метро, НГПТ и с учетом роста населения районов</a:t>
            </a:r>
          </a:p>
        </p:txBody>
      </p:sp>
      <p:grpSp>
        <p:nvGrpSpPr>
          <p:cNvPr id="195" name="Группа 194">
            <a:extLst>
              <a:ext uri="{FF2B5EF4-FFF2-40B4-BE49-F238E27FC236}">
                <a16:creationId xmlns:a16="http://schemas.microsoft.com/office/drawing/2014/main" id="{388C82F7-EF2E-A649-B2E5-31287FABED29}"/>
              </a:ext>
            </a:extLst>
          </p:cNvPr>
          <p:cNvGrpSpPr/>
          <p:nvPr/>
        </p:nvGrpSpPr>
        <p:grpSpPr>
          <a:xfrm>
            <a:off x="178466" y="4436445"/>
            <a:ext cx="2018432" cy="859204"/>
            <a:chOff x="311301" y="4058548"/>
            <a:chExt cx="2018432" cy="859204"/>
          </a:xfrm>
        </p:grpSpPr>
        <p:sp>
          <p:nvSpPr>
            <p:cNvPr id="93" name="Прямоугольник 92">
              <a:extLst>
                <a:ext uri="{FF2B5EF4-FFF2-40B4-BE49-F238E27FC236}">
                  <a16:creationId xmlns:a16="http://schemas.microsoft.com/office/drawing/2014/main" id="{7DA98242-BE44-F047-B8AE-3191AE0102E8}"/>
                </a:ext>
              </a:extLst>
            </p:cNvPr>
            <p:cNvSpPr/>
            <p:nvPr/>
          </p:nvSpPr>
          <p:spPr>
            <a:xfrm>
              <a:off x="317709" y="4068070"/>
              <a:ext cx="1775997" cy="849682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accent1">
                  <a:lumMod val="50000"/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00B21D0-37D7-9C48-9B38-EDD53B0D1488}"/>
                </a:ext>
              </a:extLst>
            </p:cNvPr>
            <p:cNvSpPr txBox="1"/>
            <p:nvPr/>
          </p:nvSpPr>
          <p:spPr>
            <a:xfrm>
              <a:off x="311301" y="4058548"/>
              <a:ext cx="1782405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700" dirty="0">
                  <a:latin typeface="+mj-lt"/>
                </a:rPr>
                <a:t>Потенциальный спрос из Одинцово, чел/</a:t>
              </a:r>
              <a:r>
                <a:rPr lang="ru-RU" sz="700" dirty="0" err="1">
                  <a:latin typeface="+mj-lt"/>
                </a:rPr>
                <a:t>сут</a:t>
              </a:r>
              <a:r>
                <a:rPr lang="ru-RU" sz="700" dirty="0">
                  <a:latin typeface="+mj-lt"/>
                </a:rPr>
                <a:t>.</a:t>
              </a:r>
            </a:p>
          </p:txBody>
        </p:sp>
        <p:pic>
          <p:nvPicPr>
            <p:cNvPr id="84" name="Рисунок 83" descr="Streetcar">
              <a:extLst>
                <a:ext uri="{FF2B5EF4-FFF2-40B4-BE49-F238E27FC236}">
                  <a16:creationId xmlns:a16="http://schemas.microsoft.com/office/drawing/2014/main" id="{C1C9ED83-8BA1-CF46-9BA8-65FC772C12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59142" y="4673700"/>
              <a:ext cx="205403" cy="205403"/>
            </a:xfrm>
            <a:prstGeom prst="rect">
              <a:avLst/>
            </a:prstGeom>
          </p:spPr>
        </p:pic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E07C6C51-DE3D-1B44-9217-1E8119BEE14E}"/>
                </a:ext>
              </a:extLst>
            </p:cNvPr>
            <p:cNvSpPr txBox="1"/>
            <p:nvPr/>
          </p:nvSpPr>
          <p:spPr>
            <a:xfrm>
              <a:off x="1226006" y="4652092"/>
              <a:ext cx="63665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500" i="1" dirty="0"/>
                <a:t>Валидации билетов ЦППК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69B50640-D117-9640-A898-CEEB25F46E9D}"/>
                </a:ext>
              </a:extLst>
            </p:cNvPr>
            <p:cNvSpPr txBox="1"/>
            <p:nvPr/>
          </p:nvSpPr>
          <p:spPr>
            <a:xfrm>
              <a:off x="778827" y="4667935"/>
              <a:ext cx="49885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900" dirty="0">
                  <a:latin typeface="+mj-lt"/>
                </a:rPr>
                <a:t>3</a:t>
              </a:r>
              <a:r>
                <a:rPr lang="en-US" sz="900" dirty="0">
                  <a:latin typeface="+mj-lt"/>
                </a:rPr>
                <a:t>1</a:t>
              </a:r>
              <a:r>
                <a:rPr lang="ru-RU" sz="900" dirty="0">
                  <a:latin typeface="+mj-lt"/>
                </a:rPr>
                <a:t> 012</a:t>
              </a:r>
            </a:p>
          </p:txBody>
        </p:sp>
        <p:pic>
          <p:nvPicPr>
            <p:cNvPr id="88" name="Рисунок 87" descr="Bus">
              <a:extLst>
                <a:ext uri="{FF2B5EF4-FFF2-40B4-BE49-F238E27FC236}">
                  <a16:creationId xmlns:a16="http://schemas.microsoft.com/office/drawing/2014/main" id="{419F700C-D991-1D41-AB93-1C5F223ED5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59142" y="4370323"/>
              <a:ext cx="236447" cy="236447"/>
            </a:xfrm>
            <a:prstGeom prst="rect">
              <a:avLst/>
            </a:prstGeom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7D7C0C83-5034-D442-AB53-B769EEE0D541}"/>
                </a:ext>
              </a:extLst>
            </p:cNvPr>
            <p:cNvSpPr txBox="1"/>
            <p:nvPr/>
          </p:nvSpPr>
          <p:spPr>
            <a:xfrm>
              <a:off x="1226006" y="4366099"/>
              <a:ext cx="92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500" i="1" dirty="0"/>
                <a:t>Натурные наблюдения населенности автобусов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93365413-4A50-074D-AB72-CF47301B74D7}"/>
                </a:ext>
              </a:extLst>
            </p:cNvPr>
            <p:cNvSpPr txBox="1"/>
            <p:nvPr/>
          </p:nvSpPr>
          <p:spPr>
            <a:xfrm>
              <a:off x="775710" y="4375938"/>
              <a:ext cx="49885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latin typeface="+mj-lt"/>
                </a:rPr>
                <a:t>26</a:t>
              </a:r>
              <a:r>
                <a:rPr lang="ru-RU" sz="900" dirty="0">
                  <a:latin typeface="+mj-lt"/>
                </a:rPr>
                <a:t> </a:t>
              </a:r>
              <a:r>
                <a:rPr lang="en-US" sz="900" dirty="0">
                  <a:latin typeface="+mj-lt"/>
                </a:rPr>
                <a:t>880</a:t>
              </a:r>
              <a:endParaRPr lang="ru-RU" sz="900" dirty="0">
                <a:latin typeface="+mj-lt"/>
              </a:endParaRPr>
            </a:p>
          </p:txBody>
        </p:sp>
        <p:sp>
          <p:nvSpPr>
            <p:cNvPr id="114" name="Прямоугольник 113">
              <a:extLst>
                <a:ext uri="{FF2B5EF4-FFF2-40B4-BE49-F238E27FC236}">
                  <a16:creationId xmlns:a16="http://schemas.microsoft.com/office/drawing/2014/main" id="{1D731702-49F7-7D4F-B6B0-266ADAEB2DFC}"/>
                </a:ext>
              </a:extLst>
            </p:cNvPr>
            <p:cNvSpPr/>
            <p:nvPr/>
          </p:nvSpPr>
          <p:spPr>
            <a:xfrm>
              <a:off x="317704" y="4363171"/>
              <a:ext cx="1776002" cy="264394"/>
            </a:xfrm>
            <a:prstGeom prst="rect">
              <a:avLst/>
            </a:prstGeom>
            <a:noFill/>
            <a:ln w="1270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207FE8D9-1C0F-EF44-BA68-21B911EE52FA}"/>
                </a:ext>
              </a:extLst>
            </p:cNvPr>
            <p:cNvSpPr txBox="1"/>
            <p:nvPr/>
          </p:nvSpPr>
          <p:spPr>
            <a:xfrm>
              <a:off x="2029651" y="4197048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rgbClr val="C00000"/>
                  </a:solidFill>
                </a:rPr>
                <a:t>*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38" name="Пятиугольник 237">
                <a:extLst>
                  <a:ext uri="{FF2B5EF4-FFF2-40B4-BE49-F238E27FC236}">
                    <a16:creationId xmlns:a16="http://schemas.microsoft.com/office/drawing/2014/main" id="{82854A99-8D2E-BB41-A5ED-27F1B6BEA07D}"/>
                  </a:ext>
                </a:extLst>
              </p:cNvPr>
              <p:cNvSpPr/>
              <p:nvPr/>
            </p:nvSpPr>
            <p:spPr>
              <a:xfrm>
                <a:off x="4049511" y="2558558"/>
                <a:ext cx="1500328" cy="738664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alpha val="72000"/>
                </a:schemeClr>
              </a:solidFill>
              <a:ln>
                <a:solidFill>
                  <a:schemeClr val="accent1">
                    <a:lumMod val="50000"/>
                    <a:alpha val="34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700" dirty="0">
                    <a:latin typeface="+mj-lt"/>
                  </a:rPr>
                  <a:t>Пассажиропоток </a:t>
                </a:r>
              </a:p>
              <a:p>
                <a:pPr algn="ctr"/>
                <a:r>
                  <a:rPr lang="ru-RU" sz="700" dirty="0">
                    <a:latin typeface="+mj-lt"/>
                  </a:rPr>
                  <a:t>в границах Москвы: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  <m: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141 435 </a:t>
                </a:r>
                <a:r>
                  <a:rPr lang="ru-RU" sz="700" dirty="0">
                    <a:latin typeface="+mj-lt"/>
                  </a:rPr>
                  <a:t>пасс./</a:t>
                </a:r>
                <a:r>
                  <a:rPr lang="ru-RU" sz="700" dirty="0" err="1">
                    <a:latin typeface="+mj-lt"/>
                  </a:rPr>
                  <a:t>сут</a:t>
                </a:r>
                <a:r>
                  <a:rPr lang="ru-RU" sz="700" dirty="0">
                    <a:latin typeface="+mj-lt"/>
                  </a:rPr>
                  <a:t>. – сущ.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  <m: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201 711 </a:t>
                </a:r>
                <a:r>
                  <a:rPr lang="ru-RU" sz="700" dirty="0">
                    <a:latin typeface="+mj-lt"/>
                  </a:rPr>
                  <a:t>пасс./сут. – </a:t>
                </a:r>
                <a:r>
                  <a:rPr lang="ru-RU" sz="700" dirty="0" err="1">
                    <a:latin typeface="+mj-lt"/>
                  </a:rPr>
                  <a:t>персп</a:t>
                </a:r>
                <a:r>
                  <a:rPr lang="ru-RU" sz="700" dirty="0">
                    <a:latin typeface="+mj-lt"/>
                  </a:rPr>
                  <a:t>. (2020)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  <m: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ru-RU" sz="700" b="1" dirty="0">
                    <a:solidFill>
                      <a:srgbClr val="C00000"/>
                    </a:solidFill>
                  </a:rPr>
                  <a:t>422 806 </a:t>
                </a:r>
                <a:r>
                  <a:rPr lang="ru-RU" sz="700" dirty="0">
                    <a:latin typeface="+mj-lt"/>
                  </a:rPr>
                  <a:t>пасс./сут. – </a:t>
                </a:r>
                <a:r>
                  <a:rPr lang="ru-RU" sz="700" dirty="0" err="1">
                    <a:latin typeface="+mj-lt"/>
                  </a:rPr>
                  <a:t>персп</a:t>
                </a:r>
                <a:r>
                  <a:rPr lang="ru-RU" sz="700" dirty="0">
                    <a:latin typeface="+mj-lt"/>
                  </a:rPr>
                  <a:t>. (2030)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  <m: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ru-RU" sz="700" b="1" dirty="0">
                    <a:solidFill>
                      <a:srgbClr val="C00000"/>
                    </a:solidFill>
                  </a:rPr>
                  <a:t>594 862 </a:t>
                </a:r>
                <a:r>
                  <a:rPr lang="ru-RU" sz="700" dirty="0">
                    <a:latin typeface="+mj-lt"/>
                  </a:rPr>
                  <a:t>пасс./сут. – </a:t>
                </a:r>
                <a:r>
                  <a:rPr lang="ru-RU" sz="700" dirty="0" err="1">
                    <a:latin typeface="+mj-lt"/>
                  </a:rPr>
                  <a:t>персп</a:t>
                </a:r>
                <a:r>
                  <a:rPr lang="ru-RU" sz="700" dirty="0">
                    <a:latin typeface="+mj-lt"/>
                  </a:rPr>
                  <a:t>. (2045)</a:t>
                </a:r>
              </a:p>
            </p:txBody>
          </p:sp>
        </mc:Choice>
        <mc:Fallback xmlns="">
          <p:sp>
            <p:nvSpPr>
              <p:cNvPr id="238" name="Пятиугольник 237">
                <a:extLst>
                  <a:ext uri="{FF2B5EF4-FFF2-40B4-BE49-F238E27FC236}">
                    <a16:creationId xmlns:a16="http://schemas.microsoft.com/office/drawing/2014/main" id="{82854A99-8D2E-BB41-A5ED-27F1B6BEA07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49511" y="2558558"/>
                <a:ext cx="1500328" cy="738664"/>
              </a:xfrm>
              <a:prstGeom prst="homePlate">
                <a:avLst>
                  <a:gd name="adj" fmla="val 0"/>
                </a:avLst>
              </a:prstGeom>
              <a:blipFill>
                <a:blip r:embed="rId19"/>
                <a:stretch>
                  <a:fillRect/>
                </a:stretch>
              </a:blipFill>
              <a:ln>
                <a:solidFill>
                  <a:schemeClr val="accent1">
                    <a:lumMod val="50000"/>
                    <a:alpha val="34000"/>
                  </a:schemeClr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41" name="Таблица 240">
            <a:extLst>
              <a:ext uri="{FF2B5EF4-FFF2-40B4-BE49-F238E27FC236}">
                <a16:creationId xmlns:a16="http://schemas.microsoft.com/office/drawing/2014/main" id="{159A2565-D7ED-D045-8C81-006280AFB451}"/>
              </a:ext>
            </a:extLst>
          </p:cNvPr>
          <p:cNvGraphicFramePr>
            <a:graphicFrameLocks noGrp="1"/>
          </p:cNvGraphicFramePr>
          <p:nvPr/>
        </p:nvGraphicFramePr>
        <p:xfrm>
          <a:off x="5805214" y="4538890"/>
          <a:ext cx="3622974" cy="8305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402">
                  <a:extLst>
                    <a:ext uri="{9D8B030D-6E8A-4147-A177-3AD203B41FA5}">
                      <a16:colId xmlns:a16="http://schemas.microsoft.com/office/drawing/2014/main" val="247565039"/>
                    </a:ext>
                  </a:extLst>
                </a:gridCol>
                <a:gridCol w="770009">
                  <a:extLst>
                    <a:ext uri="{9D8B030D-6E8A-4147-A177-3AD203B41FA5}">
                      <a16:colId xmlns:a16="http://schemas.microsoft.com/office/drawing/2014/main" val="1515124674"/>
                    </a:ext>
                  </a:extLst>
                </a:gridCol>
                <a:gridCol w="800688">
                  <a:extLst>
                    <a:ext uri="{9D8B030D-6E8A-4147-A177-3AD203B41FA5}">
                      <a16:colId xmlns:a16="http://schemas.microsoft.com/office/drawing/2014/main" val="2927479651"/>
                    </a:ext>
                  </a:extLst>
                </a:gridCol>
                <a:gridCol w="747581">
                  <a:extLst>
                    <a:ext uri="{9D8B030D-6E8A-4147-A177-3AD203B41FA5}">
                      <a16:colId xmlns:a16="http://schemas.microsoft.com/office/drawing/2014/main" val="203568311"/>
                    </a:ext>
                  </a:extLst>
                </a:gridCol>
                <a:gridCol w="826294">
                  <a:extLst>
                    <a:ext uri="{9D8B030D-6E8A-4147-A177-3AD203B41FA5}">
                      <a16:colId xmlns:a16="http://schemas.microsoft.com/office/drawing/2014/main" val="4237385553"/>
                    </a:ext>
                  </a:extLst>
                </a:gridCol>
              </a:tblGrid>
              <a:tr h="37332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Всего станций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Станций с пересадкой на метро/МЦК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Пассажиропоток в границах Москвы, пасс./</a:t>
                      </a:r>
                      <a:r>
                        <a:rPr lang="ru-RU" sz="600" dirty="0" err="1">
                          <a:solidFill>
                            <a:schemeClr val="tx1"/>
                          </a:solidFill>
                          <a:latin typeface="+mj-lt"/>
                        </a:rPr>
                        <a:t>сут</a:t>
                      </a:r>
                      <a:endParaRPr lang="ru-RU" sz="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Пассажиропоток общий, пасс./</a:t>
                      </a:r>
                      <a:r>
                        <a:rPr lang="ru-RU" sz="600" dirty="0" err="1">
                          <a:solidFill>
                            <a:schemeClr val="tx1"/>
                          </a:solidFill>
                          <a:latin typeface="+mj-lt"/>
                        </a:rPr>
                        <a:t>сут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Размеры движения МЦД, 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пар поездов/</a:t>
                      </a:r>
                      <a:r>
                        <a:rPr lang="ru-RU" sz="600" dirty="0" err="1">
                          <a:solidFill>
                            <a:schemeClr val="tx1"/>
                          </a:solidFill>
                          <a:latin typeface="+mj-lt"/>
                        </a:rPr>
                        <a:t>сут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7850703"/>
                  </a:ext>
                </a:extLst>
              </a:tr>
              <a:tr h="37332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28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1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141 435</a:t>
                      </a:r>
                      <a:r>
                        <a:rPr lang="ru-RU" sz="600" dirty="0">
                          <a:solidFill>
                            <a:srgbClr val="C00000"/>
                          </a:solidFill>
                          <a:latin typeface="+mj-lt"/>
                        </a:rPr>
                        <a:t>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– существующий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201 711</a:t>
                      </a:r>
                      <a:r>
                        <a:rPr lang="ru-RU" sz="600" dirty="0">
                          <a:solidFill>
                            <a:srgbClr val="C00000"/>
                          </a:solidFill>
                          <a:latin typeface="+mj-lt"/>
                        </a:rPr>
                        <a:t>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– по модели (2020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217 839</a:t>
                      </a:r>
                      <a:r>
                        <a:rPr lang="ru-RU" sz="600" dirty="0">
                          <a:solidFill>
                            <a:srgbClr val="C00000"/>
                          </a:solidFill>
                          <a:latin typeface="+mj-lt"/>
                        </a:rPr>
                        <a:t>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– существующий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292 383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 – по модели (2020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80</a:t>
                      </a:r>
                      <a:r>
                        <a:rPr lang="ru-RU" sz="600" dirty="0">
                          <a:solidFill>
                            <a:srgbClr val="C00000"/>
                          </a:solidFill>
                          <a:latin typeface="+mj-lt"/>
                        </a:rPr>
                        <a:t>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– первый этап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165</a:t>
                      </a:r>
                      <a:r>
                        <a:rPr lang="ru-RU" sz="600" dirty="0">
                          <a:solidFill>
                            <a:srgbClr val="C00000"/>
                          </a:solidFill>
                          <a:latin typeface="+mj-lt"/>
                        </a:rPr>
                        <a:t>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– целевой этап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222024"/>
                  </a:ext>
                </a:extLst>
              </a:tr>
            </a:tbl>
          </a:graphicData>
        </a:graphic>
      </p:graphicFrame>
      <p:sp>
        <p:nvSpPr>
          <p:cNvPr id="242" name="TextBox 241">
            <a:extLst>
              <a:ext uri="{FF2B5EF4-FFF2-40B4-BE49-F238E27FC236}">
                <a16:creationId xmlns:a16="http://schemas.microsoft.com/office/drawing/2014/main" id="{2F13AD41-40F2-F547-B814-0C07D75D67D3}"/>
              </a:ext>
            </a:extLst>
          </p:cNvPr>
          <p:cNvSpPr txBox="1"/>
          <p:nvPr/>
        </p:nvSpPr>
        <p:spPr>
          <a:xfrm>
            <a:off x="2475679" y="1722597"/>
            <a:ext cx="542398" cy="1366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ru-RU" sz="700" dirty="0">
                <a:latin typeface="+mj-lt"/>
              </a:rPr>
              <a:t>Лианозово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34758839-98E9-A145-8F01-994F7906D90F}"/>
              </a:ext>
            </a:extLst>
          </p:cNvPr>
          <p:cNvSpPr txBox="1"/>
          <p:nvPr/>
        </p:nvSpPr>
        <p:spPr>
          <a:xfrm>
            <a:off x="3131196" y="2053967"/>
            <a:ext cx="108234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Петровско-Разумовская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7DE9D7DE-336B-C548-AB4E-B24972428937}"/>
              </a:ext>
            </a:extLst>
          </p:cNvPr>
          <p:cNvSpPr txBox="1"/>
          <p:nvPr/>
        </p:nvSpPr>
        <p:spPr>
          <a:xfrm>
            <a:off x="3138113" y="2177799"/>
            <a:ext cx="75854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Тимирязевская</a:t>
            </a:r>
            <a:endParaRPr lang="ru-RU" sz="700" dirty="0">
              <a:latin typeface="+mj-lt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5E41A125-6367-C14E-A19E-CE995ED5D30D}"/>
              </a:ext>
            </a:extLst>
          </p:cNvPr>
          <p:cNvSpPr txBox="1"/>
          <p:nvPr/>
        </p:nvSpPr>
        <p:spPr>
          <a:xfrm>
            <a:off x="3148731" y="2310843"/>
            <a:ext cx="67999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Дмитровская</a:t>
            </a:r>
            <a:endParaRPr lang="ru-RU" sz="700" dirty="0">
              <a:latin typeface="+mj-lt"/>
            </a:endParaRP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4B30157D-EBAE-F349-BF94-5597BA65021B}"/>
              </a:ext>
            </a:extLst>
          </p:cNvPr>
          <p:cNvSpPr txBox="1"/>
          <p:nvPr/>
        </p:nvSpPr>
        <p:spPr>
          <a:xfrm>
            <a:off x="2548149" y="2513190"/>
            <a:ext cx="65594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Савёловская</a:t>
            </a:r>
            <a:endParaRPr lang="ru-RU" sz="700" dirty="0">
              <a:latin typeface="+mj-lt"/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24C5EAD8-D6AF-2A46-A5FD-608209088073}"/>
              </a:ext>
            </a:extLst>
          </p:cNvPr>
          <p:cNvSpPr txBox="1"/>
          <p:nvPr/>
        </p:nvSpPr>
        <p:spPr>
          <a:xfrm>
            <a:off x="2987563" y="2813265"/>
            <a:ext cx="65594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Белорусская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A409D271-9455-BA42-B42E-DF20DC7443E0}"/>
              </a:ext>
            </a:extLst>
          </p:cNvPr>
          <p:cNvSpPr txBox="1"/>
          <p:nvPr/>
        </p:nvSpPr>
        <p:spPr>
          <a:xfrm>
            <a:off x="2433418" y="2690931"/>
            <a:ext cx="47961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Беговая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AD23A553-BC3C-EB41-B3B1-5741B2A06F61}"/>
              </a:ext>
            </a:extLst>
          </p:cNvPr>
          <p:cNvSpPr txBox="1"/>
          <p:nvPr/>
        </p:nvSpPr>
        <p:spPr>
          <a:xfrm>
            <a:off x="2802696" y="3076359"/>
            <a:ext cx="38664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Фили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F4AA9F84-3785-FE42-A6E3-26DBB7A63672}"/>
              </a:ext>
            </a:extLst>
          </p:cNvPr>
          <p:cNvSpPr txBox="1"/>
          <p:nvPr/>
        </p:nvSpPr>
        <p:spPr>
          <a:xfrm>
            <a:off x="2646420" y="3193064"/>
            <a:ext cx="76815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Славянский б-р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5910D795-D22F-D647-A111-41B4E215B290}"/>
              </a:ext>
            </a:extLst>
          </p:cNvPr>
          <p:cNvSpPr txBox="1"/>
          <p:nvPr/>
        </p:nvSpPr>
        <p:spPr>
          <a:xfrm>
            <a:off x="2440946" y="3299295"/>
            <a:ext cx="50206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Кунцево</a:t>
            </a:r>
            <a:endParaRPr lang="ru-RU" sz="700" dirty="0">
              <a:latin typeface="+mj-lt"/>
            </a:endParaRPr>
          </a:p>
        </p:txBody>
      </p:sp>
      <p:cxnSp>
        <p:nvCxnSpPr>
          <p:cNvPr id="252" name="Прямая соединительная линия 251">
            <a:extLst>
              <a:ext uri="{FF2B5EF4-FFF2-40B4-BE49-F238E27FC236}">
                <a16:creationId xmlns:a16="http://schemas.microsoft.com/office/drawing/2014/main" id="{9155D405-50B1-B543-969A-F99E321AA966}"/>
              </a:ext>
            </a:extLst>
          </p:cNvPr>
          <p:cNvCxnSpPr>
            <a:cxnSpLocks/>
          </p:cNvCxnSpPr>
          <p:nvPr/>
        </p:nvCxnSpPr>
        <p:spPr>
          <a:xfrm flipV="1">
            <a:off x="2976054" y="1730838"/>
            <a:ext cx="93757" cy="3287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Прямая соединительная линия 255">
            <a:extLst>
              <a:ext uri="{FF2B5EF4-FFF2-40B4-BE49-F238E27FC236}">
                <a16:creationId xmlns:a16="http://schemas.microsoft.com/office/drawing/2014/main" id="{65A16D07-7FA4-7146-BABE-6F0B05FBC988}"/>
              </a:ext>
            </a:extLst>
          </p:cNvPr>
          <p:cNvCxnSpPr>
            <a:cxnSpLocks/>
          </p:cNvCxnSpPr>
          <p:nvPr/>
        </p:nvCxnSpPr>
        <p:spPr>
          <a:xfrm flipV="1">
            <a:off x="3121146" y="2180468"/>
            <a:ext cx="82551" cy="35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Прямая соединительная линия 257">
            <a:extLst>
              <a:ext uri="{FF2B5EF4-FFF2-40B4-BE49-F238E27FC236}">
                <a16:creationId xmlns:a16="http://schemas.microsoft.com/office/drawing/2014/main" id="{75D6DB11-A22D-CC44-B4FE-8929612AC4B0}"/>
              </a:ext>
            </a:extLst>
          </p:cNvPr>
          <p:cNvCxnSpPr>
            <a:cxnSpLocks/>
          </p:cNvCxnSpPr>
          <p:nvPr/>
        </p:nvCxnSpPr>
        <p:spPr>
          <a:xfrm flipV="1">
            <a:off x="3119304" y="2327308"/>
            <a:ext cx="95803" cy="467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Прямая соединительная линия 259">
            <a:extLst>
              <a:ext uri="{FF2B5EF4-FFF2-40B4-BE49-F238E27FC236}">
                <a16:creationId xmlns:a16="http://schemas.microsoft.com/office/drawing/2014/main" id="{AC228685-FEA0-364B-9D04-2A8590F7DC18}"/>
              </a:ext>
            </a:extLst>
          </p:cNvPr>
          <p:cNvCxnSpPr>
            <a:cxnSpLocks/>
          </p:cNvCxnSpPr>
          <p:nvPr/>
        </p:nvCxnSpPr>
        <p:spPr>
          <a:xfrm flipV="1">
            <a:off x="3158422" y="2439400"/>
            <a:ext cx="65435" cy="467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Прямая соединительная линия 260">
            <a:extLst>
              <a:ext uri="{FF2B5EF4-FFF2-40B4-BE49-F238E27FC236}">
                <a16:creationId xmlns:a16="http://schemas.microsoft.com/office/drawing/2014/main" id="{8C104BB8-46D0-C24A-B8E8-74C57EF315D7}"/>
              </a:ext>
            </a:extLst>
          </p:cNvPr>
          <p:cNvCxnSpPr>
            <a:cxnSpLocks/>
          </p:cNvCxnSpPr>
          <p:nvPr/>
        </p:nvCxnSpPr>
        <p:spPr>
          <a:xfrm flipV="1">
            <a:off x="3118879" y="2606055"/>
            <a:ext cx="77666" cy="246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Прямая соединительная линия 263">
            <a:extLst>
              <a:ext uri="{FF2B5EF4-FFF2-40B4-BE49-F238E27FC236}">
                <a16:creationId xmlns:a16="http://schemas.microsoft.com/office/drawing/2014/main" id="{5F5272E2-12BB-7B4D-8273-1CC03C3CA9A7}"/>
              </a:ext>
            </a:extLst>
          </p:cNvPr>
          <p:cNvCxnSpPr>
            <a:cxnSpLocks/>
          </p:cNvCxnSpPr>
          <p:nvPr/>
        </p:nvCxnSpPr>
        <p:spPr>
          <a:xfrm>
            <a:off x="3154123" y="2790388"/>
            <a:ext cx="30886" cy="778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Прямая соединительная линия 265">
            <a:extLst>
              <a:ext uri="{FF2B5EF4-FFF2-40B4-BE49-F238E27FC236}">
                <a16:creationId xmlns:a16="http://schemas.microsoft.com/office/drawing/2014/main" id="{F7386AF1-5465-F44C-B23A-9BF539A487FC}"/>
              </a:ext>
            </a:extLst>
          </p:cNvPr>
          <p:cNvCxnSpPr>
            <a:cxnSpLocks/>
          </p:cNvCxnSpPr>
          <p:nvPr/>
        </p:nvCxnSpPr>
        <p:spPr>
          <a:xfrm>
            <a:off x="2833152" y="2809901"/>
            <a:ext cx="151203" cy="2241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Прямая соединительная линия 267">
            <a:extLst>
              <a:ext uri="{FF2B5EF4-FFF2-40B4-BE49-F238E27FC236}">
                <a16:creationId xmlns:a16="http://schemas.microsoft.com/office/drawing/2014/main" id="{4D4C5774-A085-7C4D-92DE-DCEC6821BD66}"/>
              </a:ext>
            </a:extLst>
          </p:cNvPr>
          <p:cNvCxnSpPr>
            <a:cxnSpLocks/>
          </p:cNvCxnSpPr>
          <p:nvPr/>
        </p:nvCxnSpPr>
        <p:spPr>
          <a:xfrm>
            <a:off x="2767195" y="3126595"/>
            <a:ext cx="113601" cy="2241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Прямая соединительная линия 269">
            <a:extLst>
              <a:ext uri="{FF2B5EF4-FFF2-40B4-BE49-F238E27FC236}">
                <a16:creationId xmlns:a16="http://schemas.microsoft.com/office/drawing/2014/main" id="{EEFAFA62-9199-D644-B8FE-061C16E5106F}"/>
              </a:ext>
            </a:extLst>
          </p:cNvPr>
          <p:cNvCxnSpPr>
            <a:cxnSpLocks/>
          </p:cNvCxnSpPr>
          <p:nvPr/>
        </p:nvCxnSpPr>
        <p:spPr>
          <a:xfrm>
            <a:off x="2541698" y="3266797"/>
            <a:ext cx="171618" cy="3249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Прямая соединительная линия 272">
            <a:extLst>
              <a:ext uri="{FF2B5EF4-FFF2-40B4-BE49-F238E27FC236}">
                <a16:creationId xmlns:a16="http://schemas.microsoft.com/office/drawing/2014/main" id="{41995947-2CC5-4844-A972-CDC73E5E4EF9}"/>
              </a:ext>
            </a:extLst>
          </p:cNvPr>
          <p:cNvCxnSpPr>
            <a:cxnSpLocks/>
          </p:cNvCxnSpPr>
          <p:nvPr/>
        </p:nvCxnSpPr>
        <p:spPr>
          <a:xfrm>
            <a:off x="2399755" y="3291731"/>
            <a:ext cx="106561" cy="1001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TextBox 317">
            <a:extLst>
              <a:ext uri="{FF2B5EF4-FFF2-40B4-BE49-F238E27FC236}">
                <a16:creationId xmlns:a16="http://schemas.microsoft.com/office/drawing/2014/main" id="{27776E2C-4A75-C241-A77B-130F80C68066}"/>
              </a:ext>
            </a:extLst>
          </p:cNvPr>
          <p:cNvSpPr txBox="1"/>
          <p:nvPr/>
        </p:nvSpPr>
        <p:spPr>
          <a:xfrm>
            <a:off x="2087070" y="1647821"/>
            <a:ext cx="566181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500" i="1">
                <a:solidFill>
                  <a:schemeClr val="accent3">
                    <a:lumMod val="50000"/>
                    <a:alpha val="30000"/>
                  </a:schemeClr>
                </a:solidFill>
              </a:defRPr>
            </a:lvl1pPr>
          </a:lstStyle>
          <a:p>
            <a:r>
              <a:rPr lang="ru-RU" dirty="0">
                <a:solidFill>
                  <a:schemeClr val="accent3">
                    <a:lumMod val="50000"/>
                    <a:alpha val="55000"/>
                  </a:schemeClr>
                </a:solidFill>
              </a:rPr>
              <a:t>Граница зоны</a:t>
            </a:r>
          </a:p>
        </p:txBody>
      </p:sp>
      <p:sp>
        <p:nvSpPr>
          <p:cNvPr id="320" name="TextBox 319">
            <a:extLst>
              <a:ext uri="{FF2B5EF4-FFF2-40B4-BE49-F238E27FC236}">
                <a16:creationId xmlns:a16="http://schemas.microsoft.com/office/drawing/2014/main" id="{97513304-FA79-7F45-90D0-B24D29172D31}"/>
              </a:ext>
            </a:extLst>
          </p:cNvPr>
          <p:cNvSpPr txBox="1"/>
          <p:nvPr/>
        </p:nvSpPr>
        <p:spPr>
          <a:xfrm>
            <a:off x="1857918" y="2725002"/>
            <a:ext cx="566181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500" i="1">
                <a:solidFill>
                  <a:schemeClr val="accent3">
                    <a:lumMod val="50000"/>
                    <a:alpha val="30000"/>
                  </a:schemeClr>
                </a:solidFill>
              </a:defRPr>
            </a:lvl1pPr>
          </a:lstStyle>
          <a:p>
            <a:r>
              <a:rPr lang="ru-RU" dirty="0">
                <a:solidFill>
                  <a:schemeClr val="accent3">
                    <a:lumMod val="50000"/>
                    <a:alpha val="55000"/>
                  </a:schemeClr>
                </a:solidFill>
              </a:rPr>
              <a:t>Граница зоны</a:t>
            </a:r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FF83CD58-E312-034E-82F7-56509EAB63BA}"/>
              </a:ext>
            </a:extLst>
          </p:cNvPr>
          <p:cNvSpPr txBox="1"/>
          <p:nvPr/>
        </p:nvSpPr>
        <p:spPr>
          <a:xfrm>
            <a:off x="2185496" y="3605839"/>
            <a:ext cx="566181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500" i="1">
                <a:solidFill>
                  <a:schemeClr val="accent3">
                    <a:lumMod val="50000"/>
                    <a:alpha val="30000"/>
                  </a:schemeClr>
                </a:solidFill>
              </a:defRPr>
            </a:lvl1pPr>
          </a:lstStyle>
          <a:p>
            <a:r>
              <a:rPr lang="ru-RU" dirty="0">
                <a:solidFill>
                  <a:schemeClr val="accent3">
                    <a:lumMod val="50000"/>
                    <a:alpha val="55000"/>
                  </a:schemeClr>
                </a:solidFill>
              </a:rPr>
              <a:t>Граница зоны</a:t>
            </a:r>
          </a:p>
        </p:txBody>
      </p:sp>
      <p:grpSp>
        <p:nvGrpSpPr>
          <p:cNvPr id="187" name="Группа 186">
            <a:extLst>
              <a:ext uri="{FF2B5EF4-FFF2-40B4-BE49-F238E27FC236}">
                <a16:creationId xmlns:a16="http://schemas.microsoft.com/office/drawing/2014/main" id="{705584B4-E477-884A-BCD2-E797395C22A3}"/>
              </a:ext>
            </a:extLst>
          </p:cNvPr>
          <p:cNvGrpSpPr/>
          <p:nvPr/>
        </p:nvGrpSpPr>
        <p:grpSpPr>
          <a:xfrm>
            <a:off x="7433" y="6164447"/>
            <a:ext cx="2668618" cy="415498"/>
            <a:chOff x="38866" y="6129397"/>
            <a:chExt cx="2286084" cy="415498"/>
          </a:xfrm>
        </p:grpSpPr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5E448ED2-BF61-464A-9BF5-700202C5E404}"/>
                </a:ext>
              </a:extLst>
            </p:cNvPr>
            <p:cNvSpPr txBox="1"/>
            <p:nvPr/>
          </p:nvSpPr>
          <p:spPr>
            <a:xfrm>
              <a:off x="38866" y="6129397"/>
              <a:ext cx="2286084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700" dirty="0">
                  <a:solidFill>
                    <a:srgbClr val="C00000"/>
                  </a:solidFill>
                  <a:latin typeface="+mj-lt"/>
                </a:rPr>
                <a:t>* Дополнительный спрос на МЦД (% перехода на новый сервис) </a:t>
              </a:r>
            </a:p>
            <a:p>
              <a:r>
                <a:rPr lang="ru-RU" sz="700" dirty="0">
                  <a:solidFill>
                    <a:srgbClr val="C00000"/>
                  </a:solidFill>
                  <a:latin typeface="+mj-lt"/>
                </a:rPr>
                <a:t>у данных категорий граждан уточняется опросом</a:t>
              </a:r>
            </a:p>
          </p:txBody>
        </p:sp>
        <p:cxnSp>
          <p:nvCxnSpPr>
            <p:cNvPr id="193" name="Прямая соединительная линия 192">
              <a:extLst>
                <a:ext uri="{FF2B5EF4-FFF2-40B4-BE49-F238E27FC236}">
                  <a16:creationId xmlns:a16="http://schemas.microsoft.com/office/drawing/2014/main" id="{37063B3C-E468-6B4F-A377-6E0508B11B4F}"/>
                </a:ext>
              </a:extLst>
            </p:cNvPr>
            <p:cNvCxnSpPr>
              <a:cxnSpLocks/>
            </p:cNvCxnSpPr>
            <p:nvPr/>
          </p:nvCxnSpPr>
          <p:spPr>
            <a:xfrm>
              <a:off x="111318" y="6149385"/>
              <a:ext cx="1921747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CCACC91C-3DB9-AB46-9439-86A23EC4177F}"/>
              </a:ext>
            </a:extLst>
          </p:cNvPr>
          <p:cNvGraphicFramePr>
            <a:graphicFrameLocks noGrp="1"/>
          </p:cNvGraphicFramePr>
          <p:nvPr/>
        </p:nvGraphicFramePr>
        <p:xfrm>
          <a:off x="4092751" y="577777"/>
          <a:ext cx="1334050" cy="1234440"/>
        </p:xfrm>
        <a:graphic>
          <a:graphicData uri="http://schemas.openxmlformats.org/drawingml/2006/table">
            <a:tbl>
              <a:tblPr firstRow="1" bandRow="1">
                <a:noFill/>
                <a:tableStyleId>{2D5ABB26-0587-4C30-8999-92F81FD0307C}</a:tableStyleId>
              </a:tblPr>
              <a:tblGrid>
                <a:gridCol w="639036">
                  <a:extLst>
                    <a:ext uri="{9D8B030D-6E8A-4147-A177-3AD203B41FA5}">
                      <a16:colId xmlns:a16="http://schemas.microsoft.com/office/drawing/2014/main" val="1888242385"/>
                    </a:ext>
                  </a:extLst>
                </a:gridCol>
                <a:gridCol w="347507">
                  <a:extLst>
                    <a:ext uri="{9D8B030D-6E8A-4147-A177-3AD203B41FA5}">
                      <a16:colId xmlns:a16="http://schemas.microsoft.com/office/drawing/2014/main" val="4287278715"/>
                    </a:ext>
                  </a:extLst>
                </a:gridCol>
                <a:gridCol w="347507">
                  <a:extLst>
                    <a:ext uri="{9D8B030D-6E8A-4147-A177-3AD203B41FA5}">
                      <a16:colId xmlns:a16="http://schemas.microsoft.com/office/drawing/2014/main" val="3084681012"/>
                    </a:ext>
                  </a:extLst>
                </a:gridCol>
              </a:tblGrid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МЦД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80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65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667621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Пригородные диаметральные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56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0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23648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Дальние пригородные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99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88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2032710"/>
                  </a:ext>
                </a:extLst>
              </a:tr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Аэроэкспресс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39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39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6322055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Всего диаметральных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36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6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672235"/>
                  </a:ext>
                </a:extLst>
              </a:tr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chemeClr val="tx1"/>
                          </a:solidFill>
                        </a:rPr>
                        <a:t>Всего</a:t>
                      </a:r>
                      <a:endParaRPr lang="ru-RU" sz="500" b="1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18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rgbClr val="C00000"/>
                          </a:solidFill>
                        </a:rPr>
                        <a:t>292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0369880"/>
                  </a:ext>
                </a:extLst>
              </a:tr>
            </a:tbl>
          </a:graphicData>
        </a:graphic>
      </p:graphicFrame>
      <p:grpSp>
        <p:nvGrpSpPr>
          <p:cNvPr id="267" name="Группа 266">
            <a:extLst>
              <a:ext uri="{FF2B5EF4-FFF2-40B4-BE49-F238E27FC236}">
                <a16:creationId xmlns:a16="http://schemas.microsoft.com/office/drawing/2014/main" id="{F36C180D-2DD3-F04C-8FDC-1D982218F25E}"/>
              </a:ext>
            </a:extLst>
          </p:cNvPr>
          <p:cNvGrpSpPr/>
          <p:nvPr/>
        </p:nvGrpSpPr>
        <p:grpSpPr>
          <a:xfrm>
            <a:off x="2131740" y="3892820"/>
            <a:ext cx="1503380" cy="1339698"/>
            <a:chOff x="3593033" y="156775"/>
            <a:chExt cx="1503380" cy="1339698"/>
          </a:xfrm>
        </p:grpSpPr>
        <p:sp>
          <p:nvSpPr>
            <p:cNvPr id="269" name="Прямоугольник 268">
              <a:extLst>
                <a:ext uri="{FF2B5EF4-FFF2-40B4-BE49-F238E27FC236}">
                  <a16:creationId xmlns:a16="http://schemas.microsoft.com/office/drawing/2014/main" id="{78385742-90AB-4340-9C93-204FE6A5D9D2}"/>
                </a:ext>
              </a:extLst>
            </p:cNvPr>
            <p:cNvSpPr/>
            <p:nvPr/>
          </p:nvSpPr>
          <p:spPr>
            <a:xfrm>
              <a:off x="3677698" y="252539"/>
              <a:ext cx="1337554" cy="1243934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accent1">
                  <a:lumMod val="50000"/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71" name="Прямоугольник 270">
              <a:extLst>
                <a:ext uri="{FF2B5EF4-FFF2-40B4-BE49-F238E27FC236}">
                  <a16:creationId xmlns:a16="http://schemas.microsoft.com/office/drawing/2014/main" id="{A60A3867-3F61-F64E-9930-DECA6BF3BA89}"/>
                </a:ext>
              </a:extLst>
            </p:cNvPr>
            <p:cNvSpPr/>
            <p:nvPr/>
          </p:nvSpPr>
          <p:spPr>
            <a:xfrm>
              <a:off x="3593033" y="156775"/>
              <a:ext cx="1503380" cy="24247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8113" algn="ctr"/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Размеры движения на Белорусском направлении, пар поездов/</a:t>
              </a:r>
              <a:r>
                <a:rPr lang="ru-RU" sz="600" dirty="0" err="1">
                  <a:solidFill>
                    <a:schemeClr val="bg1"/>
                  </a:solidFill>
                  <a:latin typeface="+mj-lt"/>
                </a:rPr>
                <a:t>сут</a:t>
              </a:r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.</a:t>
              </a:r>
            </a:p>
          </p:txBody>
        </p:sp>
      </p:grpSp>
      <p:graphicFrame>
        <p:nvGraphicFramePr>
          <p:cNvPr id="272" name="Таблица 271">
            <a:extLst>
              <a:ext uri="{FF2B5EF4-FFF2-40B4-BE49-F238E27FC236}">
                <a16:creationId xmlns:a16="http://schemas.microsoft.com/office/drawing/2014/main" id="{80CCF60B-739A-8E4A-B14C-F2A9C85B7482}"/>
              </a:ext>
            </a:extLst>
          </p:cNvPr>
          <p:cNvGraphicFramePr>
            <a:graphicFrameLocks noGrp="1"/>
          </p:cNvGraphicFramePr>
          <p:nvPr/>
        </p:nvGraphicFramePr>
        <p:xfrm>
          <a:off x="2212358" y="4165717"/>
          <a:ext cx="1334050" cy="1066800"/>
        </p:xfrm>
        <a:graphic>
          <a:graphicData uri="http://schemas.openxmlformats.org/drawingml/2006/table">
            <a:tbl>
              <a:tblPr firstRow="1" bandRow="1">
                <a:noFill/>
                <a:tableStyleId>{2D5ABB26-0587-4C30-8999-92F81FD0307C}</a:tableStyleId>
              </a:tblPr>
              <a:tblGrid>
                <a:gridCol w="639036">
                  <a:extLst>
                    <a:ext uri="{9D8B030D-6E8A-4147-A177-3AD203B41FA5}">
                      <a16:colId xmlns:a16="http://schemas.microsoft.com/office/drawing/2014/main" val="1888242385"/>
                    </a:ext>
                  </a:extLst>
                </a:gridCol>
                <a:gridCol w="347507">
                  <a:extLst>
                    <a:ext uri="{9D8B030D-6E8A-4147-A177-3AD203B41FA5}">
                      <a16:colId xmlns:a16="http://schemas.microsoft.com/office/drawing/2014/main" val="4287278715"/>
                    </a:ext>
                  </a:extLst>
                </a:gridCol>
                <a:gridCol w="347507">
                  <a:extLst>
                    <a:ext uri="{9D8B030D-6E8A-4147-A177-3AD203B41FA5}">
                      <a16:colId xmlns:a16="http://schemas.microsoft.com/office/drawing/2014/main" val="3084681012"/>
                    </a:ext>
                  </a:extLst>
                </a:gridCol>
              </a:tblGrid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МЦД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80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65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667621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Пригородные диаметральные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56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0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23648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Дальние пригородные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9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02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2032710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Всего диаметральных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36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6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672235"/>
                  </a:ext>
                </a:extLst>
              </a:tr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chemeClr val="tx1"/>
                          </a:solidFill>
                        </a:rPr>
                        <a:t>Всего</a:t>
                      </a:r>
                      <a:endParaRPr lang="ru-RU" sz="500" b="1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7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rgbClr val="C00000"/>
                          </a:solidFill>
                        </a:rPr>
                        <a:t>267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0369880"/>
                  </a:ext>
                </a:extLst>
              </a:tr>
            </a:tbl>
          </a:graphicData>
        </a:graphic>
      </p:graphicFrame>
      <p:pic>
        <p:nvPicPr>
          <p:cNvPr id="23" name="Рисунок 22" descr="Train">
            <a:extLst>
              <a:ext uri="{FF2B5EF4-FFF2-40B4-BE49-F238E27FC236}">
                <a16:creationId xmlns:a16="http://schemas.microsoft.com/office/drawing/2014/main" id="{9156D426-DFDF-904A-A0B4-DDC28E40BD20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174058" y="3929507"/>
            <a:ext cx="164463" cy="164463"/>
          </a:xfrm>
          <a:prstGeom prst="rect">
            <a:avLst/>
          </a:prstGeom>
        </p:spPr>
      </p:pic>
      <p:grpSp>
        <p:nvGrpSpPr>
          <p:cNvPr id="306" name="Группа 305">
            <a:extLst>
              <a:ext uri="{FF2B5EF4-FFF2-40B4-BE49-F238E27FC236}">
                <a16:creationId xmlns:a16="http://schemas.microsoft.com/office/drawing/2014/main" id="{A7B428EE-6A27-AE42-8909-BF6E5A135DBD}"/>
              </a:ext>
            </a:extLst>
          </p:cNvPr>
          <p:cNvGrpSpPr/>
          <p:nvPr/>
        </p:nvGrpSpPr>
        <p:grpSpPr>
          <a:xfrm>
            <a:off x="2445808" y="5086587"/>
            <a:ext cx="1029187" cy="426892"/>
            <a:chOff x="3635375" y="1442462"/>
            <a:chExt cx="1029187" cy="426892"/>
          </a:xfrm>
        </p:grpSpPr>
        <p:sp>
          <p:nvSpPr>
            <p:cNvPr id="307" name="Скругленный прямоугольник 306">
              <a:extLst>
                <a:ext uri="{FF2B5EF4-FFF2-40B4-BE49-F238E27FC236}">
                  <a16:creationId xmlns:a16="http://schemas.microsoft.com/office/drawing/2014/main" id="{4C104646-B3B8-5145-93DC-79B2E152990C}"/>
                </a:ext>
              </a:extLst>
            </p:cNvPr>
            <p:cNvSpPr/>
            <p:nvPr/>
          </p:nvSpPr>
          <p:spPr>
            <a:xfrm>
              <a:off x="4108289" y="1442462"/>
              <a:ext cx="211052" cy="104362"/>
            </a:xfrm>
            <a:prstGeom prst="roundRect">
              <a:avLst/>
            </a:prstGeom>
            <a:noFill/>
            <a:ln w="63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0" name="Скругленный прямоугольник 309">
              <a:extLst>
                <a:ext uri="{FF2B5EF4-FFF2-40B4-BE49-F238E27FC236}">
                  <a16:creationId xmlns:a16="http://schemas.microsoft.com/office/drawing/2014/main" id="{45626D6C-81C3-F545-BC0C-45778746EB4C}"/>
                </a:ext>
              </a:extLst>
            </p:cNvPr>
            <p:cNvSpPr/>
            <p:nvPr/>
          </p:nvSpPr>
          <p:spPr>
            <a:xfrm>
              <a:off x="4453510" y="1444318"/>
              <a:ext cx="211052" cy="104362"/>
            </a:xfrm>
            <a:prstGeom prst="roundRect">
              <a:avLst/>
            </a:prstGeom>
            <a:noFill/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12" name="Группа 311">
              <a:extLst>
                <a:ext uri="{FF2B5EF4-FFF2-40B4-BE49-F238E27FC236}">
                  <a16:creationId xmlns:a16="http://schemas.microsoft.com/office/drawing/2014/main" id="{847B6D63-4B4B-044D-B720-61503AD016E9}"/>
                </a:ext>
              </a:extLst>
            </p:cNvPr>
            <p:cNvGrpSpPr/>
            <p:nvPr/>
          </p:nvGrpSpPr>
          <p:grpSpPr>
            <a:xfrm>
              <a:off x="3635375" y="1595115"/>
              <a:ext cx="620017" cy="149826"/>
              <a:chOff x="3776366" y="2024999"/>
              <a:chExt cx="620017" cy="149826"/>
            </a:xfrm>
          </p:grpSpPr>
          <p:sp>
            <p:nvSpPr>
              <p:cNvPr id="327" name="Прямоугольник 326">
                <a:extLst>
                  <a:ext uri="{FF2B5EF4-FFF2-40B4-BE49-F238E27FC236}">
                    <a16:creationId xmlns:a16="http://schemas.microsoft.com/office/drawing/2014/main" id="{2E4A518D-CCC3-624F-A068-9D39A052D00D}"/>
                  </a:ext>
                </a:extLst>
              </p:cNvPr>
              <p:cNvSpPr/>
              <p:nvPr/>
            </p:nvSpPr>
            <p:spPr>
              <a:xfrm>
                <a:off x="3776366" y="2079544"/>
                <a:ext cx="620017" cy="95281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ru-RU" sz="600" dirty="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Первый этап</a:t>
                </a:r>
              </a:p>
            </p:txBody>
          </p:sp>
          <p:sp>
            <p:nvSpPr>
              <p:cNvPr id="328" name="Треугольник 327">
                <a:extLst>
                  <a:ext uri="{FF2B5EF4-FFF2-40B4-BE49-F238E27FC236}">
                    <a16:creationId xmlns:a16="http://schemas.microsoft.com/office/drawing/2014/main" id="{03D57C3D-8D0B-8C4B-90A7-27C0706DFDB3}"/>
                  </a:ext>
                </a:extLst>
              </p:cNvPr>
              <p:cNvSpPr/>
              <p:nvPr/>
            </p:nvSpPr>
            <p:spPr>
              <a:xfrm>
                <a:off x="4315377" y="2024999"/>
                <a:ext cx="80467" cy="56442"/>
              </a:xfrm>
              <a:prstGeom prst="triangle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313" name="Группа 312">
              <a:extLst>
                <a:ext uri="{FF2B5EF4-FFF2-40B4-BE49-F238E27FC236}">
                  <a16:creationId xmlns:a16="http://schemas.microsoft.com/office/drawing/2014/main" id="{6515890E-5F99-0E49-AA9B-1B8E16B03CD3}"/>
                </a:ext>
              </a:extLst>
            </p:cNvPr>
            <p:cNvGrpSpPr/>
            <p:nvPr/>
          </p:nvGrpSpPr>
          <p:grpSpPr>
            <a:xfrm>
              <a:off x="3937108" y="1595896"/>
              <a:ext cx="665098" cy="273458"/>
              <a:chOff x="3937108" y="1592522"/>
              <a:chExt cx="665098" cy="273458"/>
            </a:xfrm>
          </p:grpSpPr>
          <p:grpSp>
            <p:nvGrpSpPr>
              <p:cNvPr id="314" name="Группа 313">
                <a:extLst>
                  <a:ext uri="{FF2B5EF4-FFF2-40B4-BE49-F238E27FC236}">
                    <a16:creationId xmlns:a16="http://schemas.microsoft.com/office/drawing/2014/main" id="{67F5DA83-A011-CD4E-8140-43C6AF267B10}"/>
                  </a:ext>
                </a:extLst>
              </p:cNvPr>
              <p:cNvGrpSpPr/>
              <p:nvPr/>
            </p:nvGrpSpPr>
            <p:grpSpPr>
              <a:xfrm>
                <a:off x="3937108" y="1592522"/>
                <a:ext cx="665098" cy="273458"/>
                <a:chOff x="3728111" y="2021426"/>
                <a:chExt cx="665098" cy="273458"/>
              </a:xfrm>
            </p:grpSpPr>
            <p:sp>
              <p:nvSpPr>
                <p:cNvPr id="317" name="Прямоугольник 316">
                  <a:extLst>
                    <a:ext uri="{FF2B5EF4-FFF2-40B4-BE49-F238E27FC236}">
                      <a16:creationId xmlns:a16="http://schemas.microsoft.com/office/drawing/2014/main" id="{6116A539-2C8F-3640-9A4F-3E681D888738}"/>
                    </a:ext>
                  </a:extLst>
                </p:cNvPr>
                <p:cNvSpPr/>
                <p:nvPr/>
              </p:nvSpPr>
              <p:spPr>
                <a:xfrm>
                  <a:off x="3728111" y="2199603"/>
                  <a:ext cx="665098" cy="95281"/>
                </a:xfrm>
                <a:prstGeom prst="rect">
                  <a:avLst/>
                </a:prstGeom>
                <a:solidFill>
                  <a:srgbClr val="C0000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r"/>
                  <a:r>
                    <a:rPr lang="ru-RU" sz="600" dirty="0">
                      <a:solidFill>
                        <a:schemeClr val="accent1">
                          <a:lumMod val="50000"/>
                        </a:schemeClr>
                      </a:solidFill>
                      <a:latin typeface="+mj-lt"/>
                    </a:rPr>
                    <a:t>Целевой этап</a:t>
                  </a:r>
                </a:p>
              </p:txBody>
            </p:sp>
            <p:sp>
              <p:nvSpPr>
                <p:cNvPr id="326" name="Треугольник 325">
                  <a:extLst>
                    <a:ext uri="{FF2B5EF4-FFF2-40B4-BE49-F238E27FC236}">
                      <a16:creationId xmlns:a16="http://schemas.microsoft.com/office/drawing/2014/main" id="{40AAFDBF-FAAF-6748-BD7B-F099AFAFE898}"/>
                    </a:ext>
                  </a:extLst>
                </p:cNvPr>
                <p:cNvSpPr/>
                <p:nvPr/>
              </p:nvSpPr>
              <p:spPr>
                <a:xfrm>
                  <a:off x="4312003" y="2021426"/>
                  <a:ext cx="80467" cy="56442"/>
                </a:xfrm>
                <a:prstGeom prst="triangle">
                  <a:avLst/>
                </a:prstGeom>
                <a:solidFill>
                  <a:srgbClr val="C0000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316" name="Прямоугольник 315">
                <a:extLst>
                  <a:ext uri="{FF2B5EF4-FFF2-40B4-BE49-F238E27FC236}">
                    <a16:creationId xmlns:a16="http://schemas.microsoft.com/office/drawing/2014/main" id="{195F1BEF-014B-2F49-9FD7-20CA4D632240}"/>
                  </a:ext>
                </a:extLst>
              </p:cNvPr>
              <p:cNvSpPr/>
              <p:nvPr/>
            </p:nvSpPr>
            <p:spPr>
              <a:xfrm>
                <a:off x="4521000" y="1649793"/>
                <a:ext cx="80467" cy="123825"/>
              </a:xfrm>
              <a:prstGeom prst="rect">
                <a:avLst/>
              </a:prstGeom>
              <a:solidFill>
                <a:srgbClr val="C0000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ru-RU" sz="600" dirty="0">
                  <a:solidFill>
                    <a:schemeClr val="accent1">
                      <a:lumMod val="50000"/>
                    </a:schemeClr>
                  </a:solidFill>
                  <a:latin typeface="+mj-lt"/>
                </a:endParaRPr>
              </a:p>
            </p:txBody>
          </p:sp>
        </p:grpSp>
      </p:grpSp>
      <p:grpSp>
        <p:nvGrpSpPr>
          <p:cNvPr id="329" name="Группа 328">
            <a:extLst>
              <a:ext uri="{FF2B5EF4-FFF2-40B4-BE49-F238E27FC236}">
                <a16:creationId xmlns:a16="http://schemas.microsoft.com/office/drawing/2014/main" id="{6C0C24FC-CAF5-1142-B209-4682209AEDA8}"/>
              </a:ext>
            </a:extLst>
          </p:cNvPr>
          <p:cNvGrpSpPr/>
          <p:nvPr/>
        </p:nvGrpSpPr>
        <p:grpSpPr>
          <a:xfrm>
            <a:off x="4321516" y="1667229"/>
            <a:ext cx="1029187" cy="469581"/>
            <a:chOff x="3635375" y="1442462"/>
            <a:chExt cx="1029187" cy="426892"/>
          </a:xfrm>
        </p:grpSpPr>
        <p:sp>
          <p:nvSpPr>
            <p:cNvPr id="330" name="Скругленный прямоугольник 329">
              <a:extLst>
                <a:ext uri="{FF2B5EF4-FFF2-40B4-BE49-F238E27FC236}">
                  <a16:creationId xmlns:a16="http://schemas.microsoft.com/office/drawing/2014/main" id="{3F7B6261-9F79-364D-92D4-BE539AAC87CF}"/>
                </a:ext>
              </a:extLst>
            </p:cNvPr>
            <p:cNvSpPr/>
            <p:nvPr/>
          </p:nvSpPr>
          <p:spPr>
            <a:xfrm>
              <a:off x="4108289" y="1442462"/>
              <a:ext cx="211052" cy="104362"/>
            </a:xfrm>
            <a:prstGeom prst="roundRect">
              <a:avLst/>
            </a:prstGeom>
            <a:noFill/>
            <a:ln w="63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1" name="Скругленный прямоугольник 330">
              <a:extLst>
                <a:ext uri="{FF2B5EF4-FFF2-40B4-BE49-F238E27FC236}">
                  <a16:creationId xmlns:a16="http://schemas.microsoft.com/office/drawing/2014/main" id="{7900FE47-CA54-9D43-862F-0EE8B5979E6C}"/>
                </a:ext>
              </a:extLst>
            </p:cNvPr>
            <p:cNvSpPr/>
            <p:nvPr/>
          </p:nvSpPr>
          <p:spPr>
            <a:xfrm>
              <a:off x="4453510" y="1444318"/>
              <a:ext cx="211052" cy="104362"/>
            </a:xfrm>
            <a:prstGeom prst="roundRect">
              <a:avLst/>
            </a:prstGeom>
            <a:noFill/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32" name="Группа 331">
              <a:extLst>
                <a:ext uri="{FF2B5EF4-FFF2-40B4-BE49-F238E27FC236}">
                  <a16:creationId xmlns:a16="http://schemas.microsoft.com/office/drawing/2014/main" id="{4436D3D5-6AB9-3240-8811-526B442E7C6D}"/>
                </a:ext>
              </a:extLst>
            </p:cNvPr>
            <p:cNvGrpSpPr/>
            <p:nvPr/>
          </p:nvGrpSpPr>
          <p:grpSpPr>
            <a:xfrm>
              <a:off x="3635375" y="1595115"/>
              <a:ext cx="620017" cy="149826"/>
              <a:chOff x="3776366" y="2024999"/>
              <a:chExt cx="620017" cy="149826"/>
            </a:xfrm>
          </p:grpSpPr>
          <p:sp>
            <p:nvSpPr>
              <p:cNvPr id="338" name="Прямоугольник 337">
                <a:extLst>
                  <a:ext uri="{FF2B5EF4-FFF2-40B4-BE49-F238E27FC236}">
                    <a16:creationId xmlns:a16="http://schemas.microsoft.com/office/drawing/2014/main" id="{AC1BA097-22EB-2A46-A55C-5A29F72EB1E9}"/>
                  </a:ext>
                </a:extLst>
              </p:cNvPr>
              <p:cNvSpPr/>
              <p:nvPr/>
            </p:nvSpPr>
            <p:spPr>
              <a:xfrm>
                <a:off x="3776366" y="2079544"/>
                <a:ext cx="620017" cy="95281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ru-RU" sz="600" dirty="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Первый этап</a:t>
                </a:r>
              </a:p>
            </p:txBody>
          </p:sp>
          <p:sp>
            <p:nvSpPr>
              <p:cNvPr id="339" name="Треугольник 338">
                <a:extLst>
                  <a:ext uri="{FF2B5EF4-FFF2-40B4-BE49-F238E27FC236}">
                    <a16:creationId xmlns:a16="http://schemas.microsoft.com/office/drawing/2014/main" id="{AB751880-93EA-9A41-BA2A-79FFB7098252}"/>
                  </a:ext>
                </a:extLst>
              </p:cNvPr>
              <p:cNvSpPr/>
              <p:nvPr/>
            </p:nvSpPr>
            <p:spPr>
              <a:xfrm>
                <a:off x="4315377" y="2024999"/>
                <a:ext cx="80467" cy="56442"/>
              </a:xfrm>
              <a:prstGeom prst="triangle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333" name="Группа 332">
              <a:extLst>
                <a:ext uri="{FF2B5EF4-FFF2-40B4-BE49-F238E27FC236}">
                  <a16:creationId xmlns:a16="http://schemas.microsoft.com/office/drawing/2014/main" id="{4CC66B3A-BC9F-BF4C-AFD3-1144D337140B}"/>
                </a:ext>
              </a:extLst>
            </p:cNvPr>
            <p:cNvGrpSpPr/>
            <p:nvPr/>
          </p:nvGrpSpPr>
          <p:grpSpPr>
            <a:xfrm>
              <a:off x="3937108" y="1595896"/>
              <a:ext cx="665098" cy="273458"/>
              <a:chOff x="3937108" y="1592522"/>
              <a:chExt cx="665098" cy="273458"/>
            </a:xfrm>
          </p:grpSpPr>
          <p:grpSp>
            <p:nvGrpSpPr>
              <p:cNvPr id="334" name="Группа 333">
                <a:extLst>
                  <a:ext uri="{FF2B5EF4-FFF2-40B4-BE49-F238E27FC236}">
                    <a16:creationId xmlns:a16="http://schemas.microsoft.com/office/drawing/2014/main" id="{D24C6F5B-D3D3-7B4F-9163-DECF71977D34}"/>
                  </a:ext>
                </a:extLst>
              </p:cNvPr>
              <p:cNvGrpSpPr/>
              <p:nvPr/>
            </p:nvGrpSpPr>
            <p:grpSpPr>
              <a:xfrm>
                <a:off x="3937108" y="1592522"/>
                <a:ext cx="665098" cy="273458"/>
                <a:chOff x="3728111" y="2021426"/>
                <a:chExt cx="665098" cy="273458"/>
              </a:xfrm>
            </p:grpSpPr>
            <p:sp>
              <p:nvSpPr>
                <p:cNvPr id="336" name="Прямоугольник 335">
                  <a:extLst>
                    <a:ext uri="{FF2B5EF4-FFF2-40B4-BE49-F238E27FC236}">
                      <a16:creationId xmlns:a16="http://schemas.microsoft.com/office/drawing/2014/main" id="{35112E59-B1DE-BD4B-AA02-2D7E59A74813}"/>
                    </a:ext>
                  </a:extLst>
                </p:cNvPr>
                <p:cNvSpPr/>
                <p:nvPr/>
              </p:nvSpPr>
              <p:spPr>
                <a:xfrm>
                  <a:off x="3728111" y="2199603"/>
                  <a:ext cx="665098" cy="95281"/>
                </a:xfrm>
                <a:prstGeom prst="rect">
                  <a:avLst/>
                </a:prstGeom>
                <a:solidFill>
                  <a:srgbClr val="C0000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r"/>
                  <a:r>
                    <a:rPr lang="ru-RU" sz="600" dirty="0">
                      <a:solidFill>
                        <a:schemeClr val="accent1">
                          <a:lumMod val="50000"/>
                        </a:schemeClr>
                      </a:solidFill>
                      <a:latin typeface="+mj-lt"/>
                    </a:rPr>
                    <a:t>Целевой этап</a:t>
                  </a:r>
                </a:p>
              </p:txBody>
            </p:sp>
            <p:sp>
              <p:nvSpPr>
                <p:cNvPr id="337" name="Треугольник 336">
                  <a:extLst>
                    <a:ext uri="{FF2B5EF4-FFF2-40B4-BE49-F238E27FC236}">
                      <a16:creationId xmlns:a16="http://schemas.microsoft.com/office/drawing/2014/main" id="{15EA1B3E-19AE-8D4F-A413-E18741EDF25E}"/>
                    </a:ext>
                  </a:extLst>
                </p:cNvPr>
                <p:cNvSpPr/>
                <p:nvPr/>
              </p:nvSpPr>
              <p:spPr>
                <a:xfrm>
                  <a:off x="4312003" y="2021426"/>
                  <a:ext cx="80467" cy="56442"/>
                </a:xfrm>
                <a:prstGeom prst="triangle">
                  <a:avLst/>
                </a:prstGeom>
                <a:solidFill>
                  <a:srgbClr val="C0000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335" name="Прямоугольник 334">
                <a:extLst>
                  <a:ext uri="{FF2B5EF4-FFF2-40B4-BE49-F238E27FC236}">
                    <a16:creationId xmlns:a16="http://schemas.microsoft.com/office/drawing/2014/main" id="{B92FFBA6-B280-9944-944A-1ECAF4AF4985}"/>
                  </a:ext>
                </a:extLst>
              </p:cNvPr>
              <p:cNvSpPr/>
              <p:nvPr/>
            </p:nvSpPr>
            <p:spPr>
              <a:xfrm>
                <a:off x="4521000" y="1645757"/>
                <a:ext cx="80467" cy="123825"/>
              </a:xfrm>
              <a:prstGeom prst="rect">
                <a:avLst/>
              </a:prstGeom>
              <a:solidFill>
                <a:srgbClr val="C0000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ru-RU" sz="600">
                  <a:solidFill>
                    <a:schemeClr val="accent1">
                      <a:lumMod val="50000"/>
                    </a:schemeClr>
                  </a:solidFill>
                  <a:latin typeface="+mj-lt"/>
                </a:endParaRPr>
              </a:p>
            </p:txBody>
          </p:sp>
        </p:grpSp>
      </p:grpSp>
      <p:grpSp>
        <p:nvGrpSpPr>
          <p:cNvPr id="237" name="Группа 236">
            <a:extLst>
              <a:ext uri="{FF2B5EF4-FFF2-40B4-BE49-F238E27FC236}">
                <a16:creationId xmlns:a16="http://schemas.microsoft.com/office/drawing/2014/main" id="{3B209E57-248F-DA4A-BFD1-4B8E11FE818D}"/>
              </a:ext>
            </a:extLst>
          </p:cNvPr>
          <p:cNvGrpSpPr/>
          <p:nvPr/>
        </p:nvGrpSpPr>
        <p:grpSpPr>
          <a:xfrm>
            <a:off x="2854758" y="311171"/>
            <a:ext cx="1154483" cy="545638"/>
            <a:chOff x="55619" y="1650925"/>
            <a:chExt cx="1855660" cy="573022"/>
          </a:xfrm>
        </p:grpSpPr>
        <p:sp>
          <p:nvSpPr>
            <p:cNvPr id="239" name="Прямоугольник 238">
              <a:extLst>
                <a:ext uri="{FF2B5EF4-FFF2-40B4-BE49-F238E27FC236}">
                  <a16:creationId xmlns:a16="http://schemas.microsoft.com/office/drawing/2014/main" id="{17A7622F-9158-C946-9705-117DD484396A}"/>
                </a:ext>
              </a:extLst>
            </p:cNvPr>
            <p:cNvSpPr/>
            <p:nvPr/>
          </p:nvSpPr>
          <p:spPr>
            <a:xfrm>
              <a:off x="133998" y="1650925"/>
              <a:ext cx="1671990" cy="573022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accent1">
                  <a:lumMod val="50000"/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F0375894-29D1-5F45-B415-FEA6227155C4}"/>
                </a:ext>
              </a:extLst>
            </p:cNvPr>
            <p:cNvSpPr txBox="1"/>
            <p:nvPr/>
          </p:nvSpPr>
          <p:spPr>
            <a:xfrm>
              <a:off x="55619" y="1661864"/>
              <a:ext cx="1855297" cy="48483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600" dirty="0">
                  <a:latin typeface="+mj-lt"/>
                </a:rPr>
                <a:t>Расчетный пассажиропоток автобусов, пересекающих границу Москвы</a:t>
              </a:r>
            </a:p>
            <a:p>
              <a:pPr algn="ctr"/>
              <a:endParaRPr lang="ru-RU" sz="600" dirty="0">
                <a:latin typeface="+mj-lt"/>
              </a:endParaRPr>
            </a:p>
          </p:txBody>
        </p: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DC81024A-7563-7B46-9339-A393EA8663AD}"/>
                </a:ext>
              </a:extLst>
            </p:cNvPr>
            <p:cNvSpPr txBox="1"/>
            <p:nvPr/>
          </p:nvSpPr>
          <p:spPr>
            <a:xfrm>
              <a:off x="449838" y="1959415"/>
              <a:ext cx="1461441" cy="2424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900" dirty="0">
                  <a:solidFill>
                    <a:srgbClr val="203864"/>
                  </a:solidFill>
                  <a:latin typeface="+mj-lt"/>
                </a:rPr>
                <a:t>1</a:t>
              </a:r>
              <a:r>
                <a:rPr lang="en-US" sz="900" dirty="0">
                  <a:solidFill>
                    <a:srgbClr val="203864"/>
                  </a:solidFill>
                  <a:latin typeface="+mj-lt"/>
                </a:rPr>
                <a:t>3 </a:t>
              </a:r>
              <a:r>
                <a:rPr lang="ru-RU" sz="900" dirty="0">
                  <a:solidFill>
                    <a:srgbClr val="203864"/>
                  </a:solidFill>
                  <a:latin typeface="+mj-lt"/>
                </a:rPr>
                <a:t>711 чел/сут.</a:t>
              </a:r>
            </a:p>
          </p:txBody>
        </p:sp>
      </p:grpSp>
      <p:pic>
        <p:nvPicPr>
          <p:cNvPr id="346" name="Рисунок 345" descr="Bus">
            <a:extLst>
              <a:ext uri="{FF2B5EF4-FFF2-40B4-BE49-F238E27FC236}">
                <a16:creationId xmlns:a16="http://schemas.microsoft.com/office/drawing/2014/main" id="{04DFF193-28B1-5A4B-A2B5-F035A8D22EA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44613" y="609045"/>
            <a:ext cx="236447" cy="236447"/>
          </a:xfrm>
          <a:prstGeom prst="rect">
            <a:avLst/>
          </a:prstGeom>
        </p:spPr>
      </p:pic>
      <p:pic>
        <p:nvPicPr>
          <p:cNvPr id="347" name="Рисунок 346" descr="Train">
            <a:extLst>
              <a:ext uri="{FF2B5EF4-FFF2-40B4-BE49-F238E27FC236}">
                <a16:creationId xmlns:a16="http://schemas.microsoft.com/office/drawing/2014/main" id="{9156D426-DFDF-904A-A0B4-DDC28E40BD20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043157" y="342869"/>
            <a:ext cx="164463" cy="164463"/>
          </a:xfrm>
          <a:prstGeom prst="rect">
            <a:avLst/>
          </a:prstGeom>
        </p:spPr>
      </p:pic>
      <p:grpSp>
        <p:nvGrpSpPr>
          <p:cNvPr id="348" name="Группа 347">
            <a:extLst>
              <a:ext uri="{FF2B5EF4-FFF2-40B4-BE49-F238E27FC236}">
                <a16:creationId xmlns:a16="http://schemas.microsoft.com/office/drawing/2014/main" id="{3B209E57-248F-DA4A-BFD1-4B8E11FE818D}"/>
              </a:ext>
            </a:extLst>
          </p:cNvPr>
          <p:cNvGrpSpPr/>
          <p:nvPr/>
        </p:nvGrpSpPr>
        <p:grpSpPr>
          <a:xfrm>
            <a:off x="270609" y="3319606"/>
            <a:ext cx="1154257" cy="545639"/>
            <a:chOff x="55619" y="1650925"/>
            <a:chExt cx="1855297" cy="573022"/>
          </a:xfrm>
        </p:grpSpPr>
        <p:sp>
          <p:nvSpPr>
            <p:cNvPr id="349" name="Прямоугольник 348">
              <a:extLst>
                <a:ext uri="{FF2B5EF4-FFF2-40B4-BE49-F238E27FC236}">
                  <a16:creationId xmlns:a16="http://schemas.microsoft.com/office/drawing/2014/main" id="{17A7622F-9158-C946-9705-117DD484396A}"/>
                </a:ext>
              </a:extLst>
            </p:cNvPr>
            <p:cNvSpPr/>
            <p:nvPr/>
          </p:nvSpPr>
          <p:spPr>
            <a:xfrm>
              <a:off x="133998" y="1650925"/>
              <a:ext cx="1671990" cy="573022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accent1">
                  <a:lumMod val="50000"/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0" name="TextBox 349">
              <a:extLst>
                <a:ext uri="{FF2B5EF4-FFF2-40B4-BE49-F238E27FC236}">
                  <a16:creationId xmlns:a16="http://schemas.microsoft.com/office/drawing/2014/main" id="{F0375894-29D1-5F45-B415-FEA6227155C4}"/>
                </a:ext>
              </a:extLst>
            </p:cNvPr>
            <p:cNvSpPr txBox="1"/>
            <p:nvPr/>
          </p:nvSpPr>
          <p:spPr>
            <a:xfrm>
              <a:off x="55619" y="1661864"/>
              <a:ext cx="1855297" cy="4848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600" dirty="0">
                  <a:latin typeface="+mj-lt"/>
                </a:rPr>
                <a:t>Расчетный пассажиропоток автобусов, пересекающих границу Москвы</a:t>
              </a:r>
            </a:p>
            <a:p>
              <a:pPr algn="ctr"/>
              <a:endParaRPr lang="ru-RU" sz="600" dirty="0">
                <a:latin typeface="+mj-lt"/>
              </a:endParaRPr>
            </a:p>
          </p:txBody>
        </p:sp>
        <p:sp>
          <p:nvSpPr>
            <p:cNvPr id="351" name="TextBox 350">
              <a:extLst>
                <a:ext uri="{FF2B5EF4-FFF2-40B4-BE49-F238E27FC236}">
                  <a16:creationId xmlns:a16="http://schemas.microsoft.com/office/drawing/2014/main" id="{DC81024A-7563-7B46-9339-A393EA8663AD}"/>
                </a:ext>
              </a:extLst>
            </p:cNvPr>
            <p:cNvSpPr txBox="1"/>
            <p:nvPr/>
          </p:nvSpPr>
          <p:spPr>
            <a:xfrm>
              <a:off x="446419" y="1974729"/>
              <a:ext cx="1461441" cy="2424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900" dirty="0">
                  <a:solidFill>
                    <a:srgbClr val="203864"/>
                  </a:solidFill>
                  <a:latin typeface="+mj-lt"/>
                </a:rPr>
                <a:t>30</a:t>
              </a:r>
              <a:r>
                <a:rPr lang="en-US" sz="900" dirty="0">
                  <a:solidFill>
                    <a:srgbClr val="203864"/>
                  </a:solidFill>
                  <a:latin typeface="+mj-lt"/>
                </a:rPr>
                <a:t> </a:t>
              </a:r>
              <a:r>
                <a:rPr lang="ru-RU" sz="900" dirty="0">
                  <a:solidFill>
                    <a:srgbClr val="203864"/>
                  </a:solidFill>
                  <a:latin typeface="+mj-lt"/>
                </a:rPr>
                <a:t>092 чел/сут.</a:t>
              </a:r>
            </a:p>
          </p:txBody>
        </p:sp>
      </p:grpSp>
      <p:pic>
        <p:nvPicPr>
          <p:cNvPr id="352" name="Рисунок 351" descr="Bus">
            <a:extLst>
              <a:ext uri="{FF2B5EF4-FFF2-40B4-BE49-F238E27FC236}">
                <a16:creationId xmlns:a16="http://schemas.microsoft.com/office/drawing/2014/main" id="{04DFF193-28B1-5A4B-A2B5-F035A8D22EA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3499" y="3628598"/>
            <a:ext cx="236447" cy="236447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3CCF318-63F7-2341-9820-B2E4F26A3DE9}"/>
              </a:ext>
            </a:extLst>
          </p:cNvPr>
          <p:cNvGrpSpPr/>
          <p:nvPr/>
        </p:nvGrpSpPr>
        <p:grpSpPr>
          <a:xfrm>
            <a:off x="190417" y="154430"/>
            <a:ext cx="2016420" cy="862046"/>
            <a:chOff x="344511" y="266959"/>
            <a:chExt cx="2016420" cy="862046"/>
          </a:xfrm>
        </p:grpSpPr>
        <p:grpSp>
          <p:nvGrpSpPr>
            <p:cNvPr id="202" name="Группа 201">
              <a:extLst>
                <a:ext uri="{FF2B5EF4-FFF2-40B4-BE49-F238E27FC236}">
                  <a16:creationId xmlns:a16="http://schemas.microsoft.com/office/drawing/2014/main" id="{3B209E57-248F-DA4A-BFD1-4B8E11FE818D}"/>
                </a:ext>
              </a:extLst>
            </p:cNvPr>
            <p:cNvGrpSpPr/>
            <p:nvPr/>
          </p:nvGrpSpPr>
          <p:grpSpPr>
            <a:xfrm>
              <a:off x="348902" y="266959"/>
              <a:ext cx="2012029" cy="862046"/>
              <a:chOff x="317704" y="4068070"/>
              <a:chExt cx="2012029" cy="862046"/>
            </a:xfrm>
          </p:grpSpPr>
          <p:sp>
            <p:nvSpPr>
              <p:cNvPr id="203" name="Прямоугольник 202">
                <a:extLst>
                  <a:ext uri="{FF2B5EF4-FFF2-40B4-BE49-F238E27FC236}">
                    <a16:creationId xmlns:a16="http://schemas.microsoft.com/office/drawing/2014/main" id="{17A7622F-9158-C946-9705-117DD484396A}"/>
                  </a:ext>
                </a:extLst>
              </p:cNvPr>
              <p:cNvSpPr/>
              <p:nvPr/>
            </p:nvSpPr>
            <p:spPr>
              <a:xfrm>
                <a:off x="317709" y="4068070"/>
                <a:ext cx="1775997" cy="862046"/>
              </a:xfrm>
              <a:prstGeom prst="rect">
                <a:avLst/>
              </a:prstGeom>
              <a:solidFill>
                <a:schemeClr val="bg1">
                  <a:alpha val="72000"/>
                </a:schemeClr>
              </a:solidFill>
              <a:ln>
                <a:solidFill>
                  <a:schemeClr val="accent1">
                    <a:lumMod val="50000"/>
                    <a:alpha val="2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pic>
            <p:nvPicPr>
              <p:cNvPr id="205" name="Рисунок 204" descr="Streetcar">
                <a:extLst>
                  <a:ext uri="{FF2B5EF4-FFF2-40B4-BE49-F238E27FC236}">
                    <a16:creationId xmlns:a16="http://schemas.microsoft.com/office/drawing/2014/main" id="{A9EBF293-DA8F-E948-8C8D-D623866AAD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59142" y="4672501"/>
                <a:ext cx="205403" cy="205403"/>
              </a:xfrm>
              <a:prstGeom prst="rect">
                <a:avLst/>
              </a:prstGeom>
            </p:spPr>
          </p:pic>
          <p:sp>
            <p:nvSpPr>
              <p:cNvPr id="206" name="TextBox 205">
                <a:extLst>
                  <a:ext uri="{FF2B5EF4-FFF2-40B4-BE49-F238E27FC236}">
                    <a16:creationId xmlns:a16="http://schemas.microsoft.com/office/drawing/2014/main" id="{143C5AB3-A929-9945-AC04-980BC0135F39}"/>
                  </a:ext>
                </a:extLst>
              </p:cNvPr>
              <p:cNvSpPr txBox="1"/>
              <p:nvPr/>
            </p:nvSpPr>
            <p:spPr>
              <a:xfrm>
                <a:off x="1226006" y="4650893"/>
                <a:ext cx="63665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500" i="1" dirty="0"/>
                  <a:t>Валидации билетов ЦППК</a:t>
                </a:r>
              </a:p>
            </p:txBody>
          </p:sp>
          <p:sp>
            <p:nvSpPr>
              <p:cNvPr id="207" name="TextBox 206">
                <a:extLst>
                  <a:ext uri="{FF2B5EF4-FFF2-40B4-BE49-F238E27FC236}">
                    <a16:creationId xmlns:a16="http://schemas.microsoft.com/office/drawing/2014/main" id="{E243963B-5B0D-7643-8069-04F7EE5F4EFF}"/>
                  </a:ext>
                </a:extLst>
              </p:cNvPr>
              <p:cNvSpPr txBox="1"/>
              <p:nvPr/>
            </p:nvSpPr>
            <p:spPr>
              <a:xfrm>
                <a:off x="778827" y="4666736"/>
                <a:ext cx="498855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900" dirty="0">
                    <a:latin typeface="+mj-lt"/>
                  </a:rPr>
                  <a:t>1</a:t>
                </a:r>
                <a:r>
                  <a:rPr lang="ru-RU" sz="900" dirty="0">
                    <a:latin typeface="+mj-lt"/>
                  </a:rPr>
                  <a:t>4 540</a:t>
                </a:r>
              </a:p>
            </p:txBody>
          </p:sp>
          <p:pic>
            <p:nvPicPr>
              <p:cNvPr id="208" name="Рисунок 207" descr="Bus">
                <a:extLst>
                  <a:ext uri="{FF2B5EF4-FFF2-40B4-BE49-F238E27FC236}">
                    <a16:creationId xmlns:a16="http://schemas.microsoft.com/office/drawing/2014/main" id="{04DFF193-28B1-5A4B-A2B5-F035A8D22E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59142" y="4367983"/>
                <a:ext cx="236447" cy="236447"/>
              </a:xfrm>
              <a:prstGeom prst="rect">
                <a:avLst/>
              </a:prstGeom>
            </p:spPr>
          </p:pic>
          <p:sp>
            <p:nvSpPr>
              <p:cNvPr id="209" name="TextBox 208">
                <a:extLst>
                  <a:ext uri="{FF2B5EF4-FFF2-40B4-BE49-F238E27FC236}">
                    <a16:creationId xmlns:a16="http://schemas.microsoft.com/office/drawing/2014/main" id="{EDC9DECC-8D94-BA4C-9DE5-137BDE4C2627}"/>
                  </a:ext>
                </a:extLst>
              </p:cNvPr>
              <p:cNvSpPr txBox="1"/>
              <p:nvPr/>
            </p:nvSpPr>
            <p:spPr>
              <a:xfrm>
                <a:off x="1226006" y="4363759"/>
                <a:ext cx="92004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500" i="1" dirty="0"/>
                  <a:t>Натурные наблюдения населенности автобусов</a:t>
                </a:r>
              </a:p>
            </p:txBody>
          </p:sp>
          <p:sp>
            <p:nvSpPr>
              <p:cNvPr id="210" name="TextBox 209">
                <a:extLst>
                  <a:ext uri="{FF2B5EF4-FFF2-40B4-BE49-F238E27FC236}">
                    <a16:creationId xmlns:a16="http://schemas.microsoft.com/office/drawing/2014/main" id="{DC81024A-7563-7B46-9339-A393EA8663AD}"/>
                  </a:ext>
                </a:extLst>
              </p:cNvPr>
              <p:cNvSpPr txBox="1"/>
              <p:nvPr/>
            </p:nvSpPr>
            <p:spPr>
              <a:xfrm>
                <a:off x="807905" y="4373598"/>
                <a:ext cx="441146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900" dirty="0">
                    <a:latin typeface="+mj-lt"/>
                  </a:rPr>
                  <a:t>3 835</a:t>
                </a:r>
                <a:endParaRPr lang="ru-RU" sz="900" dirty="0">
                  <a:latin typeface="+mj-lt"/>
                </a:endParaRPr>
              </a:p>
            </p:txBody>
          </p:sp>
          <p:sp>
            <p:nvSpPr>
              <p:cNvPr id="214" name="Прямоугольник 213">
                <a:extLst>
                  <a:ext uri="{FF2B5EF4-FFF2-40B4-BE49-F238E27FC236}">
                    <a16:creationId xmlns:a16="http://schemas.microsoft.com/office/drawing/2014/main" id="{16577821-C713-1442-A819-D34505E77F29}"/>
                  </a:ext>
                </a:extLst>
              </p:cNvPr>
              <p:cNvSpPr/>
              <p:nvPr/>
            </p:nvSpPr>
            <p:spPr>
              <a:xfrm>
                <a:off x="317704" y="4363171"/>
                <a:ext cx="1776002" cy="245978"/>
              </a:xfrm>
              <a:prstGeom prst="rect">
                <a:avLst/>
              </a:prstGeom>
              <a:noFill/>
              <a:ln w="12700">
                <a:solidFill>
                  <a:srgbClr val="C000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5" name="TextBox 214">
                <a:extLst>
                  <a:ext uri="{FF2B5EF4-FFF2-40B4-BE49-F238E27FC236}">
                    <a16:creationId xmlns:a16="http://schemas.microsoft.com/office/drawing/2014/main" id="{55FF4F23-6127-0445-A5EE-ABCDE1FB5931}"/>
                  </a:ext>
                </a:extLst>
              </p:cNvPr>
              <p:cNvSpPr txBox="1"/>
              <p:nvPr/>
            </p:nvSpPr>
            <p:spPr>
              <a:xfrm>
                <a:off x="2029651" y="4197048"/>
                <a:ext cx="30008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dirty="0">
                    <a:solidFill>
                      <a:srgbClr val="C00000"/>
                    </a:solidFill>
                  </a:rPr>
                  <a:t>*</a:t>
                </a:r>
              </a:p>
            </p:txBody>
          </p:sp>
        </p:grp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04F6873F-EA97-B54E-B825-7E4ADDDACE10}"/>
                </a:ext>
              </a:extLst>
            </p:cNvPr>
            <p:cNvSpPr txBox="1"/>
            <p:nvPr/>
          </p:nvSpPr>
          <p:spPr>
            <a:xfrm>
              <a:off x="344511" y="311668"/>
              <a:ext cx="1782468" cy="20005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700" dirty="0">
                  <a:latin typeface="+mj-lt"/>
                </a:rPr>
                <a:t>Потенциальный спрос из Лобни, чел/</a:t>
              </a:r>
              <a:r>
                <a:rPr lang="ru-RU" sz="700" dirty="0" err="1">
                  <a:latin typeface="+mj-lt"/>
                </a:rPr>
                <a:t>сут</a:t>
              </a:r>
              <a:r>
                <a:rPr lang="ru-RU" sz="700" dirty="0">
                  <a:latin typeface="+mj-lt"/>
                </a:rPr>
                <a:t>.</a:t>
              </a:r>
            </a:p>
          </p:txBody>
        </p:sp>
      </p:grpSp>
      <p:sp>
        <p:nvSpPr>
          <p:cNvPr id="12" name="Полилиния 11"/>
          <p:cNvSpPr/>
          <p:nvPr/>
        </p:nvSpPr>
        <p:spPr>
          <a:xfrm>
            <a:off x="1351294" y="3183019"/>
            <a:ext cx="1230562" cy="580262"/>
          </a:xfrm>
          <a:custGeom>
            <a:avLst/>
            <a:gdLst>
              <a:gd name="connsiteX0" fmla="*/ 0 w 1116938"/>
              <a:gd name="connsiteY0" fmla="*/ 574851 h 574851"/>
              <a:gd name="connsiteX1" fmla="*/ 71484 w 1116938"/>
              <a:gd name="connsiteY1" fmla="*/ 524217 h 574851"/>
              <a:gd name="connsiteX2" fmla="*/ 157861 w 1116938"/>
              <a:gd name="connsiteY2" fmla="*/ 500389 h 574851"/>
              <a:gd name="connsiteX3" fmla="*/ 205517 w 1116938"/>
              <a:gd name="connsiteY3" fmla="*/ 464647 h 574851"/>
              <a:gd name="connsiteX4" fmla="*/ 253173 w 1116938"/>
              <a:gd name="connsiteY4" fmla="*/ 396141 h 574851"/>
              <a:gd name="connsiteX5" fmla="*/ 312743 w 1116938"/>
              <a:gd name="connsiteY5" fmla="*/ 309764 h 574851"/>
              <a:gd name="connsiteX6" fmla="*/ 357421 w 1116938"/>
              <a:gd name="connsiteY6" fmla="*/ 241259 h 574851"/>
              <a:gd name="connsiteX7" fmla="*/ 509324 w 1116938"/>
              <a:gd name="connsiteY7" fmla="*/ 142968 h 574851"/>
              <a:gd name="connsiteX8" fmla="*/ 622507 w 1116938"/>
              <a:gd name="connsiteY8" fmla="*/ 71484 h 574851"/>
              <a:gd name="connsiteX9" fmla="*/ 679099 w 1116938"/>
              <a:gd name="connsiteY9" fmla="*/ 50635 h 574851"/>
              <a:gd name="connsiteX10" fmla="*/ 786325 w 1116938"/>
              <a:gd name="connsiteY10" fmla="*/ 44678 h 574851"/>
              <a:gd name="connsiteX11" fmla="*/ 929293 w 1116938"/>
              <a:gd name="connsiteY11" fmla="*/ 44678 h 574851"/>
              <a:gd name="connsiteX12" fmla="*/ 994820 w 1116938"/>
              <a:gd name="connsiteY12" fmla="*/ 29785 h 574851"/>
              <a:gd name="connsiteX13" fmla="*/ 1116938 w 1116938"/>
              <a:gd name="connsiteY13" fmla="*/ 0 h 574851"/>
              <a:gd name="connsiteX0" fmla="*/ 0 w 1230562"/>
              <a:gd name="connsiteY0" fmla="*/ 580262 h 580262"/>
              <a:gd name="connsiteX1" fmla="*/ 185108 w 1230562"/>
              <a:gd name="connsiteY1" fmla="*/ 524217 h 580262"/>
              <a:gd name="connsiteX2" fmla="*/ 271485 w 1230562"/>
              <a:gd name="connsiteY2" fmla="*/ 500389 h 580262"/>
              <a:gd name="connsiteX3" fmla="*/ 319141 w 1230562"/>
              <a:gd name="connsiteY3" fmla="*/ 464647 h 580262"/>
              <a:gd name="connsiteX4" fmla="*/ 366797 w 1230562"/>
              <a:gd name="connsiteY4" fmla="*/ 396141 h 580262"/>
              <a:gd name="connsiteX5" fmla="*/ 426367 w 1230562"/>
              <a:gd name="connsiteY5" fmla="*/ 309764 h 580262"/>
              <a:gd name="connsiteX6" fmla="*/ 471045 w 1230562"/>
              <a:gd name="connsiteY6" fmla="*/ 241259 h 580262"/>
              <a:gd name="connsiteX7" fmla="*/ 622948 w 1230562"/>
              <a:gd name="connsiteY7" fmla="*/ 142968 h 580262"/>
              <a:gd name="connsiteX8" fmla="*/ 736131 w 1230562"/>
              <a:gd name="connsiteY8" fmla="*/ 71484 h 580262"/>
              <a:gd name="connsiteX9" fmla="*/ 792723 w 1230562"/>
              <a:gd name="connsiteY9" fmla="*/ 50635 h 580262"/>
              <a:gd name="connsiteX10" fmla="*/ 899949 w 1230562"/>
              <a:gd name="connsiteY10" fmla="*/ 44678 h 580262"/>
              <a:gd name="connsiteX11" fmla="*/ 1042917 w 1230562"/>
              <a:gd name="connsiteY11" fmla="*/ 44678 h 580262"/>
              <a:gd name="connsiteX12" fmla="*/ 1108444 w 1230562"/>
              <a:gd name="connsiteY12" fmla="*/ 29785 h 580262"/>
              <a:gd name="connsiteX13" fmla="*/ 1230562 w 1230562"/>
              <a:gd name="connsiteY13" fmla="*/ 0 h 580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30562" h="580262">
                <a:moveTo>
                  <a:pt x="0" y="580262"/>
                </a:moveTo>
                <a:cubicBezTo>
                  <a:pt x="22587" y="561150"/>
                  <a:pt x="139861" y="537529"/>
                  <a:pt x="185108" y="524217"/>
                </a:cubicBezTo>
                <a:cubicBezTo>
                  <a:pt x="230355" y="510905"/>
                  <a:pt x="249146" y="510317"/>
                  <a:pt x="271485" y="500389"/>
                </a:cubicBezTo>
                <a:cubicBezTo>
                  <a:pt x="293824" y="490461"/>
                  <a:pt x="303256" y="482022"/>
                  <a:pt x="319141" y="464647"/>
                </a:cubicBezTo>
                <a:cubicBezTo>
                  <a:pt x="335026" y="447272"/>
                  <a:pt x="366797" y="396141"/>
                  <a:pt x="366797" y="396141"/>
                </a:cubicBezTo>
                <a:cubicBezTo>
                  <a:pt x="384668" y="370327"/>
                  <a:pt x="408992" y="335578"/>
                  <a:pt x="426367" y="309764"/>
                </a:cubicBezTo>
                <a:cubicBezTo>
                  <a:pt x="443742" y="283950"/>
                  <a:pt x="438282" y="269058"/>
                  <a:pt x="471045" y="241259"/>
                </a:cubicBezTo>
                <a:cubicBezTo>
                  <a:pt x="503808" y="213460"/>
                  <a:pt x="622948" y="142968"/>
                  <a:pt x="622948" y="142968"/>
                </a:cubicBezTo>
                <a:cubicBezTo>
                  <a:pt x="667129" y="114672"/>
                  <a:pt x="707835" y="86873"/>
                  <a:pt x="736131" y="71484"/>
                </a:cubicBezTo>
                <a:cubicBezTo>
                  <a:pt x="764427" y="56095"/>
                  <a:pt x="765420" y="55103"/>
                  <a:pt x="792723" y="50635"/>
                </a:cubicBezTo>
                <a:cubicBezTo>
                  <a:pt x="820026" y="46167"/>
                  <a:pt x="858250" y="45671"/>
                  <a:pt x="899949" y="44678"/>
                </a:cubicBezTo>
                <a:cubicBezTo>
                  <a:pt x="941648" y="43685"/>
                  <a:pt x="1008168" y="47160"/>
                  <a:pt x="1042917" y="44678"/>
                </a:cubicBezTo>
                <a:cubicBezTo>
                  <a:pt x="1077666" y="42196"/>
                  <a:pt x="1108444" y="29785"/>
                  <a:pt x="1108444" y="29785"/>
                </a:cubicBezTo>
                <a:lnTo>
                  <a:pt x="1230562" y="0"/>
                </a:lnTo>
              </a:path>
            </a:pathLst>
          </a:custGeom>
          <a:noFill/>
          <a:ln w="28575">
            <a:solidFill>
              <a:schemeClr val="accent1">
                <a:shade val="50000"/>
              </a:schemeClr>
            </a:solidFill>
            <a:headEnd type="diamond"/>
            <a:tailEnd type="stealt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олилиния 8"/>
          <p:cNvSpPr/>
          <p:nvPr/>
        </p:nvSpPr>
        <p:spPr>
          <a:xfrm>
            <a:off x="2880255" y="809678"/>
            <a:ext cx="296835" cy="977787"/>
          </a:xfrm>
          <a:custGeom>
            <a:avLst/>
            <a:gdLst>
              <a:gd name="connsiteX0" fmla="*/ 0 w 493707"/>
              <a:gd name="connsiteY0" fmla="*/ 0 h 1352478"/>
              <a:gd name="connsiteX1" fmla="*/ 69536 w 493707"/>
              <a:gd name="connsiteY1" fmla="*/ 250331 h 1352478"/>
              <a:gd name="connsiteX2" fmla="*/ 111258 w 493707"/>
              <a:gd name="connsiteY2" fmla="*/ 483277 h 1352478"/>
              <a:gd name="connsiteX3" fmla="*/ 177317 w 493707"/>
              <a:gd name="connsiteY3" fmla="*/ 688408 h 1352478"/>
              <a:gd name="connsiteX4" fmla="*/ 260761 w 493707"/>
              <a:gd name="connsiteY4" fmla="*/ 921354 h 1352478"/>
              <a:gd name="connsiteX5" fmla="*/ 316390 w 493707"/>
              <a:gd name="connsiteY5" fmla="*/ 1063903 h 1352478"/>
              <a:gd name="connsiteX6" fmla="*/ 462416 w 493707"/>
              <a:gd name="connsiteY6" fmla="*/ 1157777 h 1352478"/>
              <a:gd name="connsiteX7" fmla="*/ 479800 w 493707"/>
              <a:gd name="connsiteY7" fmla="*/ 1300326 h 1352478"/>
              <a:gd name="connsiteX8" fmla="*/ 493707 w 493707"/>
              <a:gd name="connsiteY8" fmla="*/ 1352478 h 1352478"/>
              <a:gd name="connsiteX0" fmla="*/ -1 w 424170"/>
              <a:gd name="connsiteY0" fmla="*/ 0 h 1102147"/>
              <a:gd name="connsiteX1" fmla="*/ 41721 w 424170"/>
              <a:gd name="connsiteY1" fmla="*/ 232946 h 1102147"/>
              <a:gd name="connsiteX2" fmla="*/ 107780 w 424170"/>
              <a:gd name="connsiteY2" fmla="*/ 438077 h 1102147"/>
              <a:gd name="connsiteX3" fmla="*/ 191224 w 424170"/>
              <a:gd name="connsiteY3" fmla="*/ 671023 h 1102147"/>
              <a:gd name="connsiteX4" fmla="*/ 246853 w 424170"/>
              <a:gd name="connsiteY4" fmla="*/ 813572 h 1102147"/>
              <a:gd name="connsiteX5" fmla="*/ 392879 w 424170"/>
              <a:gd name="connsiteY5" fmla="*/ 907446 h 1102147"/>
              <a:gd name="connsiteX6" fmla="*/ 410263 w 424170"/>
              <a:gd name="connsiteY6" fmla="*/ 1049995 h 1102147"/>
              <a:gd name="connsiteX7" fmla="*/ 424170 w 424170"/>
              <a:gd name="connsiteY7" fmla="*/ 1102147 h 1102147"/>
              <a:gd name="connsiteX0" fmla="*/ 0 w 382449"/>
              <a:gd name="connsiteY0" fmla="*/ 0 h 869201"/>
              <a:gd name="connsiteX1" fmla="*/ 66059 w 382449"/>
              <a:gd name="connsiteY1" fmla="*/ 205131 h 869201"/>
              <a:gd name="connsiteX2" fmla="*/ 149503 w 382449"/>
              <a:gd name="connsiteY2" fmla="*/ 438077 h 869201"/>
              <a:gd name="connsiteX3" fmla="*/ 205132 w 382449"/>
              <a:gd name="connsiteY3" fmla="*/ 580626 h 869201"/>
              <a:gd name="connsiteX4" fmla="*/ 351158 w 382449"/>
              <a:gd name="connsiteY4" fmla="*/ 674500 h 869201"/>
              <a:gd name="connsiteX5" fmla="*/ 368542 w 382449"/>
              <a:gd name="connsiteY5" fmla="*/ 817049 h 869201"/>
              <a:gd name="connsiteX6" fmla="*/ 382449 w 382449"/>
              <a:gd name="connsiteY6" fmla="*/ 869201 h 869201"/>
              <a:gd name="connsiteX0" fmla="*/ 23272 w 317791"/>
              <a:gd name="connsiteY0" fmla="*/ 0 h 985038"/>
              <a:gd name="connsiteX1" fmla="*/ 1401 w 317791"/>
              <a:gd name="connsiteY1" fmla="*/ 320968 h 985038"/>
              <a:gd name="connsiteX2" fmla="*/ 84845 w 317791"/>
              <a:gd name="connsiteY2" fmla="*/ 553914 h 985038"/>
              <a:gd name="connsiteX3" fmla="*/ 140474 w 317791"/>
              <a:gd name="connsiteY3" fmla="*/ 696463 h 985038"/>
              <a:gd name="connsiteX4" fmla="*/ 286500 w 317791"/>
              <a:gd name="connsiteY4" fmla="*/ 790337 h 985038"/>
              <a:gd name="connsiteX5" fmla="*/ 303884 w 317791"/>
              <a:gd name="connsiteY5" fmla="*/ 932886 h 985038"/>
              <a:gd name="connsiteX6" fmla="*/ 317791 w 317791"/>
              <a:gd name="connsiteY6" fmla="*/ 985038 h 985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7791" h="985038">
                <a:moveTo>
                  <a:pt x="23272" y="0"/>
                </a:moveTo>
                <a:cubicBezTo>
                  <a:pt x="41235" y="73013"/>
                  <a:pt x="-8861" y="228649"/>
                  <a:pt x="1401" y="320968"/>
                </a:cubicBezTo>
                <a:cubicBezTo>
                  <a:pt x="11663" y="413287"/>
                  <a:pt x="61666" y="491332"/>
                  <a:pt x="84845" y="553914"/>
                </a:cubicBezTo>
                <a:cubicBezTo>
                  <a:pt x="108024" y="616497"/>
                  <a:pt x="106865" y="657059"/>
                  <a:pt x="140474" y="696463"/>
                </a:cubicBezTo>
                <a:cubicBezTo>
                  <a:pt x="174083" y="735867"/>
                  <a:pt x="259265" y="750933"/>
                  <a:pt x="286500" y="790337"/>
                </a:cubicBezTo>
                <a:cubicBezTo>
                  <a:pt x="313735" y="829741"/>
                  <a:pt x="298669" y="900436"/>
                  <a:pt x="303884" y="932886"/>
                </a:cubicBezTo>
                <a:cubicBezTo>
                  <a:pt x="309099" y="965336"/>
                  <a:pt x="301566" y="969972"/>
                  <a:pt x="317791" y="985038"/>
                </a:cubicBezTo>
              </a:path>
            </a:pathLst>
          </a:custGeom>
          <a:noFill/>
          <a:ln w="28575">
            <a:solidFill>
              <a:schemeClr val="accent1">
                <a:shade val="50000"/>
              </a:schemeClr>
            </a:solidFill>
            <a:headEnd type="diamond"/>
            <a:tailEnd type="stealth"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35" name="Таблица 234">
                <a:extLst>
                  <a:ext uri="{FF2B5EF4-FFF2-40B4-BE49-F238E27FC236}">
                    <a16:creationId xmlns:a16="http://schemas.microsoft.com/office/drawing/2014/main" id="{01D04A56-F8C6-8443-B558-A94EF5973534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5728751" y="986994"/>
              <a:ext cx="3824685" cy="3468238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1118796">
                      <a:extLst>
                        <a:ext uri="{9D8B030D-6E8A-4147-A177-3AD203B41FA5}">
                          <a16:colId xmlns:a16="http://schemas.microsoft.com/office/drawing/2014/main" val="1367310885"/>
                        </a:ext>
                      </a:extLst>
                    </a:gridCol>
                    <a:gridCol w="637391">
                      <a:extLst>
                        <a:ext uri="{9D8B030D-6E8A-4147-A177-3AD203B41FA5}">
                          <a16:colId xmlns:a16="http://schemas.microsoft.com/office/drawing/2014/main" val="1813762730"/>
                        </a:ext>
                      </a:extLst>
                    </a:gridCol>
                    <a:gridCol w="676426">
                      <a:extLst>
                        <a:ext uri="{9D8B030D-6E8A-4147-A177-3AD203B41FA5}">
                          <a16:colId xmlns:a16="http://schemas.microsoft.com/office/drawing/2014/main" val="4159241139"/>
                        </a:ext>
                      </a:extLst>
                    </a:gridCol>
                    <a:gridCol w="689212">
                      <a:extLst>
                        <a:ext uri="{9D8B030D-6E8A-4147-A177-3AD203B41FA5}">
                          <a16:colId xmlns:a16="http://schemas.microsoft.com/office/drawing/2014/main" val="1068193779"/>
                        </a:ext>
                      </a:extLst>
                    </a:gridCol>
                    <a:gridCol w="702860">
                      <a:extLst>
                        <a:ext uri="{9D8B030D-6E8A-4147-A177-3AD203B41FA5}">
                          <a16:colId xmlns:a16="http://schemas.microsoft.com/office/drawing/2014/main" val="1746250518"/>
                        </a:ext>
                      </a:extLst>
                    </a:gridCol>
                  </a:tblGrid>
                  <a:tr h="257543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Остановочный </a:t>
                          </a:r>
                        </a:p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ункт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Текущий </a:t>
                          </a:r>
                        </a:p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оток, </a:t>
                          </a:r>
                        </a:p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асс./</a:t>
                          </a:r>
                          <a:r>
                            <a:rPr lang="ru-RU" sz="700" b="0" i="0" u="none" strike="noStrike" dirty="0" err="1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сут</a:t>
                          </a:r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.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ерспективный </a:t>
                          </a:r>
                        </a:p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оток (2020), </a:t>
                          </a:r>
                        </a:p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асс./</a:t>
                          </a:r>
                          <a:r>
                            <a:rPr lang="ru-RU" sz="700" b="0" i="0" u="none" strike="noStrike" dirty="0" err="1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сут</a:t>
                          </a:r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.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Перспективный </a:t>
                          </a:r>
                        </a:p>
                        <a:p>
                          <a:pPr marL="72000" algn="l" defTabSz="914400" rtl="0" eaLnBrk="1" fontAlgn="b" latinLnBrk="0" hangingPunct="1"/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поток (20</a:t>
                          </a:r>
                          <a:r>
                            <a:rPr lang="en-US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0</a:t>
                          </a:r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), </a:t>
                          </a:r>
                        </a:p>
                        <a:p>
                          <a:pPr marL="72000" algn="l" defTabSz="914400" rtl="0" eaLnBrk="1" fontAlgn="b" latinLnBrk="0" hangingPunct="1"/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пасс./сут.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ерспективный </a:t>
                          </a:r>
                        </a:p>
                        <a:p>
                          <a:pPr marL="72000" algn="l" defTabSz="914400" rtl="0" eaLnBrk="1" fontAlgn="b" latinLnBrk="0" hangingPunct="1"/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оток (20</a:t>
                          </a:r>
                          <a:r>
                            <a:rPr lang="en-US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45</a:t>
                          </a:r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), </a:t>
                          </a:r>
                        </a:p>
                        <a:p>
                          <a:pPr marL="72000" algn="l" defTabSz="914400" rtl="0" eaLnBrk="1" fontAlgn="b" latinLnBrk="0" hangingPunct="1"/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асс./сут.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529169371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Лобня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0 728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3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56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22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78 (+61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0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27 (+44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03408145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Шереметьевская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4 804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07 (+56,3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58 (+28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92 (+18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12923718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Хлебниково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 659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65 (+66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49 (+35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70 (+21,9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45749060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Водники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4 213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87 (-10,1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9 (+92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16 (+57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01240759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Долгопрудная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4 472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6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00 (13,3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14 (+34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82 (+22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103665262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Новодачная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2 244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1 (42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65 (+11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39 (+47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5934526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Марк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629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1 (108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4 (+61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74 (+40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58235625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Лианозово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7 703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89 (49,1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0 (+84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43 (+40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72767307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Бескудниково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7 025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3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62 (94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0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17 (+51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2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3 (+55,1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98669650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effectLst/>
                              <a:latin typeface="+mj-lt"/>
                            </a:rPr>
                            <a:t>Дегунино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3 577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63 (83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75 (+119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3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00 (+61,4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10443222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Окружн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11 876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2 (-6,4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49 (+75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0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38 (+56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553675532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Петровско-Разумовск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86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6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81 (+67,8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976145978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effectLst/>
                              <a:latin typeface="+mj-lt"/>
                            </a:rPr>
                            <a:t>Тимирязевск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15 507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82 (26,3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0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42 (+55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56 (+30,9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572735438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Дмитровск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5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1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8 (+91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27238952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effectLst/>
                              <a:latin typeface="+mj-lt"/>
                            </a:rPr>
                            <a:t>Савёловск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22 751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7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41 (-21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7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82 (+54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40 (+51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38968482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Белорусск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17 898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20 (134,8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3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91 (+76,1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9 (+20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06893230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Бегов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22 350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5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31 (15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6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31 (+81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58 (+9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949451060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effectLst/>
                              <a:latin typeface="+mj-lt"/>
                            </a:rPr>
                            <a:t>Тестовск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3 577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59 (-14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70 (+245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69 (+153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67263869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Фили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8 671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93 (49,8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0 (+62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69 (+26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12714040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Славянский б-р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67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88 (+185,3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5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04 (+46,4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05185424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Кунцево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10 441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57 (12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7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60 (+130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40 (+53,9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3025940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Рабочий посёлок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3 047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25 (55,1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84 (+168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7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46 (+40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07126137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effectLst/>
                              <a:latin typeface="+mj-lt"/>
                            </a:rPr>
                            <a:t>Сетунь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6 383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99 (37,8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4 (+197,9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43 (+13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144405171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Немчиновка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 591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21 (8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59 (54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98 (+9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46592043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Сколково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2 776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18 (178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97 (65,8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23 (+52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46705597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kern="1200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Баковка</a:t>
                          </a:r>
                          <a:endParaRPr lang="ru-RU" sz="700" b="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 613</a:t>
                          </a:r>
                          <a:endParaRPr lang="ru-RU" sz="60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18 (-5,4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33 (+190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5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6 (+52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802733707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Одинцово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30 304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09 (+2,3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6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30 (+50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8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74 (+26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600875125"/>
                      </a:ext>
                    </a:extLst>
                  </a:tr>
                  <a:tr h="8855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b="0" i="0" u="none" strike="noStrike" dirty="0">
                              <a:ln>
                                <a:noFill/>
                              </a:ln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</a:rPr>
                            <a:t>ИТОГО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l-GR" sz="800" b="0" i="0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Σ</m:t>
                              </m:r>
                            </m:oMath>
                          </a14:m>
                          <a:r>
                            <a:rPr lang="ru-RU" sz="700" b="0" i="0" u="none" strike="noStrike" dirty="0">
                              <a:ln>
                                <a:noFill/>
                              </a:ln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 217 839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l-GR" sz="800" b="0" i="0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Σ</m:t>
                              </m:r>
                            </m:oMath>
                          </a14:m>
                          <a:r>
                            <a:rPr lang="en-US" sz="700" b="0" i="0" u="none" strike="noStrike" dirty="0">
                              <a:ln>
                                <a:noFill/>
                              </a:ln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 292 383</a:t>
                          </a:r>
                          <a:endParaRPr lang="ru-RU" sz="700" b="0" i="0" u="none" strike="noStrike" dirty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marR="0" indent="0" algn="l" defTabSz="914400" rtl="0" eaLnBrk="1" fontAlgn="b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l-GR" sz="800" b="0" i="0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Σ</m:t>
                              </m:r>
                            </m:oMath>
                          </a14:m>
                          <a:r>
                            <a:rPr lang="en-US" sz="700" b="0" i="0" u="none" strike="noStrike" kern="1200" dirty="0">
                              <a:ln>
                                <a:noFill/>
                              </a:ln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en-US" sz="700" b="0" i="0" u="none" strike="noStrike" kern="1200" dirty="0">
                              <a:ln>
                                <a:noFill/>
                              </a:ln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62 358</a:t>
                          </a:r>
                          <a:endParaRPr lang="ru-RU" sz="700" b="0" i="0" u="none" strike="noStrike" kern="1200" dirty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marR="0" indent="0" algn="l" defTabSz="914400" rtl="0" eaLnBrk="1" fontAlgn="b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l-GR" sz="800" b="0" i="0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Σ</m:t>
                              </m:r>
                            </m:oMath>
                          </a14:m>
                          <a:r>
                            <a:rPr lang="en-US" sz="700" b="0" i="0" u="none" strike="noStrike" kern="1200" dirty="0">
                              <a:ln>
                                <a:noFill/>
                              </a:ln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en-US" sz="700" b="0" i="0" u="none" strike="noStrike" kern="1200" dirty="0">
                              <a:ln>
                                <a:noFill/>
                              </a:ln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81 500</a:t>
                          </a:r>
                          <a:endParaRPr lang="ru-RU" sz="700" b="0" i="0" u="none" strike="noStrike" kern="1200" dirty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143211115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235" name="Таблица 234">
                <a:extLst>
                  <a:ext uri="{FF2B5EF4-FFF2-40B4-BE49-F238E27FC236}">
                    <a16:creationId xmlns:a16="http://schemas.microsoft.com/office/drawing/2014/main" id="{01D04A56-F8C6-8443-B558-A94EF5973534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276181180"/>
                  </p:ext>
                </p:extLst>
              </p:nvPr>
            </p:nvGraphicFramePr>
            <p:xfrm>
              <a:off x="5728751" y="986994"/>
              <a:ext cx="3824685" cy="3468238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1118796">
                      <a:extLst>
                        <a:ext uri="{9D8B030D-6E8A-4147-A177-3AD203B41FA5}">
                          <a16:colId xmlns:a16="http://schemas.microsoft.com/office/drawing/2014/main" val="1367310885"/>
                        </a:ext>
                      </a:extLst>
                    </a:gridCol>
                    <a:gridCol w="637391">
                      <a:extLst>
                        <a:ext uri="{9D8B030D-6E8A-4147-A177-3AD203B41FA5}">
                          <a16:colId xmlns:a16="http://schemas.microsoft.com/office/drawing/2014/main" val="1813762730"/>
                        </a:ext>
                      </a:extLst>
                    </a:gridCol>
                    <a:gridCol w="676426">
                      <a:extLst>
                        <a:ext uri="{9D8B030D-6E8A-4147-A177-3AD203B41FA5}">
                          <a16:colId xmlns:a16="http://schemas.microsoft.com/office/drawing/2014/main" val="4159241139"/>
                        </a:ext>
                      </a:extLst>
                    </a:gridCol>
                    <a:gridCol w="689212">
                      <a:extLst>
                        <a:ext uri="{9D8B030D-6E8A-4147-A177-3AD203B41FA5}">
                          <a16:colId xmlns:a16="http://schemas.microsoft.com/office/drawing/2014/main" val="1068193779"/>
                        </a:ext>
                      </a:extLst>
                    </a:gridCol>
                    <a:gridCol w="702860">
                      <a:extLst>
                        <a:ext uri="{9D8B030D-6E8A-4147-A177-3AD203B41FA5}">
                          <a16:colId xmlns:a16="http://schemas.microsoft.com/office/drawing/2014/main" val="1746250518"/>
                        </a:ext>
                      </a:extLst>
                    </a:gridCol>
                  </a:tblGrid>
                  <a:tr h="32516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Остановочный </a:t>
                          </a:r>
                        </a:p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ункт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Текущий </a:t>
                          </a:r>
                        </a:p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оток, </a:t>
                          </a:r>
                        </a:p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асс./</a:t>
                          </a:r>
                          <a:r>
                            <a:rPr lang="ru-RU" sz="700" b="0" i="0" u="none" strike="noStrike" dirty="0" err="1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сут</a:t>
                          </a:r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.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ерспективный </a:t>
                          </a:r>
                        </a:p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оток (2020), </a:t>
                          </a:r>
                        </a:p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асс./</a:t>
                          </a:r>
                          <a:r>
                            <a:rPr lang="ru-RU" sz="700" b="0" i="0" u="none" strike="noStrike" dirty="0" err="1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сут</a:t>
                          </a:r>
                          <a:r>
                            <a:rPr lang="ru-RU" sz="7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.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Перспективный </a:t>
                          </a:r>
                        </a:p>
                        <a:p>
                          <a:pPr marL="72000" algn="l" defTabSz="914400" rtl="0" eaLnBrk="1" fontAlgn="b" latinLnBrk="0" hangingPunct="1"/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поток (20</a:t>
                          </a:r>
                          <a:r>
                            <a:rPr lang="en-US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0</a:t>
                          </a:r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), </a:t>
                          </a:r>
                        </a:p>
                        <a:p>
                          <a:pPr marL="72000" algn="l" defTabSz="914400" rtl="0" eaLnBrk="1" fontAlgn="b" latinLnBrk="0" hangingPunct="1"/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пасс./сут.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ерспективный </a:t>
                          </a:r>
                        </a:p>
                        <a:p>
                          <a:pPr marL="72000" algn="l" defTabSz="914400" rtl="0" eaLnBrk="1" fontAlgn="b" latinLnBrk="0" hangingPunct="1"/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оток (20</a:t>
                          </a:r>
                          <a:r>
                            <a:rPr lang="en-US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45</a:t>
                          </a:r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), </a:t>
                          </a:r>
                        </a:p>
                        <a:p>
                          <a:pPr marL="72000" algn="l" defTabSz="914400" rtl="0" eaLnBrk="1" fontAlgn="b" latinLnBrk="0" hangingPunct="1"/>
                          <a:r>
                            <a:rPr lang="ru-RU" sz="7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асс./сут.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529169371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Лобня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0 728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3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56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22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78 (+61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0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27 (+44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03408145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Шереметьевская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4 804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07 (+56,3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58 (+28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92 (+18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12923718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Хлебниково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 659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65 (+66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49 (+35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70 (+21,9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45749060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Водники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4 213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87 (-10,1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9 (+92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16 (+57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01240759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Долгопрудная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4 472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6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00 (13,3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14 (+34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82 (+22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103665262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Новодачная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2 244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1 (42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65 (+11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39 (+47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5934526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Марк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629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1 (108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4 (+61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74 (+40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58235625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Лианозово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7 703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89 (49,1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0 (+84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43 (+40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72767307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Бескудниково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7 025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3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62 (94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0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17 (+51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2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3 (+55,1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98669650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effectLst/>
                              <a:latin typeface="+mj-lt"/>
                            </a:rPr>
                            <a:t>Дегунино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3 577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63 (83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75 (+119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3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00 (+61,4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10443222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Окружн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11 876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2 (-6,4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49 (+75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0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38 (+56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553675532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Петровско-Разумовск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86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6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81 (+67,8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976145978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effectLst/>
                              <a:latin typeface="+mj-lt"/>
                            </a:rPr>
                            <a:t>Тимирязевск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15 507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82 (26,3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0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42 (+55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56 (+30,9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572735438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Дмитровск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5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1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8 (+91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27238952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effectLst/>
                              <a:latin typeface="+mj-lt"/>
                            </a:rPr>
                            <a:t>Савёловск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22 751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7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41 (-21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7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82 (+54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40 (+51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38968482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Белорусск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17 898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20 (134,8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3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91 (+76,1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9 (+20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06893230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Бегов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22 350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5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31 (15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6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31 (+81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58 (+9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949451060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effectLst/>
                              <a:latin typeface="+mj-lt"/>
                            </a:rPr>
                            <a:t>Тестовская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3 577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59 (-14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70 (+245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69 (+153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67263869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Фили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8 671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93 (49,8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0 (+62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69 (+26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12714040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Славянский б-р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67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88 (+185,3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5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04 (+46,4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05185424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Кунцево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10 441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57 (12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7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60 (+130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1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40 (+53,9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3025940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effectLst/>
                              <a:latin typeface="+mj-lt"/>
                            </a:rPr>
                            <a:t>Рабочий посёлок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3 047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25 (55,1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84 (+168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7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46 (+40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107126137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effectLst/>
                              <a:latin typeface="+mj-lt"/>
                            </a:rPr>
                            <a:t>Сетунь</a:t>
                          </a:r>
                          <a:endParaRPr lang="ru-RU" sz="7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6 383   </a:t>
                          </a:r>
                          <a:endParaRPr lang="ru-RU" sz="6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99 (37,8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4 (+197,9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9</a:t>
                          </a:r>
                          <a:r>
                            <a:rPr lang="en-US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43 (+13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144405171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Немчиновка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 591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21 (8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59 (54,5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98 (+9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46592043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b="0" i="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Сколково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2 776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18 (178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97 (65,8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23 (+52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46705597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kern="1200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Баковка</a:t>
                          </a:r>
                          <a:endParaRPr lang="ru-RU" sz="700" b="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 613</a:t>
                          </a:r>
                          <a:endParaRPr lang="ru-RU" sz="60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18 (-5,4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33 (+190,6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5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6 (+52,2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802733707"/>
                      </a:ext>
                    </a:extLst>
                  </a:tr>
                  <a:tr h="11180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Одинцово</a:t>
                          </a:r>
                          <a:endParaRPr lang="ru-RU" sz="7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30 304   </a:t>
                          </a:r>
                          <a:endParaRPr lang="ru-RU" sz="6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09 (+2,3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6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30 (+50,7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8</a:t>
                          </a:r>
                          <a:r>
                            <a:rPr lang="en-US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74 (+26,0%)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600875125"/>
                      </a:ext>
                    </a:extLst>
                  </a:tr>
                  <a:tr h="124254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700" b="0" i="0" u="none" strike="noStrike" dirty="0">
                              <a:ln>
                                <a:noFill/>
                              </a:ln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</a:rPr>
                            <a:t>ИТОГО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2"/>
                          <a:stretch>
                            <a:fillRect l="-174510" t="-2660000" r="-319608" b="-3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2"/>
                          <a:stretch>
                            <a:fillRect l="-264151" t="-2660000" r="-207547" b="-3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2"/>
                          <a:stretch>
                            <a:fillRect l="-350909" t="-2660000" r="-100000" b="-3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2"/>
                          <a:stretch>
                            <a:fillRect l="-450909" t="-2660000" b="-3000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143211115"/>
                      </a:ext>
                    </a:extLst>
                  </a:tr>
                </a:tbl>
              </a:graphicData>
            </a:graphic>
          </p:graphicFrame>
        </mc:Fallback>
      </mc:AlternateContent>
      <p:pic>
        <p:nvPicPr>
          <p:cNvPr id="253" name="Рисунок 252">
            <a:extLst>
              <a:ext uri="{FF2B5EF4-FFF2-40B4-BE49-F238E27FC236}">
                <a16:creationId xmlns:a16="http://schemas.microsoft.com/office/drawing/2014/main" id="{638F7884-7DCC-974F-9DF9-99270B97E8C0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6129" y="2108120"/>
            <a:ext cx="117509" cy="92127"/>
          </a:xfrm>
          <a:prstGeom prst="rect">
            <a:avLst/>
          </a:prstGeom>
        </p:spPr>
      </p:pic>
      <p:pic>
        <p:nvPicPr>
          <p:cNvPr id="254" name="Рисунок 253">
            <a:extLst>
              <a:ext uri="{FF2B5EF4-FFF2-40B4-BE49-F238E27FC236}">
                <a16:creationId xmlns:a16="http://schemas.microsoft.com/office/drawing/2014/main" id="{65873054-2A36-FF42-9257-37050DF40E8F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6906" y="2440862"/>
            <a:ext cx="117509" cy="92127"/>
          </a:xfrm>
          <a:prstGeom prst="rect">
            <a:avLst/>
          </a:prstGeom>
        </p:spPr>
      </p:pic>
      <p:pic>
        <p:nvPicPr>
          <p:cNvPr id="255" name="Рисунок 254">
            <a:extLst>
              <a:ext uri="{FF2B5EF4-FFF2-40B4-BE49-F238E27FC236}">
                <a16:creationId xmlns:a16="http://schemas.microsoft.com/office/drawing/2014/main" id="{DA592C72-B896-024B-9EBC-8D0E0A5FAA96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6477" y="2553718"/>
            <a:ext cx="117509" cy="92127"/>
          </a:xfrm>
          <a:prstGeom prst="rect">
            <a:avLst/>
          </a:prstGeom>
        </p:spPr>
      </p:pic>
      <p:pic>
        <p:nvPicPr>
          <p:cNvPr id="257" name="Рисунок 256">
            <a:extLst>
              <a:ext uri="{FF2B5EF4-FFF2-40B4-BE49-F238E27FC236}">
                <a16:creationId xmlns:a16="http://schemas.microsoft.com/office/drawing/2014/main" id="{0C0F5C2F-F608-FA48-9B2C-CF2B8CE85473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7077" y="2667402"/>
            <a:ext cx="117509" cy="92127"/>
          </a:xfrm>
          <a:prstGeom prst="rect">
            <a:avLst/>
          </a:prstGeom>
        </p:spPr>
      </p:pic>
      <p:pic>
        <p:nvPicPr>
          <p:cNvPr id="259" name="Рисунок 258">
            <a:extLst>
              <a:ext uri="{FF2B5EF4-FFF2-40B4-BE49-F238E27FC236}">
                <a16:creationId xmlns:a16="http://schemas.microsoft.com/office/drawing/2014/main" id="{9B7F6F20-A81E-6F4C-AE4C-A57ED1CBF838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119" y="2781085"/>
            <a:ext cx="117509" cy="92127"/>
          </a:xfrm>
          <a:prstGeom prst="rect">
            <a:avLst/>
          </a:prstGeom>
        </p:spPr>
      </p:pic>
      <p:pic>
        <p:nvPicPr>
          <p:cNvPr id="263" name="Рисунок 262">
            <a:extLst>
              <a:ext uri="{FF2B5EF4-FFF2-40B4-BE49-F238E27FC236}">
                <a16:creationId xmlns:a16="http://schemas.microsoft.com/office/drawing/2014/main" id="{A099A173-E9BC-394D-A206-A834DC1943E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9514" y="2894766"/>
            <a:ext cx="117509" cy="92127"/>
          </a:xfrm>
          <a:prstGeom prst="rect">
            <a:avLst/>
          </a:prstGeom>
        </p:spPr>
      </p:pic>
      <p:pic>
        <p:nvPicPr>
          <p:cNvPr id="265" name="Рисунок 264">
            <a:extLst>
              <a:ext uri="{FF2B5EF4-FFF2-40B4-BE49-F238E27FC236}">
                <a16:creationId xmlns:a16="http://schemas.microsoft.com/office/drawing/2014/main" id="{2EB96FE8-A99D-3A4B-ADC4-46435269E533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7520" y="3007625"/>
            <a:ext cx="117509" cy="92127"/>
          </a:xfrm>
          <a:prstGeom prst="rect">
            <a:avLst/>
          </a:prstGeom>
        </p:spPr>
      </p:pic>
      <p:pic>
        <p:nvPicPr>
          <p:cNvPr id="274" name="Рисунок 273">
            <a:extLst>
              <a:ext uri="{FF2B5EF4-FFF2-40B4-BE49-F238E27FC236}">
                <a16:creationId xmlns:a16="http://schemas.microsoft.com/office/drawing/2014/main" id="{A4A03F65-16C2-C440-AEBE-DD17DA6B2C49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3701" y="3120483"/>
            <a:ext cx="117509" cy="92127"/>
          </a:xfrm>
          <a:prstGeom prst="rect">
            <a:avLst/>
          </a:prstGeom>
        </p:spPr>
      </p:pic>
      <p:pic>
        <p:nvPicPr>
          <p:cNvPr id="289" name="Рисунок 288">
            <a:extLst>
              <a:ext uri="{FF2B5EF4-FFF2-40B4-BE49-F238E27FC236}">
                <a16:creationId xmlns:a16="http://schemas.microsoft.com/office/drawing/2014/main" id="{ED51B5CC-9EFC-C445-8E26-7C82669837D2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3589" y="3231555"/>
            <a:ext cx="117509" cy="92127"/>
          </a:xfrm>
          <a:prstGeom prst="rect">
            <a:avLst/>
          </a:prstGeom>
        </p:spPr>
      </p:pic>
      <p:pic>
        <p:nvPicPr>
          <p:cNvPr id="292" name="Рисунок 291">
            <a:extLst>
              <a:ext uri="{FF2B5EF4-FFF2-40B4-BE49-F238E27FC236}">
                <a16:creationId xmlns:a16="http://schemas.microsoft.com/office/drawing/2014/main" id="{4CEA7A73-FC90-504A-9567-EAABDC09ED99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1461" y="3340623"/>
            <a:ext cx="117509" cy="92127"/>
          </a:xfrm>
          <a:prstGeom prst="rect">
            <a:avLst/>
          </a:prstGeom>
        </p:spPr>
      </p:pic>
      <p:pic>
        <p:nvPicPr>
          <p:cNvPr id="293" name="Рисунок 292">
            <a:extLst>
              <a:ext uri="{FF2B5EF4-FFF2-40B4-BE49-F238E27FC236}">
                <a16:creationId xmlns:a16="http://schemas.microsoft.com/office/drawing/2014/main" id="{52AA3751-797B-C34E-B0B2-88DE872F061C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990" y="3451695"/>
            <a:ext cx="117509" cy="92127"/>
          </a:xfrm>
          <a:prstGeom prst="rect">
            <a:avLst/>
          </a:prstGeom>
        </p:spPr>
      </p:pic>
      <p:pic>
        <p:nvPicPr>
          <p:cNvPr id="294" name="Рисунок 293">
            <a:extLst>
              <a:ext uri="{FF2B5EF4-FFF2-40B4-BE49-F238E27FC236}">
                <a16:creationId xmlns:a16="http://schemas.microsoft.com/office/drawing/2014/main" id="{62E2B0EA-4BF7-894C-BD8A-827D04A9F698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0282" y="3562767"/>
            <a:ext cx="117509" cy="921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9D502BB-F561-EA45-9BDD-57CAF97889B1}"/>
              </a:ext>
            </a:extLst>
          </p:cNvPr>
          <p:cNvSpPr txBox="1"/>
          <p:nvPr/>
        </p:nvSpPr>
        <p:spPr>
          <a:xfrm>
            <a:off x="5933068" y="5398514"/>
            <a:ext cx="353814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>
                <a:latin typeface="+mj-lt"/>
              </a:rPr>
              <a:t>Население городов и районов (текущее и на перспективу)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F7237253-C8A2-EB40-9731-4902FAA7783D}"/>
              </a:ext>
            </a:extLst>
          </p:cNvPr>
          <p:cNvGraphicFramePr>
            <a:graphicFrameLocks noGrp="1"/>
          </p:cNvGraphicFramePr>
          <p:nvPr/>
        </p:nvGraphicFramePr>
        <p:xfrm>
          <a:off x="5728751" y="5673696"/>
          <a:ext cx="3897570" cy="6985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531372">
                  <a:extLst>
                    <a:ext uri="{9D8B030D-6E8A-4147-A177-3AD203B41FA5}">
                      <a16:colId xmlns:a16="http://schemas.microsoft.com/office/drawing/2014/main" val="1402367100"/>
                    </a:ext>
                  </a:extLst>
                </a:gridCol>
                <a:gridCol w="673240">
                  <a:extLst>
                    <a:ext uri="{9D8B030D-6E8A-4147-A177-3AD203B41FA5}">
                      <a16:colId xmlns:a16="http://schemas.microsoft.com/office/drawing/2014/main" val="3370922686"/>
                    </a:ext>
                  </a:extLst>
                </a:gridCol>
                <a:gridCol w="1055077">
                  <a:extLst>
                    <a:ext uri="{9D8B030D-6E8A-4147-A177-3AD203B41FA5}">
                      <a16:colId xmlns:a16="http://schemas.microsoft.com/office/drawing/2014/main" val="615513030"/>
                    </a:ext>
                  </a:extLst>
                </a:gridCol>
                <a:gridCol w="854109">
                  <a:extLst>
                    <a:ext uri="{9D8B030D-6E8A-4147-A177-3AD203B41FA5}">
                      <a16:colId xmlns:a16="http://schemas.microsoft.com/office/drawing/2014/main" val="3741995468"/>
                    </a:ext>
                  </a:extLst>
                </a:gridCol>
                <a:gridCol w="783772">
                  <a:extLst>
                    <a:ext uri="{9D8B030D-6E8A-4147-A177-3AD203B41FA5}">
                      <a16:colId xmlns:a16="http://schemas.microsoft.com/office/drawing/2014/main" val="2103479582"/>
                    </a:ext>
                  </a:extLst>
                </a:gridCol>
              </a:tblGrid>
              <a:tr h="177800">
                <a:tc>
                  <a:txBody>
                    <a:bodyPr/>
                    <a:lstStyle/>
                    <a:p>
                      <a:pPr marL="72000" algn="ctr" fontAlgn="b"/>
                      <a:endParaRPr lang="ru-RU" sz="1000" b="0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000" b="1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Лобня</a:t>
                      </a:r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000" b="1" u="none" strike="noStrike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Долгопрудный</a:t>
                      </a:r>
                      <a:endParaRPr lang="ru-RU" sz="1000" b="1" i="0" u="none" strike="noStrike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000" b="1" u="none" strike="noStrike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Москва</a:t>
                      </a:r>
                      <a:endParaRPr lang="ru-RU" sz="1000" b="1" i="0" u="none" strike="noStrike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000" b="1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Одинцово</a:t>
                      </a:r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670076441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marL="72000" algn="ctr" fontAlgn="b"/>
                      <a:r>
                        <a:rPr lang="ru-RU" sz="1000" b="1" u="none" strike="noStrike" dirty="0">
                          <a:effectLst/>
                          <a:latin typeface="+mj-lt"/>
                        </a:rPr>
                        <a:t>2018</a:t>
                      </a:r>
                      <a:endParaRPr lang="ru-RU" sz="1000" b="1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000" u="none" strike="noStrike" dirty="0">
                          <a:effectLst/>
                          <a:latin typeface="+mj-lt"/>
                        </a:rPr>
                        <a:t>88 220</a:t>
                      </a:r>
                      <a:endParaRPr lang="ru-RU" sz="10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000" u="none" strike="noStrike" dirty="0">
                          <a:effectLst/>
                          <a:latin typeface="+mj-lt"/>
                        </a:rPr>
                        <a:t>108 861</a:t>
                      </a:r>
                      <a:endParaRPr lang="ru-RU" sz="10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000" u="none" strike="noStrike" dirty="0">
                          <a:effectLst/>
                          <a:latin typeface="+mj-lt"/>
                        </a:rPr>
                        <a:t>12 506 468</a:t>
                      </a:r>
                      <a:endParaRPr lang="ru-RU" sz="10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000" u="none" strike="noStrike" dirty="0">
                          <a:effectLst/>
                          <a:latin typeface="+mj-lt"/>
                        </a:rPr>
                        <a:t>153 081</a:t>
                      </a:r>
                      <a:endParaRPr lang="ru-RU" sz="10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33795526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marL="72000" algn="ctr" fontAlgn="b"/>
                      <a:r>
                        <a:rPr lang="ru-RU" sz="1000" b="1" u="none" strike="noStrike" dirty="0">
                          <a:effectLst/>
                          <a:latin typeface="+mj-lt"/>
                        </a:rPr>
                        <a:t>2030</a:t>
                      </a:r>
                      <a:endParaRPr lang="ru-RU" sz="1000" b="1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000" u="none" strike="noStrike">
                          <a:effectLst/>
                          <a:latin typeface="+mj-lt"/>
                        </a:rPr>
                        <a:t>119 650</a:t>
                      </a:r>
                      <a:endParaRPr lang="ru-RU" sz="1000" b="0" i="0" u="none" strike="noStrike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000" u="none" strike="noStrike" dirty="0">
                          <a:effectLst/>
                          <a:latin typeface="+mj-lt"/>
                        </a:rPr>
                        <a:t>137 930</a:t>
                      </a:r>
                      <a:endParaRPr lang="ru-RU" sz="10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000" u="none" strike="noStrike" dirty="0">
                          <a:effectLst/>
                          <a:latin typeface="+mj-lt"/>
                        </a:rPr>
                        <a:t>14 093 532</a:t>
                      </a:r>
                      <a:endParaRPr lang="ru-RU" sz="10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000" u="none" strike="noStrike" dirty="0">
                          <a:effectLst/>
                          <a:latin typeface="+mj-lt"/>
                        </a:rPr>
                        <a:t>236 490</a:t>
                      </a:r>
                      <a:endParaRPr lang="ru-RU" sz="10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8610907"/>
                  </a:ext>
                </a:extLst>
              </a:tr>
              <a:tr h="165100">
                <a:tc>
                  <a:txBody>
                    <a:bodyPr/>
                    <a:lstStyle/>
                    <a:p>
                      <a:pPr marL="72000" algn="ctr" fontAlgn="b"/>
                      <a:r>
                        <a:rPr lang="ru-RU" sz="1000" b="1" u="none" strike="noStrike" dirty="0">
                          <a:effectLst/>
                          <a:latin typeface="+mj-lt"/>
                        </a:rPr>
                        <a:t>2045</a:t>
                      </a:r>
                      <a:endParaRPr lang="ru-RU" sz="1000" b="1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000" u="none" strike="noStrike">
                          <a:effectLst/>
                          <a:latin typeface="+mj-lt"/>
                        </a:rPr>
                        <a:t>145 842</a:t>
                      </a:r>
                      <a:endParaRPr lang="ru-RU" sz="1000" b="0" i="0" u="none" strike="noStrike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000" u="none" strike="noStrike">
                          <a:effectLst/>
                          <a:latin typeface="+mj-lt"/>
                        </a:rPr>
                        <a:t>162 154</a:t>
                      </a:r>
                      <a:endParaRPr lang="ru-RU" sz="1000" b="0" i="0" u="none" strike="noStrike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000" u="none" strike="noStrike" dirty="0">
                          <a:effectLst/>
                          <a:latin typeface="+mj-lt"/>
                        </a:rPr>
                        <a:t>16 077 362</a:t>
                      </a:r>
                      <a:endParaRPr lang="ru-RU" sz="10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000" u="none" strike="noStrike" dirty="0">
                          <a:effectLst/>
                          <a:latin typeface="+mj-lt"/>
                        </a:rPr>
                        <a:t>305 998</a:t>
                      </a:r>
                      <a:endParaRPr lang="ru-RU" sz="10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2280616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74019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0CF0F8F5-A310-6840-8327-DC379D650E11}"/>
              </a:ext>
            </a:extLst>
          </p:cNvPr>
          <p:cNvSpPr txBox="1"/>
          <p:nvPr/>
        </p:nvSpPr>
        <p:spPr>
          <a:xfrm>
            <a:off x="7245075" y="0"/>
            <a:ext cx="25811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dirty="0">
                <a:solidFill>
                  <a:srgbClr val="BA0B17"/>
                </a:solidFill>
                <a:latin typeface="+mj-lt"/>
              </a:rPr>
              <a:t>ПАСПОРТ МЦД</a:t>
            </a:r>
            <a:r>
              <a:rPr lang="en-US" dirty="0">
                <a:solidFill>
                  <a:srgbClr val="BA0B17"/>
                </a:solidFill>
                <a:latin typeface="+mj-lt"/>
              </a:rPr>
              <a:t> </a:t>
            </a:r>
            <a:r>
              <a:rPr lang="ru-RU" dirty="0">
                <a:solidFill>
                  <a:srgbClr val="BA0B17"/>
                </a:solidFill>
                <a:latin typeface="+mj-lt"/>
              </a:rPr>
              <a:t>2</a:t>
            </a:r>
          </a:p>
          <a:p>
            <a:pPr algn="r"/>
            <a:r>
              <a:rPr lang="ru-RU" cap="all" dirty="0">
                <a:solidFill>
                  <a:srgbClr val="BA0B17"/>
                </a:solidFill>
                <a:latin typeface="+mj-lt"/>
              </a:rPr>
              <a:t>НАХАБИНО – ПОДОЛЬСК</a:t>
            </a:r>
          </a:p>
        </p:txBody>
      </p:sp>
      <p:sp>
        <p:nvSpPr>
          <p:cNvPr id="36" name="Открывающая фигурная скобка 35">
            <a:extLst>
              <a:ext uri="{FF2B5EF4-FFF2-40B4-BE49-F238E27FC236}">
                <a16:creationId xmlns:a16="http://schemas.microsoft.com/office/drawing/2014/main" id="{C352C85A-5C4E-5848-A30E-0B76AC415F2E}"/>
              </a:ext>
            </a:extLst>
          </p:cNvPr>
          <p:cNvSpPr/>
          <p:nvPr/>
        </p:nvSpPr>
        <p:spPr>
          <a:xfrm>
            <a:off x="5457091" y="1885155"/>
            <a:ext cx="125623" cy="2372410"/>
          </a:xfrm>
          <a:prstGeom prst="leftBrace">
            <a:avLst>
              <a:gd name="adj1" fmla="val 73075"/>
              <a:gd name="adj2" fmla="val 50000"/>
            </a:avLst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55" name="Группа 154">
            <a:extLst>
              <a:ext uri="{FF2B5EF4-FFF2-40B4-BE49-F238E27FC236}">
                <a16:creationId xmlns:a16="http://schemas.microsoft.com/office/drawing/2014/main" id="{A3FA9A03-76FA-174A-A118-276987AE1957}"/>
              </a:ext>
            </a:extLst>
          </p:cNvPr>
          <p:cNvGrpSpPr/>
          <p:nvPr/>
        </p:nvGrpSpPr>
        <p:grpSpPr>
          <a:xfrm>
            <a:off x="7432" y="6164447"/>
            <a:ext cx="2645683" cy="415498"/>
            <a:chOff x="38866" y="6129397"/>
            <a:chExt cx="2286084" cy="415498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24414AD6-30ED-6C4E-B516-A086F3866348}"/>
                </a:ext>
              </a:extLst>
            </p:cNvPr>
            <p:cNvSpPr txBox="1"/>
            <p:nvPr/>
          </p:nvSpPr>
          <p:spPr>
            <a:xfrm>
              <a:off x="38866" y="6129397"/>
              <a:ext cx="2286084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700" dirty="0">
                  <a:solidFill>
                    <a:srgbClr val="C00000"/>
                  </a:solidFill>
                  <a:latin typeface="+mj-lt"/>
                </a:rPr>
                <a:t>* Дополнительный спрос на МЦД (% перехода на новый сервис) </a:t>
              </a:r>
            </a:p>
            <a:p>
              <a:r>
                <a:rPr lang="ru-RU" sz="700" dirty="0">
                  <a:solidFill>
                    <a:srgbClr val="C00000"/>
                  </a:solidFill>
                  <a:latin typeface="+mj-lt"/>
                </a:rPr>
                <a:t>у данных категорий граждан уточняется опросом</a:t>
              </a:r>
            </a:p>
          </p:txBody>
        </p:sp>
        <p:cxnSp>
          <p:nvCxnSpPr>
            <p:cNvPr id="157" name="Прямая соединительная линия 156">
              <a:extLst>
                <a:ext uri="{FF2B5EF4-FFF2-40B4-BE49-F238E27FC236}">
                  <a16:creationId xmlns:a16="http://schemas.microsoft.com/office/drawing/2014/main" id="{8A692A9E-58FB-334C-A208-CCD125E04194}"/>
                </a:ext>
              </a:extLst>
            </p:cNvPr>
            <p:cNvCxnSpPr>
              <a:cxnSpLocks/>
            </p:cNvCxnSpPr>
            <p:nvPr/>
          </p:nvCxnSpPr>
          <p:spPr>
            <a:xfrm>
              <a:off x="111318" y="6149385"/>
              <a:ext cx="1921747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9" name="TextBox 158">
            <a:extLst>
              <a:ext uri="{FF2B5EF4-FFF2-40B4-BE49-F238E27FC236}">
                <a16:creationId xmlns:a16="http://schemas.microsoft.com/office/drawing/2014/main" id="{F3BAAB5C-2E99-8342-9F9B-2669115CD2C5}"/>
              </a:ext>
            </a:extLst>
          </p:cNvPr>
          <p:cNvSpPr txBox="1"/>
          <p:nvPr/>
        </p:nvSpPr>
        <p:spPr>
          <a:xfrm>
            <a:off x="5436566" y="549247"/>
            <a:ext cx="427481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000" dirty="0">
                <a:latin typeface="+mj-lt"/>
              </a:rPr>
              <a:t>Итоги моделирования спроса на МЦД 2 по данным валидаций </a:t>
            </a:r>
          </a:p>
          <a:p>
            <a:pPr algn="ctr"/>
            <a:r>
              <a:rPr lang="ru-RU" sz="1000" dirty="0">
                <a:latin typeface="+mj-lt"/>
              </a:rPr>
              <a:t>билетов ЦППК, метро, НГПТ и с учетом роста населения районов</a:t>
            </a:r>
          </a:p>
        </p:txBody>
      </p:sp>
      <p:grpSp>
        <p:nvGrpSpPr>
          <p:cNvPr id="202" name="Группа 201">
            <a:extLst>
              <a:ext uri="{FF2B5EF4-FFF2-40B4-BE49-F238E27FC236}">
                <a16:creationId xmlns:a16="http://schemas.microsoft.com/office/drawing/2014/main" id="{3B209E57-248F-DA4A-BFD1-4B8E11FE818D}"/>
              </a:ext>
            </a:extLst>
          </p:cNvPr>
          <p:cNvGrpSpPr/>
          <p:nvPr/>
        </p:nvGrpSpPr>
        <p:grpSpPr>
          <a:xfrm>
            <a:off x="145708" y="845140"/>
            <a:ext cx="2012029" cy="866540"/>
            <a:chOff x="317704" y="4068070"/>
            <a:chExt cx="2012029" cy="866540"/>
          </a:xfrm>
        </p:grpSpPr>
        <p:sp>
          <p:nvSpPr>
            <p:cNvPr id="203" name="Прямоугольник 202">
              <a:extLst>
                <a:ext uri="{FF2B5EF4-FFF2-40B4-BE49-F238E27FC236}">
                  <a16:creationId xmlns:a16="http://schemas.microsoft.com/office/drawing/2014/main" id="{17A7622F-9158-C946-9705-117DD484396A}"/>
                </a:ext>
              </a:extLst>
            </p:cNvPr>
            <p:cNvSpPr/>
            <p:nvPr/>
          </p:nvSpPr>
          <p:spPr>
            <a:xfrm>
              <a:off x="317709" y="4068070"/>
              <a:ext cx="1775997" cy="866540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accent1">
                  <a:lumMod val="50000"/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205" name="Рисунок 204" descr="Streetcar">
              <a:extLst>
                <a:ext uri="{FF2B5EF4-FFF2-40B4-BE49-F238E27FC236}">
                  <a16:creationId xmlns:a16="http://schemas.microsoft.com/office/drawing/2014/main" id="{A9EBF293-DA8F-E948-8C8D-D623866AAD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59142" y="4665608"/>
              <a:ext cx="205403" cy="205403"/>
            </a:xfrm>
            <a:prstGeom prst="rect">
              <a:avLst/>
            </a:prstGeom>
          </p:spPr>
        </p:pic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143C5AB3-A929-9945-AC04-980BC0135F39}"/>
                </a:ext>
              </a:extLst>
            </p:cNvPr>
            <p:cNvSpPr txBox="1"/>
            <p:nvPr/>
          </p:nvSpPr>
          <p:spPr>
            <a:xfrm>
              <a:off x="1226006" y="4644000"/>
              <a:ext cx="63665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500" i="1" dirty="0"/>
                <a:t>Валидации билетов ЦППК</a:t>
              </a: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E243963B-5B0D-7643-8069-04F7EE5F4EFF}"/>
                </a:ext>
              </a:extLst>
            </p:cNvPr>
            <p:cNvSpPr txBox="1"/>
            <p:nvPr/>
          </p:nvSpPr>
          <p:spPr>
            <a:xfrm>
              <a:off x="778827" y="4659843"/>
              <a:ext cx="49885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900" dirty="0">
                  <a:latin typeface="+mj-lt"/>
                </a:rPr>
                <a:t>13 610</a:t>
              </a:r>
            </a:p>
          </p:txBody>
        </p:sp>
        <p:pic>
          <p:nvPicPr>
            <p:cNvPr id="208" name="Рисунок 207" descr="Bus">
              <a:extLst>
                <a:ext uri="{FF2B5EF4-FFF2-40B4-BE49-F238E27FC236}">
                  <a16:creationId xmlns:a16="http://schemas.microsoft.com/office/drawing/2014/main" id="{04DFF193-28B1-5A4B-A2B5-F035A8D22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59142" y="4376559"/>
              <a:ext cx="236447" cy="236447"/>
            </a:xfrm>
            <a:prstGeom prst="rect">
              <a:avLst/>
            </a:prstGeom>
          </p:spPr>
        </p:pic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EDC9DECC-8D94-BA4C-9DE5-137BDE4C2627}"/>
                </a:ext>
              </a:extLst>
            </p:cNvPr>
            <p:cNvSpPr txBox="1"/>
            <p:nvPr/>
          </p:nvSpPr>
          <p:spPr>
            <a:xfrm>
              <a:off x="1226006" y="4372335"/>
              <a:ext cx="92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500" i="1" dirty="0"/>
                <a:t>Натурные наблюдения населенности автобусов</a:t>
              </a:r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DC81024A-7563-7B46-9339-A393EA8663AD}"/>
                </a:ext>
              </a:extLst>
            </p:cNvPr>
            <p:cNvSpPr txBox="1"/>
            <p:nvPr/>
          </p:nvSpPr>
          <p:spPr>
            <a:xfrm>
              <a:off x="807905" y="4382174"/>
              <a:ext cx="44114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latin typeface="+mj-lt"/>
                </a:rPr>
                <a:t>2</a:t>
              </a:r>
              <a:r>
                <a:rPr lang="ru-RU" sz="900" dirty="0">
                  <a:latin typeface="+mj-lt"/>
                </a:rPr>
                <a:t> </a:t>
              </a:r>
              <a:r>
                <a:rPr lang="en-US" sz="900" dirty="0">
                  <a:latin typeface="+mj-lt"/>
                </a:rPr>
                <a:t>285</a:t>
              </a:r>
              <a:endParaRPr lang="ru-RU" sz="900" dirty="0">
                <a:latin typeface="+mj-lt"/>
              </a:endParaRPr>
            </a:p>
          </p:txBody>
        </p:sp>
        <p:sp>
          <p:nvSpPr>
            <p:cNvPr id="214" name="Прямоугольник 213">
              <a:extLst>
                <a:ext uri="{FF2B5EF4-FFF2-40B4-BE49-F238E27FC236}">
                  <a16:creationId xmlns:a16="http://schemas.microsoft.com/office/drawing/2014/main" id="{16577821-C713-1442-A819-D34505E77F29}"/>
                </a:ext>
              </a:extLst>
            </p:cNvPr>
            <p:cNvSpPr/>
            <p:nvPr/>
          </p:nvSpPr>
          <p:spPr>
            <a:xfrm>
              <a:off x="317704" y="4363171"/>
              <a:ext cx="1776002" cy="266698"/>
            </a:xfrm>
            <a:prstGeom prst="rect">
              <a:avLst/>
            </a:prstGeom>
            <a:noFill/>
            <a:ln w="1270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55FF4F23-6127-0445-A5EE-ABCDE1FB5931}"/>
                </a:ext>
              </a:extLst>
            </p:cNvPr>
            <p:cNvSpPr txBox="1"/>
            <p:nvPr/>
          </p:nvSpPr>
          <p:spPr>
            <a:xfrm>
              <a:off x="2029651" y="4197048"/>
              <a:ext cx="30008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rgbClr val="C00000"/>
                  </a:solidFill>
                </a:rPr>
                <a:t>*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38" name="Пятиугольник 237">
                <a:extLst>
                  <a:ext uri="{FF2B5EF4-FFF2-40B4-BE49-F238E27FC236}">
                    <a16:creationId xmlns:a16="http://schemas.microsoft.com/office/drawing/2014/main" id="{82854A99-8D2E-BB41-A5ED-27F1B6BEA07D}"/>
                  </a:ext>
                </a:extLst>
              </p:cNvPr>
              <p:cNvSpPr/>
              <p:nvPr/>
            </p:nvSpPr>
            <p:spPr>
              <a:xfrm>
                <a:off x="3949357" y="2710599"/>
                <a:ext cx="1504007" cy="738664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alpha val="72000"/>
                </a:schemeClr>
              </a:solidFill>
              <a:ln>
                <a:solidFill>
                  <a:schemeClr val="accent1">
                    <a:lumMod val="50000"/>
                    <a:alpha val="34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700" dirty="0">
                    <a:latin typeface="+mj-lt"/>
                  </a:rPr>
                  <a:t>Пассажиропоток </a:t>
                </a:r>
              </a:p>
              <a:p>
                <a:pPr algn="ctr"/>
                <a:r>
                  <a:rPr lang="ru-RU" sz="700" dirty="0">
                    <a:latin typeface="+mj-lt"/>
                  </a:rPr>
                  <a:t>в границах Москвы: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  <m: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700" b="1" dirty="0">
                    <a:solidFill>
                      <a:srgbClr val="C00000"/>
                    </a:solidFill>
                    <a:latin typeface="+mj-lt"/>
                  </a:rPr>
                  <a:t>145</a:t>
                </a:r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 </a:t>
                </a:r>
                <a:r>
                  <a:rPr lang="en-US" sz="700" b="1" dirty="0">
                    <a:solidFill>
                      <a:srgbClr val="C00000"/>
                    </a:solidFill>
                    <a:latin typeface="+mj-lt"/>
                  </a:rPr>
                  <a:t>961</a:t>
                </a:r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 </a:t>
                </a:r>
                <a:r>
                  <a:rPr lang="ru-RU" sz="700" dirty="0">
                    <a:latin typeface="+mj-lt"/>
                  </a:rPr>
                  <a:t>пасс./сут. – сущ.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  <m: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700" b="1" dirty="0">
                    <a:solidFill>
                      <a:srgbClr val="C00000"/>
                    </a:solidFill>
                    <a:latin typeface="+mj-lt"/>
                  </a:rPr>
                  <a:t>218</a:t>
                </a:r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 </a:t>
                </a:r>
                <a:r>
                  <a:rPr lang="en-US" sz="700" b="1" dirty="0">
                    <a:solidFill>
                      <a:srgbClr val="C00000"/>
                    </a:solidFill>
                    <a:latin typeface="+mj-lt"/>
                  </a:rPr>
                  <a:t>726</a:t>
                </a:r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 </a:t>
                </a:r>
                <a:r>
                  <a:rPr lang="ru-RU" sz="700" dirty="0">
                    <a:latin typeface="+mj-lt"/>
                  </a:rPr>
                  <a:t>пасс./сут. – </a:t>
                </a:r>
                <a:r>
                  <a:rPr lang="ru-RU" sz="700" dirty="0" err="1">
                    <a:latin typeface="+mj-lt"/>
                  </a:rPr>
                  <a:t>персп</a:t>
                </a:r>
                <a:r>
                  <a:rPr lang="ru-RU" sz="700" dirty="0">
                    <a:latin typeface="+mj-lt"/>
                  </a:rPr>
                  <a:t>.</a:t>
                </a:r>
                <a:r>
                  <a:rPr lang="en-US" sz="700" dirty="0">
                    <a:latin typeface="+mj-lt"/>
                  </a:rPr>
                  <a:t> (2020)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  <m: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700" b="1" dirty="0">
                    <a:solidFill>
                      <a:srgbClr val="C00000"/>
                    </a:solidFill>
                    <a:latin typeface="+mj-lt"/>
                  </a:rPr>
                  <a:t>384</a:t>
                </a:r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 </a:t>
                </a:r>
                <a:r>
                  <a:rPr lang="en-US" sz="700" b="1" dirty="0">
                    <a:solidFill>
                      <a:srgbClr val="C00000"/>
                    </a:solidFill>
                    <a:latin typeface="+mj-lt"/>
                  </a:rPr>
                  <a:t>547</a:t>
                </a:r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 </a:t>
                </a:r>
                <a:r>
                  <a:rPr lang="ru-RU" sz="700" dirty="0">
                    <a:latin typeface="+mj-lt"/>
                  </a:rPr>
                  <a:t>пасс./сут. – </a:t>
                </a:r>
                <a:r>
                  <a:rPr lang="ru-RU" sz="700" dirty="0" err="1">
                    <a:latin typeface="+mj-lt"/>
                  </a:rPr>
                  <a:t>персп</a:t>
                </a:r>
                <a:r>
                  <a:rPr lang="ru-RU" sz="700" dirty="0">
                    <a:latin typeface="+mj-lt"/>
                  </a:rPr>
                  <a:t>.</a:t>
                </a:r>
                <a:r>
                  <a:rPr lang="en-US" sz="700" dirty="0">
                    <a:latin typeface="+mj-lt"/>
                  </a:rPr>
                  <a:t> (2030)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  <m: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700" b="1" dirty="0">
                    <a:solidFill>
                      <a:srgbClr val="C00000"/>
                    </a:solidFill>
                    <a:latin typeface="+mj-lt"/>
                  </a:rPr>
                  <a:t>538</a:t>
                </a:r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 </a:t>
                </a:r>
                <a:r>
                  <a:rPr lang="en-US" sz="700" b="1" dirty="0">
                    <a:solidFill>
                      <a:srgbClr val="C00000"/>
                    </a:solidFill>
                    <a:latin typeface="+mj-lt"/>
                  </a:rPr>
                  <a:t>362</a:t>
                </a:r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 </a:t>
                </a:r>
                <a:r>
                  <a:rPr lang="ru-RU" sz="700" dirty="0">
                    <a:latin typeface="+mj-lt"/>
                  </a:rPr>
                  <a:t>пасс./сут. – </a:t>
                </a:r>
                <a:r>
                  <a:rPr lang="ru-RU" sz="700" dirty="0" err="1">
                    <a:latin typeface="+mj-lt"/>
                  </a:rPr>
                  <a:t>персп</a:t>
                </a:r>
                <a:r>
                  <a:rPr lang="ru-RU" sz="700" dirty="0">
                    <a:latin typeface="+mj-lt"/>
                  </a:rPr>
                  <a:t>.</a:t>
                </a:r>
                <a:r>
                  <a:rPr lang="en-US" sz="700" dirty="0">
                    <a:latin typeface="+mj-lt"/>
                  </a:rPr>
                  <a:t> (2045)</a:t>
                </a:r>
              </a:p>
            </p:txBody>
          </p:sp>
        </mc:Choice>
        <mc:Fallback xmlns="">
          <p:sp>
            <p:nvSpPr>
              <p:cNvPr id="238" name="Пятиугольник 237">
                <a:extLst>
                  <a:ext uri="{FF2B5EF4-FFF2-40B4-BE49-F238E27FC236}">
                    <a16:creationId xmlns:a16="http://schemas.microsoft.com/office/drawing/2014/main" id="{82854A99-8D2E-BB41-A5ED-27F1B6BEA07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49357" y="2710599"/>
                <a:ext cx="1504007" cy="738664"/>
              </a:xfrm>
              <a:prstGeom prst="homePlate">
                <a:avLst>
                  <a:gd name="adj" fmla="val 0"/>
                </a:avLst>
              </a:prstGeom>
              <a:blipFill>
                <a:blip r:embed="rId16"/>
                <a:stretch>
                  <a:fillRect/>
                </a:stretch>
              </a:blipFill>
              <a:ln>
                <a:solidFill>
                  <a:schemeClr val="accent1">
                    <a:lumMod val="50000"/>
                    <a:alpha val="34000"/>
                  </a:schemeClr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3" name="TextBox 122">
            <a:extLst>
              <a:ext uri="{FF2B5EF4-FFF2-40B4-BE49-F238E27FC236}">
                <a16:creationId xmlns:a16="http://schemas.microsoft.com/office/drawing/2014/main" id="{4742396C-FF3F-1E40-89F3-51A28140C325}"/>
              </a:ext>
            </a:extLst>
          </p:cNvPr>
          <p:cNvSpPr txBox="1"/>
          <p:nvPr/>
        </p:nvSpPr>
        <p:spPr>
          <a:xfrm>
            <a:off x="458096" y="1745980"/>
            <a:ext cx="9204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Нахабино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A5CF3AA1-1449-3340-AF57-D4F77066D303}"/>
              </a:ext>
            </a:extLst>
          </p:cNvPr>
          <p:cNvSpPr txBox="1"/>
          <p:nvPr/>
        </p:nvSpPr>
        <p:spPr>
          <a:xfrm>
            <a:off x="3183074" y="6109024"/>
            <a:ext cx="9076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Подольск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343EDB75-05AF-8B4A-A559-4ACC52463577}"/>
              </a:ext>
            </a:extLst>
          </p:cNvPr>
          <p:cNvSpPr txBox="1"/>
          <p:nvPr/>
        </p:nvSpPr>
        <p:spPr>
          <a:xfrm>
            <a:off x="3109339" y="3307808"/>
            <a:ext cx="81144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Новохохловская</a:t>
            </a:r>
            <a:endParaRPr lang="ru-RU" sz="700" dirty="0">
              <a:latin typeface="+mj-lt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86202215-92F9-AE40-B10D-EC388BD28C98}"/>
              </a:ext>
            </a:extLst>
          </p:cNvPr>
          <p:cNvSpPr txBox="1"/>
          <p:nvPr/>
        </p:nvSpPr>
        <p:spPr>
          <a:xfrm>
            <a:off x="2406913" y="2170053"/>
            <a:ext cx="77938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Ленинградская </a:t>
            </a:r>
          </a:p>
        </p:txBody>
      </p:sp>
      <p:cxnSp>
        <p:nvCxnSpPr>
          <p:cNvPr id="135" name="Прямая соединительная линия 134">
            <a:extLst>
              <a:ext uri="{FF2B5EF4-FFF2-40B4-BE49-F238E27FC236}">
                <a16:creationId xmlns:a16="http://schemas.microsoft.com/office/drawing/2014/main" id="{74F6EF56-A9F3-D54B-81BC-A6B229CD2E3C}"/>
              </a:ext>
            </a:extLst>
          </p:cNvPr>
          <p:cNvCxnSpPr>
            <a:cxnSpLocks/>
          </p:cNvCxnSpPr>
          <p:nvPr/>
        </p:nvCxnSpPr>
        <p:spPr>
          <a:xfrm>
            <a:off x="2615473" y="2318213"/>
            <a:ext cx="37643" cy="9146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единительная линия 135">
            <a:extLst>
              <a:ext uri="{FF2B5EF4-FFF2-40B4-BE49-F238E27FC236}">
                <a16:creationId xmlns:a16="http://schemas.microsoft.com/office/drawing/2014/main" id="{74BCF0F3-A939-DB45-84EE-AD8FA8FDAD64}"/>
              </a:ext>
            </a:extLst>
          </p:cNvPr>
          <p:cNvCxnSpPr>
            <a:cxnSpLocks/>
          </p:cNvCxnSpPr>
          <p:nvPr/>
        </p:nvCxnSpPr>
        <p:spPr>
          <a:xfrm flipV="1">
            <a:off x="3818701" y="3302339"/>
            <a:ext cx="76144" cy="772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TextBox 283">
            <a:extLst>
              <a:ext uri="{FF2B5EF4-FFF2-40B4-BE49-F238E27FC236}">
                <a16:creationId xmlns:a16="http://schemas.microsoft.com/office/drawing/2014/main" id="{21379CFD-AD2A-8845-B580-41C02829D167}"/>
              </a:ext>
            </a:extLst>
          </p:cNvPr>
          <p:cNvSpPr txBox="1"/>
          <p:nvPr/>
        </p:nvSpPr>
        <p:spPr>
          <a:xfrm>
            <a:off x="1383942" y="1989313"/>
            <a:ext cx="76495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Волоколамская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5729FB47-FB40-F140-BB0D-82858F574106}"/>
              </a:ext>
            </a:extLst>
          </p:cNvPr>
          <p:cNvSpPr txBox="1"/>
          <p:nvPr/>
        </p:nvSpPr>
        <p:spPr>
          <a:xfrm>
            <a:off x="2307647" y="2076328"/>
            <a:ext cx="47481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Тушино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29A61042-0033-624E-811F-5B7171E766A8}"/>
              </a:ext>
            </a:extLst>
          </p:cNvPr>
          <p:cNvSpPr txBox="1"/>
          <p:nvPr/>
        </p:nvSpPr>
        <p:spPr>
          <a:xfrm>
            <a:off x="2349834" y="2467618"/>
            <a:ext cx="60144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Щукинская</a:t>
            </a:r>
            <a:endParaRPr lang="ru-RU" sz="700" dirty="0">
              <a:latin typeface="+mj-lt"/>
            </a:endParaRP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CE0DF1F4-3C74-224A-A501-182BC1FC5826}"/>
              </a:ext>
            </a:extLst>
          </p:cNvPr>
          <p:cNvSpPr txBox="1"/>
          <p:nvPr/>
        </p:nvSpPr>
        <p:spPr>
          <a:xfrm>
            <a:off x="3106690" y="2246639"/>
            <a:ext cx="67999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Дмитровская</a:t>
            </a:r>
            <a:endParaRPr lang="ru-RU" sz="700" dirty="0">
              <a:latin typeface="+mj-lt"/>
            </a:endParaRP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21CB00D4-17EA-A040-A3B0-EAD292B38F4A}"/>
              </a:ext>
            </a:extLst>
          </p:cNvPr>
          <p:cNvSpPr txBox="1"/>
          <p:nvPr/>
        </p:nvSpPr>
        <p:spPr>
          <a:xfrm>
            <a:off x="3288013" y="2360448"/>
            <a:ext cx="74892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Марьина роща</a:t>
            </a: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72B8FA0E-0702-3148-959D-4D86BE710F02}"/>
              </a:ext>
            </a:extLst>
          </p:cNvPr>
          <p:cNvSpPr txBox="1"/>
          <p:nvPr/>
        </p:nvSpPr>
        <p:spPr>
          <a:xfrm>
            <a:off x="3462972" y="2478349"/>
            <a:ext cx="53732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Ржевская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F670497A-CD9E-C546-99DA-BCC0A5D05EAC}"/>
              </a:ext>
            </a:extLst>
          </p:cNvPr>
          <p:cNvSpPr txBox="1"/>
          <p:nvPr/>
        </p:nvSpPr>
        <p:spPr>
          <a:xfrm>
            <a:off x="3543277" y="2564341"/>
            <a:ext cx="69923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Каланчёвская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6E533968-B9BD-2F44-A188-C55BEC8256A9}"/>
              </a:ext>
            </a:extLst>
          </p:cNvPr>
          <p:cNvSpPr txBox="1"/>
          <p:nvPr/>
        </p:nvSpPr>
        <p:spPr>
          <a:xfrm>
            <a:off x="3144309" y="2844408"/>
            <a:ext cx="48122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Курская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565D0BC2-5F7D-734C-9BAF-5EA028D617E5}"/>
              </a:ext>
            </a:extLst>
          </p:cNvPr>
          <p:cNvSpPr txBox="1"/>
          <p:nvPr/>
        </p:nvSpPr>
        <p:spPr>
          <a:xfrm>
            <a:off x="2949576" y="3073933"/>
            <a:ext cx="84670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Москва-Товарная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40A73B90-DFBF-D445-82C4-20114AD97FC8}"/>
              </a:ext>
            </a:extLst>
          </p:cNvPr>
          <p:cNvSpPr txBox="1"/>
          <p:nvPr/>
        </p:nvSpPr>
        <p:spPr>
          <a:xfrm>
            <a:off x="3263784" y="3429423"/>
            <a:ext cx="72327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Текстильщики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0B1DD1AA-F47A-AD4D-B8DF-04A54285F3EF}"/>
              </a:ext>
            </a:extLst>
          </p:cNvPr>
          <p:cNvSpPr txBox="1"/>
          <p:nvPr/>
        </p:nvSpPr>
        <p:spPr>
          <a:xfrm>
            <a:off x="3373250" y="3543488"/>
            <a:ext cx="58862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Печатники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84DFBCF8-9383-7A40-AFFE-9530A8C2C1BB}"/>
              </a:ext>
            </a:extLst>
          </p:cNvPr>
          <p:cNvSpPr txBox="1"/>
          <p:nvPr/>
        </p:nvSpPr>
        <p:spPr>
          <a:xfrm>
            <a:off x="3419076" y="3655999"/>
            <a:ext cx="53732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Люблино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04533F24-7F22-9640-ABE1-0BEBFE3C5F9C}"/>
              </a:ext>
            </a:extLst>
          </p:cNvPr>
          <p:cNvSpPr txBox="1"/>
          <p:nvPr/>
        </p:nvSpPr>
        <p:spPr>
          <a:xfrm>
            <a:off x="3110337" y="4205763"/>
            <a:ext cx="57740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Царицыно</a:t>
            </a:r>
          </a:p>
        </p:txBody>
      </p:sp>
      <p:cxnSp>
        <p:nvCxnSpPr>
          <p:cNvPr id="297" name="Прямая соединительная линия 296">
            <a:extLst>
              <a:ext uri="{FF2B5EF4-FFF2-40B4-BE49-F238E27FC236}">
                <a16:creationId xmlns:a16="http://schemas.microsoft.com/office/drawing/2014/main" id="{ED7828FB-5D6A-9640-8250-90993DCA0F5C}"/>
              </a:ext>
            </a:extLst>
          </p:cNvPr>
          <p:cNvCxnSpPr>
            <a:cxnSpLocks/>
          </p:cNvCxnSpPr>
          <p:nvPr/>
        </p:nvCxnSpPr>
        <p:spPr>
          <a:xfrm>
            <a:off x="2009051" y="2138588"/>
            <a:ext cx="29392" cy="9626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Прямая соединительная линия 297">
            <a:extLst>
              <a:ext uri="{FF2B5EF4-FFF2-40B4-BE49-F238E27FC236}">
                <a16:creationId xmlns:a16="http://schemas.microsoft.com/office/drawing/2014/main" id="{F7107DD9-65DA-C445-A0B0-BDB0550AE09E}"/>
              </a:ext>
            </a:extLst>
          </p:cNvPr>
          <p:cNvCxnSpPr>
            <a:cxnSpLocks/>
          </p:cNvCxnSpPr>
          <p:nvPr/>
        </p:nvCxnSpPr>
        <p:spPr>
          <a:xfrm flipH="1">
            <a:off x="2363354" y="2225448"/>
            <a:ext cx="43559" cy="7716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Прямая соединительная линия 298">
            <a:extLst>
              <a:ext uri="{FF2B5EF4-FFF2-40B4-BE49-F238E27FC236}">
                <a16:creationId xmlns:a16="http://schemas.microsoft.com/office/drawing/2014/main" id="{15A40173-07B6-2740-82F9-5F84D4186184}"/>
              </a:ext>
            </a:extLst>
          </p:cNvPr>
          <p:cNvCxnSpPr>
            <a:cxnSpLocks/>
          </p:cNvCxnSpPr>
          <p:nvPr/>
        </p:nvCxnSpPr>
        <p:spPr>
          <a:xfrm>
            <a:off x="2476261" y="2445610"/>
            <a:ext cx="19239" cy="7642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Прямая соединительная линия 299">
            <a:extLst>
              <a:ext uri="{FF2B5EF4-FFF2-40B4-BE49-F238E27FC236}">
                <a16:creationId xmlns:a16="http://schemas.microsoft.com/office/drawing/2014/main" id="{4024E6DF-492F-464D-B864-F66972613714}"/>
              </a:ext>
            </a:extLst>
          </p:cNvPr>
          <p:cNvCxnSpPr>
            <a:cxnSpLocks/>
          </p:cNvCxnSpPr>
          <p:nvPr/>
        </p:nvCxnSpPr>
        <p:spPr>
          <a:xfrm flipV="1">
            <a:off x="3179529" y="2407253"/>
            <a:ext cx="36605" cy="8562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Прямая соединительная линия 300">
            <a:extLst>
              <a:ext uri="{FF2B5EF4-FFF2-40B4-BE49-F238E27FC236}">
                <a16:creationId xmlns:a16="http://schemas.microsoft.com/office/drawing/2014/main" id="{7BF7ED75-5563-2846-80A6-FC5953E22412}"/>
              </a:ext>
            </a:extLst>
          </p:cNvPr>
          <p:cNvCxnSpPr>
            <a:cxnSpLocks/>
          </p:cNvCxnSpPr>
          <p:nvPr/>
        </p:nvCxnSpPr>
        <p:spPr>
          <a:xfrm flipV="1">
            <a:off x="3347549" y="2497827"/>
            <a:ext cx="31047" cy="698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Прямая соединительная линия 301">
            <a:extLst>
              <a:ext uri="{FF2B5EF4-FFF2-40B4-BE49-F238E27FC236}">
                <a16:creationId xmlns:a16="http://schemas.microsoft.com/office/drawing/2014/main" id="{D9633A76-165A-1942-B159-C5A8B0187C44}"/>
              </a:ext>
            </a:extLst>
          </p:cNvPr>
          <p:cNvCxnSpPr>
            <a:cxnSpLocks/>
          </p:cNvCxnSpPr>
          <p:nvPr/>
        </p:nvCxnSpPr>
        <p:spPr>
          <a:xfrm flipV="1">
            <a:off x="3481363" y="2594170"/>
            <a:ext cx="52151" cy="4145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Прямая соединительная линия 302">
            <a:extLst>
              <a:ext uri="{FF2B5EF4-FFF2-40B4-BE49-F238E27FC236}">
                <a16:creationId xmlns:a16="http://schemas.microsoft.com/office/drawing/2014/main" id="{A0A40E69-3110-AD41-ACBD-685605E39080}"/>
              </a:ext>
            </a:extLst>
          </p:cNvPr>
          <p:cNvCxnSpPr>
            <a:cxnSpLocks/>
          </p:cNvCxnSpPr>
          <p:nvPr/>
        </p:nvCxnSpPr>
        <p:spPr>
          <a:xfrm flipV="1">
            <a:off x="3551020" y="2719395"/>
            <a:ext cx="85865" cy="8135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Прямая соединительная линия 303">
            <a:extLst>
              <a:ext uri="{FF2B5EF4-FFF2-40B4-BE49-F238E27FC236}">
                <a16:creationId xmlns:a16="http://schemas.microsoft.com/office/drawing/2014/main" id="{081ED982-E1E3-5C40-9BE6-41128AF201D2}"/>
              </a:ext>
            </a:extLst>
          </p:cNvPr>
          <p:cNvCxnSpPr>
            <a:cxnSpLocks/>
          </p:cNvCxnSpPr>
          <p:nvPr/>
        </p:nvCxnSpPr>
        <p:spPr>
          <a:xfrm>
            <a:off x="3537395" y="2953711"/>
            <a:ext cx="74425" cy="421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Прямая соединительная линия 304">
            <a:extLst>
              <a:ext uri="{FF2B5EF4-FFF2-40B4-BE49-F238E27FC236}">
                <a16:creationId xmlns:a16="http://schemas.microsoft.com/office/drawing/2014/main" id="{87D1F7D0-10B4-1D44-9295-93F4C8636831}"/>
              </a:ext>
            </a:extLst>
          </p:cNvPr>
          <p:cNvCxnSpPr>
            <a:cxnSpLocks/>
          </p:cNvCxnSpPr>
          <p:nvPr/>
        </p:nvCxnSpPr>
        <p:spPr>
          <a:xfrm flipV="1">
            <a:off x="3702179" y="3120130"/>
            <a:ext cx="64987" cy="310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Прямая соединительная линия 305">
            <a:extLst>
              <a:ext uri="{FF2B5EF4-FFF2-40B4-BE49-F238E27FC236}">
                <a16:creationId xmlns:a16="http://schemas.microsoft.com/office/drawing/2014/main" id="{62CB544E-A46B-AF4C-876D-A4435CE30916}"/>
              </a:ext>
            </a:extLst>
          </p:cNvPr>
          <p:cNvCxnSpPr>
            <a:cxnSpLocks/>
          </p:cNvCxnSpPr>
          <p:nvPr/>
        </p:nvCxnSpPr>
        <p:spPr>
          <a:xfrm flipH="1">
            <a:off x="3908408" y="3489547"/>
            <a:ext cx="88813" cy="2829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Прямая соединительная линия 306">
            <a:extLst>
              <a:ext uri="{FF2B5EF4-FFF2-40B4-BE49-F238E27FC236}">
                <a16:creationId xmlns:a16="http://schemas.microsoft.com/office/drawing/2014/main" id="{66B7222C-346C-1F42-B341-1564E68CEB4D}"/>
              </a:ext>
            </a:extLst>
          </p:cNvPr>
          <p:cNvCxnSpPr>
            <a:cxnSpLocks/>
          </p:cNvCxnSpPr>
          <p:nvPr/>
        </p:nvCxnSpPr>
        <p:spPr>
          <a:xfrm flipH="1">
            <a:off x="3898259" y="3632415"/>
            <a:ext cx="111080" cy="17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Прямая соединительная линия 307">
            <a:extLst>
              <a:ext uri="{FF2B5EF4-FFF2-40B4-BE49-F238E27FC236}">
                <a16:creationId xmlns:a16="http://schemas.microsoft.com/office/drawing/2014/main" id="{0C58AB23-F91F-0B4A-91AA-2492FE4CE5DA}"/>
              </a:ext>
            </a:extLst>
          </p:cNvPr>
          <p:cNvCxnSpPr>
            <a:cxnSpLocks/>
          </p:cNvCxnSpPr>
          <p:nvPr/>
        </p:nvCxnSpPr>
        <p:spPr>
          <a:xfrm flipH="1">
            <a:off x="3880592" y="3722979"/>
            <a:ext cx="147848" cy="177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Прямая соединительная линия 308">
            <a:extLst>
              <a:ext uri="{FF2B5EF4-FFF2-40B4-BE49-F238E27FC236}">
                <a16:creationId xmlns:a16="http://schemas.microsoft.com/office/drawing/2014/main" id="{F5BB5625-6EA0-374E-A07C-0A8166D9F9EB}"/>
              </a:ext>
            </a:extLst>
          </p:cNvPr>
          <p:cNvCxnSpPr>
            <a:cxnSpLocks/>
          </p:cNvCxnSpPr>
          <p:nvPr/>
        </p:nvCxnSpPr>
        <p:spPr>
          <a:xfrm flipH="1" flipV="1">
            <a:off x="3592955" y="4342840"/>
            <a:ext cx="64741" cy="55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TextBox 336">
            <a:extLst>
              <a:ext uri="{FF2B5EF4-FFF2-40B4-BE49-F238E27FC236}">
                <a16:creationId xmlns:a16="http://schemas.microsoft.com/office/drawing/2014/main" id="{EAE6E37C-5C6A-9E43-8C95-829E34CA668D}"/>
              </a:ext>
            </a:extLst>
          </p:cNvPr>
          <p:cNvSpPr txBox="1"/>
          <p:nvPr/>
        </p:nvSpPr>
        <p:spPr>
          <a:xfrm>
            <a:off x="2043854" y="1834712"/>
            <a:ext cx="566181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500" i="1">
                <a:solidFill>
                  <a:schemeClr val="accent3">
                    <a:lumMod val="50000"/>
                    <a:alpha val="30000"/>
                  </a:schemeClr>
                </a:solidFill>
              </a:defRPr>
            </a:lvl1pPr>
          </a:lstStyle>
          <a:p>
            <a:r>
              <a:rPr lang="ru-RU" dirty="0">
                <a:solidFill>
                  <a:schemeClr val="accent3">
                    <a:lumMod val="50000"/>
                    <a:alpha val="55000"/>
                  </a:schemeClr>
                </a:solidFill>
              </a:rPr>
              <a:t>Граница зоны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7843A2C1-BECB-E74E-8E58-4C332DD6D0AF}"/>
              </a:ext>
            </a:extLst>
          </p:cNvPr>
          <p:cNvSpPr txBox="1"/>
          <p:nvPr/>
        </p:nvSpPr>
        <p:spPr>
          <a:xfrm>
            <a:off x="1881885" y="2635620"/>
            <a:ext cx="566181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500" i="1">
                <a:solidFill>
                  <a:schemeClr val="accent3">
                    <a:lumMod val="50000"/>
                    <a:alpha val="30000"/>
                  </a:schemeClr>
                </a:solidFill>
              </a:defRPr>
            </a:lvl1pPr>
          </a:lstStyle>
          <a:p>
            <a:r>
              <a:rPr lang="ru-RU" dirty="0">
                <a:solidFill>
                  <a:schemeClr val="accent3">
                    <a:lumMod val="50000"/>
                    <a:alpha val="55000"/>
                  </a:schemeClr>
                </a:solidFill>
              </a:rPr>
              <a:t>Граница зоны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5271FD28-F182-0F41-AAF3-DAD67829976B}"/>
              </a:ext>
            </a:extLst>
          </p:cNvPr>
          <p:cNvSpPr txBox="1"/>
          <p:nvPr/>
        </p:nvSpPr>
        <p:spPr>
          <a:xfrm>
            <a:off x="3621133" y="4708910"/>
            <a:ext cx="566181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500" i="1">
                <a:solidFill>
                  <a:schemeClr val="accent3">
                    <a:lumMod val="50000"/>
                    <a:alpha val="30000"/>
                  </a:schemeClr>
                </a:solidFill>
              </a:defRPr>
            </a:lvl1pPr>
          </a:lstStyle>
          <a:p>
            <a:r>
              <a:rPr lang="ru-RU" dirty="0">
                <a:solidFill>
                  <a:schemeClr val="accent3">
                    <a:lumMod val="50000"/>
                    <a:alpha val="55000"/>
                  </a:schemeClr>
                </a:solidFill>
              </a:rPr>
              <a:t>Граница зоны</a:t>
            </a: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C737C756-7E8F-534C-9C3F-A013A27ECE8B}"/>
              </a:ext>
            </a:extLst>
          </p:cNvPr>
          <p:cNvSpPr txBox="1"/>
          <p:nvPr/>
        </p:nvSpPr>
        <p:spPr>
          <a:xfrm>
            <a:off x="2537406" y="4665169"/>
            <a:ext cx="566181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500" i="1">
                <a:solidFill>
                  <a:schemeClr val="accent3">
                    <a:lumMod val="50000"/>
                    <a:alpha val="30000"/>
                  </a:schemeClr>
                </a:solidFill>
              </a:defRPr>
            </a:lvl1pPr>
          </a:lstStyle>
          <a:p>
            <a:r>
              <a:rPr lang="ru-RU" dirty="0">
                <a:solidFill>
                  <a:schemeClr val="accent3">
                    <a:lumMod val="50000"/>
                    <a:alpha val="55000"/>
                  </a:schemeClr>
                </a:solidFill>
              </a:rPr>
              <a:t>Граница зоны</a:t>
            </a:r>
          </a:p>
        </p:txBody>
      </p:sp>
      <p:graphicFrame>
        <p:nvGraphicFramePr>
          <p:cNvPr id="233" name="Таблица 232">
            <a:extLst>
              <a:ext uri="{FF2B5EF4-FFF2-40B4-BE49-F238E27FC236}">
                <a16:creationId xmlns:a16="http://schemas.microsoft.com/office/drawing/2014/main" id="{C50B8044-B989-344D-9C60-AB587D827CED}"/>
              </a:ext>
            </a:extLst>
          </p:cNvPr>
          <p:cNvGraphicFramePr>
            <a:graphicFrameLocks noGrp="1"/>
          </p:cNvGraphicFramePr>
          <p:nvPr/>
        </p:nvGraphicFramePr>
        <p:xfrm>
          <a:off x="5785227" y="4883049"/>
          <a:ext cx="3622974" cy="8305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402">
                  <a:extLst>
                    <a:ext uri="{9D8B030D-6E8A-4147-A177-3AD203B41FA5}">
                      <a16:colId xmlns:a16="http://schemas.microsoft.com/office/drawing/2014/main" val="247565039"/>
                    </a:ext>
                  </a:extLst>
                </a:gridCol>
                <a:gridCol w="770009">
                  <a:extLst>
                    <a:ext uri="{9D8B030D-6E8A-4147-A177-3AD203B41FA5}">
                      <a16:colId xmlns:a16="http://schemas.microsoft.com/office/drawing/2014/main" val="1515124674"/>
                    </a:ext>
                  </a:extLst>
                </a:gridCol>
                <a:gridCol w="800688">
                  <a:extLst>
                    <a:ext uri="{9D8B030D-6E8A-4147-A177-3AD203B41FA5}">
                      <a16:colId xmlns:a16="http://schemas.microsoft.com/office/drawing/2014/main" val="2927479651"/>
                    </a:ext>
                  </a:extLst>
                </a:gridCol>
                <a:gridCol w="747581">
                  <a:extLst>
                    <a:ext uri="{9D8B030D-6E8A-4147-A177-3AD203B41FA5}">
                      <a16:colId xmlns:a16="http://schemas.microsoft.com/office/drawing/2014/main" val="203568311"/>
                    </a:ext>
                  </a:extLst>
                </a:gridCol>
                <a:gridCol w="826294">
                  <a:extLst>
                    <a:ext uri="{9D8B030D-6E8A-4147-A177-3AD203B41FA5}">
                      <a16:colId xmlns:a16="http://schemas.microsoft.com/office/drawing/2014/main" val="4237385553"/>
                    </a:ext>
                  </a:extLst>
                </a:gridCol>
              </a:tblGrid>
              <a:tr h="37332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Всего станций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Станций с пересадкой на метро/МЦК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Пассажиропоток в границах Москвы, пасс./</a:t>
                      </a:r>
                      <a:r>
                        <a:rPr lang="ru-RU" sz="600" dirty="0" err="1">
                          <a:solidFill>
                            <a:schemeClr val="tx1"/>
                          </a:solidFill>
                          <a:latin typeface="+mj-lt"/>
                        </a:rPr>
                        <a:t>сут</a:t>
                      </a:r>
                      <a:endParaRPr lang="ru-RU" sz="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Пассажиропоток общий, пасс./</a:t>
                      </a:r>
                      <a:r>
                        <a:rPr lang="ru-RU" sz="600" dirty="0" err="1">
                          <a:solidFill>
                            <a:schemeClr val="tx1"/>
                          </a:solidFill>
                          <a:latin typeface="+mj-lt"/>
                        </a:rPr>
                        <a:t>сут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Размеры движения МЦД, 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пар поездов/</a:t>
                      </a:r>
                      <a:r>
                        <a:rPr lang="ru-RU" sz="600" dirty="0" err="1">
                          <a:solidFill>
                            <a:schemeClr val="tx1"/>
                          </a:solidFill>
                          <a:latin typeface="+mj-lt"/>
                        </a:rPr>
                        <a:t>сут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7850703"/>
                  </a:ext>
                </a:extLst>
              </a:tr>
              <a:tr h="37332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38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1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1</a:t>
                      </a:r>
                      <a:r>
                        <a:rPr lang="en-US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45</a:t>
                      </a: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 </a:t>
                      </a:r>
                      <a:r>
                        <a:rPr lang="en-US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961</a:t>
                      </a:r>
                      <a:r>
                        <a:rPr lang="ru-RU" sz="600" dirty="0">
                          <a:solidFill>
                            <a:srgbClr val="C00000"/>
                          </a:solidFill>
                          <a:latin typeface="+mj-lt"/>
                        </a:rPr>
                        <a:t>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– существующий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2</a:t>
                      </a:r>
                      <a:r>
                        <a:rPr lang="en-US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18 726</a:t>
                      </a:r>
                      <a:r>
                        <a:rPr lang="ru-RU" sz="600" dirty="0">
                          <a:solidFill>
                            <a:srgbClr val="C00000"/>
                          </a:solidFill>
                          <a:latin typeface="+mj-lt"/>
                        </a:rPr>
                        <a:t>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– по модели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  <a:latin typeface="+mj-lt"/>
                        </a:rPr>
                        <a:t> (2020)</a:t>
                      </a:r>
                      <a:endParaRPr lang="ru-RU" sz="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235 480</a:t>
                      </a:r>
                      <a:r>
                        <a:rPr lang="ru-RU" sz="600" dirty="0">
                          <a:solidFill>
                            <a:srgbClr val="C00000"/>
                          </a:solidFill>
                          <a:latin typeface="+mj-lt"/>
                        </a:rPr>
                        <a:t>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– существующий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319</a:t>
                      </a: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 </a:t>
                      </a:r>
                      <a:r>
                        <a:rPr lang="en-US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245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 – по модели</a:t>
                      </a:r>
                      <a:r>
                        <a:rPr lang="en-US" sz="600" dirty="0">
                          <a:solidFill>
                            <a:schemeClr val="tx1"/>
                          </a:solidFill>
                          <a:latin typeface="+mj-lt"/>
                        </a:rPr>
                        <a:t> (2020)</a:t>
                      </a:r>
                      <a:endParaRPr lang="ru-RU" sz="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94</a:t>
                      </a:r>
                      <a:r>
                        <a:rPr lang="ru-RU" sz="600" dirty="0">
                          <a:solidFill>
                            <a:srgbClr val="C00000"/>
                          </a:solidFill>
                          <a:latin typeface="+mj-lt"/>
                        </a:rPr>
                        <a:t>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– первый этап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600" b="1" dirty="0">
                          <a:solidFill>
                            <a:srgbClr val="C00000"/>
                          </a:solidFill>
                          <a:latin typeface="+mj-lt"/>
                        </a:rPr>
                        <a:t>165</a:t>
                      </a:r>
                      <a:r>
                        <a:rPr lang="ru-RU" sz="600" dirty="0">
                          <a:solidFill>
                            <a:srgbClr val="C00000"/>
                          </a:solidFill>
                          <a:latin typeface="+mj-lt"/>
                        </a:rPr>
                        <a:t> </a:t>
                      </a:r>
                      <a:r>
                        <a:rPr lang="ru-RU" sz="600" dirty="0">
                          <a:solidFill>
                            <a:schemeClr val="tx1"/>
                          </a:solidFill>
                          <a:latin typeface="+mj-lt"/>
                        </a:rPr>
                        <a:t>– целевой этап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222024"/>
                  </a:ext>
                </a:extLst>
              </a:tr>
            </a:tbl>
          </a:graphicData>
        </a:graphic>
      </p:graphicFrame>
      <p:grpSp>
        <p:nvGrpSpPr>
          <p:cNvPr id="234" name="Группа 233">
            <a:extLst>
              <a:ext uri="{FF2B5EF4-FFF2-40B4-BE49-F238E27FC236}">
                <a16:creationId xmlns:a16="http://schemas.microsoft.com/office/drawing/2014/main" id="{FB74F213-2136-8949-8529-555904FFBD87}"/>
              </a:ext>
            </a:extLst>
          </p:cNvPr>
          <p:cNvGrpSpPr/>
          <p:nvPr/>
        </p:nvGrpSpPr>
        <p:grpSpPr>
          <a:xfrm>
            <a:off x="2183521" y="395988"/>
            <a:ext cx="1503380" cy="1339698"/>
            <a:chOff x="3593033" y="156775"/>
            <a:chExt cx="1503380" cy="1339698"/>
          </a:xfrm>
        </p:grpSpPr>
        <p:sp>
          <p:nvSpPr>
            <p:cNvPr id="235" name="Прямоугольник 234">
              <a:extLst>
                <a:ext uri="{FF2B5EF4-FFF2-40B4-BE49-F238E27FC236}">
                  <a16:creationId xmlns:a16="http://schemas.microsoft.com/office/drawing/2014/main" id="{D6A23589-8E32-DC42-B97C-5D69FB142AD5}"/>
                </a:ext>
              </a:extLst>
            </p:cNvPr>
            <p:cNvSpPr/>
            <p:nvPr/>
          </p:nvSpPr>
          <p:spPr>
            <a:xfrm>
              <a:off x="3677698" y="252539"/>
              <a:ext cx="1337554" cy="1243934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accent1">
                  <a:lumMod val="50000"/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36" name="Прямоугольник 235">
              <a:extLst>
                <a:ext uri="{FF2B5EF4-FFF2-40B4-BE49-F238E27FC236}">
                  <a16:creationId xmlns:a16="http://schemas.microsoft.com/office/drawing/2014/main" id="{118E492F-F043-1349-BDB8-80B4F2600515}"/>
                </a:ext>
              </a:extLst>
            </p:cNvPr>
            <p:cNvSpPr/>
            <p:nvPr/>
          </p:nvSpPr>
          <p:spPr>
            <a:xfrm>
              <a:off x="3593033" y="156775"/>
              <a:ext cx="1503380" cy="24247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4150" algn="ctr"/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Размеры движения на Рижском направлении, пар поездов/</a:t>
              </a:r>
              <a:r>
                <a:rPr lang="ru-RU" sz="600" dirty="0" err="1">
                  <a:solidFill>
                    <a:schemeClr val="bg1"/>
                  </a:solidFill>
                  <a:latin typeface="+mj-lt"/>
                </a:rPr>
                <a:t>сут</a:t>
              </a:r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.</a:t>
              </a:r>
            </a:p>
          </p:txBody>
        </p:sp>
      </p:grpSp>
      <p:graphicFrame>
        <p:nvGraphicFramePr>
          <p:cNvPr id="237" name="Таблица 236">
            <a:extLst>
              <a:ext uri="{FF2B5EF4-FFF2-40B4-BE49-F238E27FC236}">
                <a16:creationId xmlns:a16="http://schemas.microsoft.com/office/drawing/2014/main" id="{7511E666-500A-094D-AD63-D9064B807365}"/>
              </a:ext>
            </a:extLst>
          </p:cNvPr>
          <p:cNvGraphicFramePr>
            <a:graphicFrameLocks noGrp="1"/>
          </p:cNvGraphicFramePr>
          <p:nvPr/>
        </p:nvGraphicFramePr>
        <p:xfrm>
          <a:off x="2264139" y="668885"/>
          <a:ext cx="1334050" cy="1066800"/>
        </p:xfrm>
        <a:graphic>
          <a:graphicData uri="http://schemas.openxmlformats.org/drawingml/2006/table">
            <a:tbl>
              <a:tblPr firstRow="1" bandRow="1">
                <a:noFill/>
                <a:tableStyleId>{2D5ABB26-0587-4C30-8999-92F81FD0307C}</a:tableStyleId>
              </a:tblPr>
              <a:tblGrid>
                <a:gridCol w="639036">
                  <a:extLst>
                    <a:ext uri="{9D8B030D-6E8A-4147-A177-3AD203B41FA5}">
                      <a16:colId xmlns:a16="http://schemas.microsoft.com/office/drawing/2014/main" val="1888242385"/>
                    </a:ext>
                  </a:extLst>
                </a:gridCol>
                <a:gridCol w="347507">
                  <a:extLst>
                    <a:ext uri="{9D8B030D-6E8A-4147-A177-3AD203B41FA5}">
                      <a16:colId xmlns:a16="http://schemas.microsoft.com/office/drawing/2014/main" val="4287278715"/>
                    </a:ext>
                  </a:extLst>
                </a:gridCol>
                <a:gridCol w="347507">
                  <a:extLst>
                    <a:ext uri="{9D8B030D-6E8A-4147-A177-3AD203B41FA5}">
                      <a16:colId xmlns:a16="http://schemas.microsoft.com/office/drawing/2014/main" val="3084681012"/>
                    </a:ext>
                  </a:extLst>
                </a:gridCol>
              </a:tblGrid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МЦД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94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65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667621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Пригородные диаметральные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56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0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23648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Дальние пригородные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74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97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2032710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Всего диаметральных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50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6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672235"/>
                  </a:ext>
                </a:extLst>
              </a:tr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chemeClr val="tx1"/>
                          </a:solidFill>
                        </a:rPr>
                        <a:t>Всего</a:t>
                      </a:r>
                      <a:endParaRPr lang="ru-RU" sz="500" b="1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68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rgbClr val="C00000"/>
                          </a:solidFill>
                        </a:rPr>
                        <a:t>262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0369880"/>
                  </a:ext>
                </a:extLst>
              </a:tr>
            </a:tbl>
          </a:graphicData>
        </a:graphic>
      </p:graphicFrame>
      <p:grpSp>
        <p:nvGrpSpPr>
          <p:cNvPr id="252" name="Группа 251">
            <a:extLst>
              <a:ext uri="{FF2B5EF4-FFF2-40B4-BE49-F238E27FC236}">
                <a16:creationId xmlns:a16="http://schemas.microsoft.com/office/drawing/2014/main" id="{DA667027-06B4-B140-AFA0-7A63C58C9D6F}"/>
              </a:ext>
            </a:extLst>
          </p:cNvPr>
          <p:cNvGrpSpPr/>
          <p:nvPr/>
        </p:nvGrpSpPr>
        <p:grpSpPr>
          <a:xfrm>
            <a:off x="1141957" y="3856679"/>
            <a:ext cx="1503380" cy="1339698"/>
            <a:chOff x="3593033" y="156775"/>
            <a:chExt cx="1503380" cy="1339698"/>
          </a:xfrm>
        </p:grpSpPr>
        <p:sp>
          <p:nvSpPr>
            <p:cNvPr id="253" name="Прямоугольник 252">
              <a:extLst>
                <a:ext uri="{FF2B5EF4-FFF2-40B4-BE49-F238E27FC236}">
                  <a16:creationId xmlns:a16="http://schemas.microsoft.com/office/drawing/2014/main" id="{86B4DF13-366C-2640-83E9-338963FA3E6F}"/>
                </a:ext>
              </a:extLst>
            </p:cNvPr>
            <p:cNvSpPr/>
            <p:nvPr/>
          </p:nvSpPr>
          <p:spPr>
            <a:xfrm>
              <a:off x="3677698" y="252539"/>
              <a:ext cx="1337554" cy="1243934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accent1">
                  <a:lumMod val="50000"/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54" name="Прямоугольник 253">
              <a:extLst>
                <a:ext uri="{FF2B5EF4-FFF2-40B4-BE49-F238E27FC236}">
                  <a16:creationId xmlns:a16="http://schemas.microsoft.com/office/drawing/2014/main" id="{7055E8C9-462B-FE4B-AFB8-099F5E611EFB}"/>
                </a:ext>
              </a:extLst>
            </p:cNvPr>
            <p:cNvSpPr/>
            <p:nvPr/>
          </p:nvSpPr>
          <p:spPr>
            <a:xfrm>
              <a:off x="3593033" y="156775"/>
              <a:ext cx="1503380" cy="24247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4150" algn="ctr"/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Размеры движения на Курском направлении, пар поездов/</a:t>
              </a:r>
              <a:r>
                <a:rPr lang="ru-RU" sz="600" dirty="0" err="1">
                  <a:solidFill>
                    <a:schemeClr val="bg1"/>
                  </a:solidFill>
                  <a:latin typeface="+mj-lt"/>
                </a:rPr>
                <a:t>сут</a:t>
              </a:r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.</a:t>
              </a:r>
            </a:p>
          </p:txBody>
        </p:sp>
      </p:grpSp>
      <p:graphicFrame>
        <p:nvGraphicFramePr>
          <p:cNvPr id="255" name="Таблица 254">
            <a:extLst>
              <a:ext uri="{FF2B5EF4-FFF2-40B4-BE49-F238E27FC236}">
                <a16:creationId xmlns:a16="http://schemas.microsoft.com/office/drawing/2014/main" id="{591DDB32-8BBF-B84A-B1CA-9D1F084127D4}"/>
              </a:ext>
            </a:extLst>
          </p:cNvPr>
          <p:cNvGraphicFramePr>
            <a:graphicFrameLocks noGrp="1"/>
          </p:cNvGraphicFramePr>
          <p:nvPr/>
        </p:nvGraphicFramePr>
        <p:xfrm>
          <a:off x="1222575" y="4129576"/>
          <a:ext cx="1334050" cy="1066800"/>
        </p:xfrm>
        <a:graphic>
          <a:graphicData uri="http://schemas.openxmlformats.org/drawingml/2006/table">
            <a:tbl>
              <a:tblPr firstRow="1" bandRow="1">
                <a:noFill/>
                <a:tableStyleId>{2D5ABB26-0587-4C30-8999-92F81FD0307C}</a:tableStyleId>
              </a:tblPr>
              <a:tblGrid>
                <a:gridCol w="639036">
                  <a:extLst>
                    <a:ext uri="{9D8B030D-6E8A-4147-A177-3AD203B41FA5}">
                      <a16:colId xmlns:a16="http://schemas.microsoft.com/office/drawing/2014/main" val="1888242385"/>
                    </a:ext>
                  </a:extLst>
                </a:gridCol>
                <a:gridCol w="347507">
                  <a:extLst>
                    <a:ext uri="{9D8B030D-6E8A-4147-A177-3AD203B41FA5}">
                      <a16:colId xmlns:a16="http://schemas.microsoft.com/office/drawing/2014/main" val="4287278715"/>
                    </a:ext>
                  </a:extLst>
                </a:gridCol>
                <a:gridCol w="347507">
                  <a:extLst>
                    <a:ext uri="{9D8B030D-6E8A-4147-A177-3AD203B41FA5}">
                      <a16:colId xmlns:a16="http://schemas.microsoft.com/office/drawing/2014/main" val="3084681012"/>
                    </a:ext>
                  </a:extLst>
                </a:gridCol>
              </a:tblGrid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МЦД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94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65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667621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Пригородные диаметральные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56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0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23648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Дальние пригородные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67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88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2032710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Всего диаметральных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50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6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672235"/>
                  </a:ext>
                </a:extLst>
              </a:tr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chemeClr val="tx1"/>
                          </a:solidFill>
                        </a:rPr>
                        <a:t>Всего</a:t>
                      </a:r>
                      <a:endParaRPr lang="ru-RU" sz="500" b="1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61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rgbClr val="C00000"/>
                          </a:solidFill>
                        </a:rPr>
                        <a:t>253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0369880"/>
                  </a:ext>
                </a:extLst>
              </a:tr>
            </a:tbl>
          </a:graphicData>
        </a:graphic>
      </p:graphicFrame>
      <p:grpSp>
        <p:nvGrpSpPr>
          <p:cNvPr id="320" name="Группа 319">
            <a:extLst>
              <a:ext uri="{FF2B5EF4-FFF2-40B4-BE49-F238E27FC236}">
                <a16:creationId xmlns:a16="http://schemas.microsoft.com/office/drawing/2014/main" id="{D97D8D12-702C-B84C-875B-8943A7AD9480}"/>
              </a:ext>
            </a:extLst>
          </p:cNvPr>
          <p:cNvGrpSpPr/>
          <p:nvPr/>
        </p:nvGrpSpPr>
        <p:grpSpPr>
          <a:xfrm>
            <a:off x="1458572" y="5054055"/>
            <a:ext cx="1029187" cy="426892"/>
            <a:chOff x="3635375" y="1442462"/>
            <a:chExt cx="1029187" cy="426892"/>
          </a:xfrm>
        </p:grpSpPr>
        <p:sp>
          <p:nvSpPr>
            <p:cNvPr id="321" name="Скругленный прямоугольник 320">
              <a:extLst>
                <a:ext uri="{FF2B5EF4-FFF2-40B4-BE49-F238E27FC236}">
                  <a16:creationId xmlns:a16="http://schemas.microsoft.com/office/drawing/2014/main" id="{1E729E46-0965-5C43-BDC2-4F58DDC99EEF}"/>
                </a:ext>
              </a:extLst>
            </p:cNvPr>
            <p:cNvSpPr/>
            <p:nvPr/>
          </p:nvSpPr>
          <p:spPr>
            <a:xfrm>
              <a:off x="4108289" y="1442462"/>
              <a:ext cx="211052" cy="104362"/>
            </a:xfrm>
            <a:prstGeom prst="roundRect">
              <a:avLst/>
            </a:prstGeom>
            <a:noFill/>
            <a:ln w="63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2" name="Скругленный прямоугольник 321">
              <a:extLst>
                <a:ext uri="{FF2B5EF4-FFF2-40B4-BE49-F238E27FC236}">
                  <a16:creationId xmlns:a16="http://schemas.microsoft.com/office/drawing/2014/main" id="{D2245DF4-A5A8-2544-ACF1-35FDEF483635}"/>
                </a:ext>
              </a:extLst>
            </p:cNvPr>
            <p:cNvSpPr/>
            <p:nvPr/>
          </p:nvSpPr>
          <p:spPr>
            <a:xfrm>
              <a:off x="4453510" y="1444318"/>
              <a:ext cx="211052" cy="104362"/>
            </a:xfrm>
            <a:prstGeom prst="roundRect">
              <a:avLst/>
            </a:prstGeom>
            <a:noFill/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23" name="Группа 322">
              <a:extLst>
                <a:ext uri="{FF2B5EF4-FFF2-40B4-BE49-F238E27FC236}">
                  <a16:creationId xmlns:a16="http://schemas.microsoft.com/office/drawing/2014/main" id="{141A4515-888E-5648-8C1B-34D0B46F7D0C}"/>
                </a:ext>
              </a:extLst>
            </p:cNvPr>
            <p:cNvGrpSpPr/>
            <p:nvPr/>
          </p:nvGrpSpPr>
          <p:grpSpPr>
            <a:xfrm>
              <a:off x="3635375" y="1595115"/>
              <a:ext cx="620017" cy="149826"/>
              <a:chOff x="3776366" y="2024999"/>
              <a:chExt cx="620017" cy="149826"/>
            </a:xfrm>
          </p:grpSpPr>
          <p:sp>
            <p:nvSpPr>
              <p:cNvPr id="333" name="Прямоугольник 332">
                <a:extLst>
                  <a:ext uri="{FF2B5EF4-FFF2-40B4-BE49-F238E27FC236}">
                    <a16:creationId xmlns:a16="http://schemas.microsoft.com/office/drawing/2014/main" id="{D8E8C636-54F2-A141-821C-8547A3F53283}"/>
                  </a:ext>
                </a:extLst>
              </p:cNvPr>
              <p:cNvSpPr/>
              <p:nvPr/>
            </p:nvSpPr>
            <p:spPr>
              <a:xfrm>
                <a:off x="3776366" y="2079544"/>
                <a:ext cx="620017" cy="95281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ru-RU" sz="600" dirty="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Первый этап</a:t>
                </a:r>
              </a:p>
            </p:txBody>
          </p:sp>
          <p:sp>
            <p:nvSpPr>
              <p:cNvPr id="334" name="Треугольник 333">
                <a:extLst>
                  <a:ext uri="{FF2B5EF4-FFF2-40B4-BE49-F238E27FC236}">
                    <a16:creationId xmlns:a16="http://schemas.microsoft.com/office/drawing/2014/main" id="{079262DC-517E-B743-9142-9ACD0056E6FB}"/>
                  </a:ext>
                </a:extLst>
              </p:cNvPr>
              <p:cNvSpPr/>
              <p:nvPr/>
            </p:nvSpPr>
            <p:spPr>
              <a:xfrm>
                <a:off x="4315377" y="2024999"/>
                <a:ext cx="80467" cy="56442"/>
              </a:xfrm>
              <a:prstGeom prst="triangle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324" name="Группа 323">
              <a:extLst>
                <a:ext uri="{FF2B5EF4-FFF2-40B4-BE49-F238E27FC236}">
                  <a16:creationId xmlns:a16="http://schemas.microsoft.com/office/drawing/2014/main" id="{7D4585E3-B1AC-8E41-9D3B-BE5668604701}"/>
                </a:ext>
              </a:extLst>
            </p:cNvPr>
            <p:cNvGrpSpPr/>
            <p:nvPr/>
          </p:nvGrpSpPr>
          <p:grpSpPr>
            <a:xfrm>
              <a:off x="3937108" y="1595896"/>
              <a:ext cx="665098" cy="273458"/>
              <a:chOff x="3937108" y="1592522"/>
              <a:chExt cx="665098" cy="273458"/>
            </a:xfrm>
          </p:grpSpPr>
          <p:grpSp>
            <p:nvGrpSpPr>
              <p:cNvPr id="325" name="Группа 324">
                <a:extLst>
                  <a:ext uri="{FF2B5EF4-FFF2-40B4-BE49-F238E27FC236}">
                    <a16:creationId xmlns:a16="http://schemas.microsoft.com/office/drawing/2014/main" id="{751BF7BF-7F88-6D43-A756-9A530DF43FCB}"/>
                  </a:ext>
                </a:extLst>
              </p:cNvPr>
              <p:cNvGrpSpPr/>
              <p:nvPr/>
            </p:nvGrpSpPr>
            <p:grpSpPr>
              <a:xfrm>
                <a:off x="3937108" y="1592522"/>
                <a:ext cx="665098" cy="273458"/>
                <a:chOff x="3728111" y="2021426"/>
                <a:chExt cx="665098" cy="273458"/>
              </a:xfrm>
            </p:grpSpPr>
            <p:sp>
              <p:nvSpPr>
                <p:cNvPr id="327" name="Прямоугольник 326">
                  <a:extLst>
                    <a:ext uri="{FF2B5EF4-FFF2-40B4-BE49-F238E27FC236}">
                      <a16:creationId xmlns:a16="http://schemas.microsoft.com/office/drawing/2014/main" id="{8059CB91-F5C8-C04E-AC73-A4CE228AF5F8}"/>
                    </a:ext>
                  </a:extLst>
                </p:cNvPr>
                <p:cNvSpPr/>
                <p:nvPr/>
              </p:nvSpPr>
              <p:spPr>
                <a:xfrm>
                  <a:off x="3728111" y="2199603"/>
                  <a:ext cx="665098" cy="95281"/>
                </a:xfrm>
                <a:prstGeom prst="rect">
                  <a:avLst/>
                </a:prstGeom>
                <a:solidFill>
                  <a:srgbClr val="C0000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r"/>
                  <a:r>
                    <a:rPr lang="ru-RU" sz="600" dirty="0">
                      <a:solidFill>
                        <a:schemeClr val="accent1">
                          <a:lumMod val="50000"/>
                        </a:schemeClr>
                      </a:solidFill>
                      <a:latin typeface="+mj-lt"/>
                    </a:rPr>
                    <a:t>Целевой этап</a:t>
                  </a:r>
                </a:p>
              </p:txBody>
            </p:sp>
            <p:sp>
              <p:nvSpPr>
                <p:cNvPr id="328" name="Треугольник 327">
                  <a:extLst>
                    <a:ext uri="{FF2B5EF4-FFF2-40B4-BE49-F238E27FC236}">
                      <a16:creationId xmlns:a16="http://schemas.microsoft.com/office/drawing/2014/main" id="{4B186D12-5A04-C24D-A0E8-D425B8BA1EA7}"/>
                    </a:ext>
                  </a:extLst>
                </p:cNvPr>
                <p:cNvSpPr/>
                <p:nvPr/>
              </p:nvSpPr>
              <p:spPr>
                <a:xfrm>
                  <a:off x="4312003" y="2021426"/>
                  <a:ext cx="80467" cy="56442"/>
                </a:xfrm>
                <a:prstGeom prst="triangle">
                  <a:avLst/>
                </a:prstGeom>
                <a:solidFill>
                  <a:srgbClr val="C0000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326" name="Прямоугольник 325">
                <a:extLst>
                  <a:ext uri="{FF2B5EF4-FFF2-40B4-BE49-F238E27FC236}">
                    <a16:creationId xmlns:a16="http://schemas.microsoft.com/office/drawing/2014/main" id="{B15BAE0F-92A1-2F47-837F-F00166D7C039}"/>
                  </a:ext>
                </a:extLst>
              </p:cNvPr>
              <p:cNvSpPr/>
              <p:nvPr/>
            </p:nvSpPr>
            <p:spPr>
              <a:xfrm>
                <a:off x="4521000" y="1649793"/>
                <a:ext cx="80467" cy="123825"/>
              </a:xfrm>
              <a:prstGeom prst="rect">
                <a:avLst/>
              </a:prstGeom>
              <a:solidFill>
                <a:srgbClr val="C0000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ru-RU" sz="600">
                  <a:solidFill>
                    <a:schemeClr val="accent1">
                      <a:lumMod val="50000"/>
                    </a:schemeClr>
                  </a:solidFill>
                  <a:latin typeface="+mj-lt"/>
                </a:endParaRPr>
              </a:p>
            </p:txBody>
          </p:sp>
        </p:grpSp>
      </p:grpSp>
      <p:grpSp>
        <p:nvGrpSpPr>
          <p:cNvPr id="335" name="Группа 334">
            <a:extLst>
              <a:ext uri="{FF2B5EF4-FFF2-40B4-BE49-F238E27FC236}">
                <a16:creationId xmlns:a16="http://schemas.microsoft.com/office/drawing/2014/main" id="{5A411DC7-7688-3045-B4A6-CF856AFB2B36}"/>
              </a:ext>
            </a:extLst>
          </p:cNvPr>
          <p:cNvGrpSpPr/>
          <p:nvPr/>
        </p:nvGrpSpPr>
        <p:grpSpPr>
          <a:xfrm>
            <a:off x="2493226" y="1595567"/>
            <a:ext cx="1029187" cy="426892"/>
            <a:chOff x="3635375" y="1442462"/>
            <a:chExt cx="1029187" cy="426892"/>
          </a:xfrm>
        </p:grpSpPr>
        <p:sp>
          <p:nvSpPr>
            <p:cNvPr id="336" name="Скругленный прямоугольник 335">
              <a:extLst>
                <a:ext uri="{FF2B5EF4-FFF2-40B4-BE49-F238E27FC236}">
                  <a16:creationId xmlns:a16="http://schemas.microsoft.com/office/drawing/2014/main" id="{A298EDCA-F364-6F46-9F7F-87BFCD7E9408}"/>
                </a:ext>
              </a:extLst>
            </p:cNvPr>
            <p:cNvSpPr/>
            <p:nvPr/>
          </p:nvSpPr>
          <p:spPr>
            <a:xfrm>
              <a:off x="4108289" y="1442462"/>
              <a:ext cx="211052" cy="104362"/>
            </a:xfrm>
            <a:prstGeom prst="roundRect">
              <a:avLst/>
            </a:prstGeom>
            <a:noFill/>
            <a:ln w="63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2" name="Скругленный прямоугольник 341">
              <a:extLst>
                <a:ext uri="{FF2B5EF4-FFF2-40B4-BE49-F238E27FC236}">
                  <a16:creationId xmlns:a16="http://schemas.microsoft.com/office/drawing/2014/main" id="{E8C9E181-84B8-5744-BB30-4CAE79D44292}"/>
                </a:ext>
              </a:extLst>
            </p:cNvPr>
            <p:cNvSpPr/>
            <p:nvPr/>
          </p:nvSpPr>
          <p:spPr>
            <a:xfrm>
              <a:off x="4453510" y="1444318"/>
              <a:ext cx="211052" cy="104362"/>
            </a:xfrm>
            <a:prstGeom prst="roundRect">
              <a:avLst/>
            </a:prstGeom>
            <a:noFill/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43" name="Группа 342">
              <a:extLst>
                <a:ext uri="{FF2B5EF4-FFF2-40B4-BE49-F238E27FC236}">
                  <a16:creationId xmlns:a16="http://schemas.microsoft.com/office/drawing/2014/main" id="{01F28886-3464-CF44-AFCC-A2E0592839DF}"/>
                </a:ext>
              </a:extLst>
            </p:cNvPr>
            <p:cNvGrpSpPr/>
            <p:nvPr/>
          </p:nvGrpSpPr>
          <p:grpSpPr>
            <a:xfrm>
              <a:off x="3635375" y="1595115"/>
              <a:ext cx="620017" cy="149826"/>
              <a:chOff x="3776366" y="2024999"/>
              <a:chExt cx="620017" cy="149826"/>
            </a:xfrm>
          </p:grpSpPr>
          <p:sp>
            <p:nvSpPr>
              <p:cNvPr id="349" name="Прямоугольник 348">
                <a:extLst>
                  <a:ext uri="{FF2B5EF4-FFF2-40B4-BE49-F238E27FC236}">
                    <a16:creationId xmlns:a16="http://schemas.microsoft.com/office/drawing/2014/main" id="{CC3E1DD1-9679-D747-91A0-6C59B26F0CED}"/>
                  </a:ext>
                </a:extLst>
              </p:cNvPr>
              <p:cNvSpPr/>
              <p:nvPr/>
            </p:nvSpPr>
            <p:spPr>
              <a:xfrm>
                <a:off x="3776366" y="2079544"/>
                <a:ext cx="620017" cy="95281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ru-RU" sz="600" dirty="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Первый этап</a:t>
                </a:r>
              </a:p>
            </p:txBody>
          </p:sp>
          <p:sp>
            <p:nvSpPr>
              <p:cNvPr id="350" name="Треугольник 349">
                <a:extLst>
                  <a:ext uri="{FF2B5EF4-FFF2-40B4-BE49-F238E27FC236}">
                    <a16:creationId xmlns:a16="http://schemas.microsoft.com/office/drawing/2014/main" id="{389CEB64-EC31-0947-B17F-E97FB0D2B43B}"/>
                  </a:ext>
                </a:extLst>
              </p:cNvPr>
              <p:cNvSpPr/>
              <p:nvPr/>
            </p:nvSpPr>
            <p:spPr>
              <a:xfrm>
                <a:off x="4315377" y="2024999"/>
                <a:ext cx="80467" cy="56442"/>
              </a:xfrm>
              <a:prstGeom prst="triangle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344" name="Группа 343">
              <a:extLst>
                <a:ext uri="{FF2B5EF4-FFF2-40B4-BE49-F238E27FC236}">
                  <a16:creationId xmlns:a16="http://schemas.microsoft.com/office/drawing/2014/main" id="{346A89B3-4D95-B94D-977E-189D4F93A795}"/>
                </a:ext>
              </a:extLst>
            </p:cNvPr>
            <p:cNvGrpSpPr/>
            <p:nvPr/>
          </p:nvGrpSpPr>
          <p:grpSpPr>
            <a:xfrm>
              <a:off x="3937108" y="1595896"/>
              <a:ext cx="665098" cy="273458"/>
              <a:chOff x="3937108" y="1592522"/>
              <a:chExt cx="665098" cy="273458"/>
            </a:xfrm>
          </p:grpSpPr>
          <p:grpSp>
            <p:nvGrpSpPr>
              <p:cNvPr id="345" name="Группа 344">
                <a:extLst>
                  <a:ext uri="{FF2B5EF4-FFF2-40B4-BE49-F238E27FC236}">
                    <a16:creationId xmlns:a16="http://schemas.microsoft.com/office/drawing/2014/main" id="{438C8AC1-994F-F04D-A03F-05502DBDC9A7}"/>
                  </a:ext>
                </a:extLst>
              </p:cNvPr>
              <p:cNvGrpSpPr/>
              <p:nvPr/>
            </p:nvGrpSpPr>
            <p:grpSpPr>
              <a:xfrm>
                <a:off x="3937108" y="1592522"/>
                <a:ext cx="665098" cy="273458"/>
                <a:chOff x="3728111" y="2021426"/>
                <a:chExt cx="665098" cy="273458"/>
              </a:xfrm>
            </p:grpSpPr>
            <p:sp>
              <p:nvSpPr>
                <p:cNvPr id="347" name="Прямоугольник 346">
                  <a:extLst>
                    <a:ext uri="{FF2B5EF4-FFF2-40B4-BE49-F238E27FC236}">
                      <a16:creationId xmlns:a16="http://schemas.microsoft.com/office/drawing/2014/main" id="{83AC7DA1-C217-8243-8BD9-CA524FE36715}"/>
                    </a:ext>
                  </a:extLst>
                </p:cNvPr>
                <p:cNvSpPr/>
                <p:nvPr/>
              </p:nvSpPr>
              <p:spPr>
                <a:xfrm>
                  <a:off x="3728111" y="2199603"/>
                  <a:ext cx="665098" cy="95281"/>
                </a:xfrm>
                <a:prstGeom prst="rect">
                  <a:avLst/>
                </a:prstGeom>
                <a:solidFill>
                  <a:srgbClr val="C0000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r"/>
                  <a:r>
                    <a:rPr lang="ru-RU" sz="600" dirty="0">
                      <a:solidFill>
                        <a:schemeClr val="accent1">
                          <a:lumMod val="50000"/>
                        </a:schemeClr>
                      </a:solidFill>
                      <a:latin typeface="+mj-lt"/>
                    </a:rPr>
                    <a:t>Целевой этап</a:t>
                  </a:r>
                </a:p>
              </p:txBody>
            </p:sp>
            <p:sp>
              <p:nvSpPr>
                <p:cNvPr id="348" name="Треугольник 347">
                  <a:extLst>
                    <a:ext uri="{FF2B5EF4-FFF2-40B4-BE49-F238E27FC236}">
                      <a16:creationId xmlns:a16="http://schemas.microsoft.com/office/drawing/2014/main" id="{AB374211-A5F7-8047-AB79-029CEF7D6D58}"/>
                    </a:ext>
                  </a:extLst>
                </p:cNvPr>
                <p:cNvSpPr/>
                <p:nvPr/>
              </p:nvSpPr>
              <p:spPr>
                <a:xfrm>
                  <a:off x="4312003" y="2021426"/>
                  <a:ext cx="80467" cy="56442"/>
                </a:xfrm>
                <a:prstGeom prst="triangle">
                  <a:avLst/>
                </a:prstGeom>
                <a:solidFill>
                  <a:srgbClr val="C0000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346" name="Прямоугольник 345">
                <a:extLst>
                  <a:ext uri="{FF2B5EF4-FFF2-40B4-BE49-F238E27FC236}">
                    <a16:creationId xmlns:a16="http://schemas.microsoft.com/office/drawing/2014/main" id="{639E0833-786F-DF4E-B9E6-B9C721AD149D}"/>
                  </a:ext>
                </a:extLst>
              </p:cNvPr>
              <p:cNvSpPr/>
              <p:nvPr/>
            </p:nvSpPr>
            <p:spPr>
              <a:xfrm>
                <a:off x="4521000" y="1649793"/>
                <a:ext cx="80467" cy="123825"/>
              </a:xfrm>
              <a:prstGeom prst="rect">
                <a:avLst/>
              </a:prstGeom>
              <a:solidFill>
                <a:srgbClr val="C0000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r"/>
                <a:endParaRPr lang="ru-RU" sz="600">
                  <a:solidFill>
                    <a:schemeClr val="accent1">
                      <a:lumMod val="50000"/>
                    </a:schemeClr>
                  </a:solidFill>
                  <a:latin typeface="+mj-lt"/>
                </a:endParaRPr>
              </a:p>
            </p:txBody>
          </p:sp>
        </p:grpSp>
      </p:grpSp>
      <p:grpSp>
        <p:nvGrpSpPr>
          <p:cNvPr id="243" name="Группа 242">
            <a:extLst>
              <a:ext uri="{FF2B5EF4-FFF2-40B4-BE49-F238E27FC236}">
                <a16:creationId xmlns:a16="http://schemas.microsoft.com/office/drawing/2014/main" id="{3B209E57-248F-DA4A-BFD1-4B8E11FE818D}"/>
              </a:ext>
            </a:extLst>
          </p:cNvPr>
          <p:cNvGrpSpPr/>
          <p:nvPr/>
        </p:nvGrpSpPr>
        <p:grpSpPr>
          <a:xfrm>
            <a:off x="100910" y="2449612"/>
            <a:ext cx="1168243" cy="563101"/>
            <a:chOff x="55619" y="1650925"/>
            <a:chExt cx="1877777" cy="591360"/>
          </a:xfrm>
        </p:grpSpPr>
        <p:sp>
          <p:nvSpPr>
            <p:cNvPr id="244" name="Прямоугольник 243">
              <a:extLst>
                <a:ext uri="{FF2B5EF4-FFF2-40B4-BE49-F238E27FC236}">
                  <a16:creationId xmlns:a16="http://schemas.microsoft.com/office/drawing/2014/main" id="{17A7622F-9158-C946-9705-117DD484396A}"/>
                </a:ext>
              </a:extLst>
            </p:cNvPr>
            <p:cNvSpPr/>
            <p:nvPr/>
          </p:nvSpPr>
          <p:spPr>
            <a:xfrm>
              <a:off x="133998" y="1650925"/>
              <a:ext cx="1671990" cy="573022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accent1">
                  <a:lumMod val="50000"/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F0375894-29D1-5F45-B415-FEA6227155C4}"/>
                </a:ext>
              </a:extLst>
            </p:cNvPr>
            <p:cNvSpPr txBox="1"/>
            <p:nvPr/>
          </p:nvSpPr>
          <p:spPr>
            <a:xfrm>
              <a:off x="55619" y="1661864"/>
              <a:ext cx="1855297" cy="4848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600" dirty="0">
                  <a:latin typeface="+mj-lt"/>
                </a:rPr>
                <a:t>Расчетный пассажиропоток автобусов, пересекающих границу Москвы</a:t>
              </a:r>
            </a:p>
            <a:p>
              <a:pPr algn="ctr"/>
              <a:endParaRPr lang="ru-RU" sz="600" dirty="0">
                <a:latin typeface="+mj-lt"/>
              </a:endParaRPr>
            </a:p>
          </p:txBody>
        </p:sp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DC81024A-7563-7B46-9339-A393EA8663AD}"/>
                </a:ext>
              </a:extLst>
            </p:cNvPr>
            <p:cNvSpPr txBox="1"/>
            <p:nvPr/>
          </p:nvSpPr>
          <p:spPr>
            <a:xfrm>
              <a:off x="471955" y="1999869"/>
              <a:ext cx="1461441" cy="2424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900" dirty="0">
                  <a:solidFill>
                    <a:srgbClr val="203864"/>
                  </a:solidFill>
                  <a:latin typeface="+mj-lt"/>
                </a:rPr>
                <a:t>15</a:t>
              </a:r>
              <a:r>
                <a:rPr lang="en-US" sz="900" dirty="0">
                  <a:solidFill>
                    <a:srgbClr val="203864"/>
                  </a:solidFill>
                  <a:latin typeface="+mj-lt"/>
                </a:rPr>
                <a:t> </a:t>
              </a:r>
              <a:r>
                <a:rPr lang="ru-RU" sz="900" dirty="0">
                  <a:solidFill>
                    <a:srgbClr val="203864"/>
                  </a:solidFill>
                  <a:latin typeface="+mj-lt"/>
                </a:rPr>
                <a:t>565 чел/сут.</a:t>
              </a:r>
            </a:p>
          </p:txBody>
        </p:sp>
      </p:grpSp>
      <p:pic>
        <p:nvPicPr>
          <p:cNvPr id="247" name="Рисунок 246" descr="Bus">
            <a:extLst>
              <a:ext uri="{FF2B5EF4-FFF2-40B4-BE49-F238E27FC236}">
                <a16:creationId xmlns:a16="http://schemas.microsoft.com/office/drawing/2014/main" id="{04DFF193-28B1-5A4B-A2B5-F035A8D22EA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0655" y="2785979"/>
            <a:ext cx="236447" cy="236447"/>
          </a:xfrm>
          <a:prstGeom prst="rect">
            <a:avLst/>
          </a:prstGeom>
        </p:spPr>
      </p:pic>
      <p:grpSp>
        <p:nvGrpSpPr>
          <p:cNvPr id="256" name="Группа 255">
            <a:extLst>
              <a:ext uri="{FF2B5EF4-FFF2-40B4-BE49-F238E27FC236}">
                <a16:creationId xmlns:a16="http://schemas.microsoft.com/office/drawing/2014/main" id="{3B209E57-248F-DA4A-BFD1-4B8E11FE818D}"/>
              </a:ext>
            </a:extLst>
          </p:cNvPr>
          <p:cNvGrpSpPr/>
          <p:nvPr/>
        </p:nvGrpSpPr>
        <p:grpSpPr>
          <a:xfrm>
            <a:off x="1668889" y="5550814"/>
            <a:ext cx="1168242" cy="563100"/>
            <a:chOff x="55619" y="1650925"/>
            <a:chExt cx="1877776" cy="591362"/>
          </a:xfrm>
        </p:grpSpPr>
        <p:sp>
          <p:nvSpPr>
            <p:cNvPr id="257" name="Прямоугольник 256">
              <a:extLst>
                <a:ext uri="{FF2B5EF4-FFF2-40B4-BE49-F238E27FC236}">
                  <a16:creationId xmlns:a16="http://schemas.microsoft.com/office/drawing/2014/main" id="{17A7622F-9158-C946-9705-117DD484396A}"/>
                </a:ext>
              </a:extLst>
            </p:cNvPr>
            <p:cNvSpPr/>
            <p:nvPr/>
          </p:nvSpPr>
          <p:spPr>
            <a:xfrm>
              <a:off x="133998" y="1650925"/>
              <a:ext cx="1671990" cy="573022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accent1">
                  <a:lumMod val="50000"/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F0375894-29D1-5F45-B415-FEA6227155C4}"/>
                </a:ext>
              </a:extLst>
            </p:cNvPr>
            <p:cNvSpPr txBox="1"/>
            <p:nvPr/>
          </p:nvSpPr>
          <p:spPr>
            <a:xfrm>
              <a:off x="55619" y="1664827"/>
              <a:ext cx="1855297" cy="38786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600" dirty="0"/>
                <a:t>Расчетный пассажиропоток автобусов, пересекающих границу Москвы</a:t>
              </a:r>
            </a:p>
          </p:txBody>
        </p:sp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DC81024A-7563-7B46-9339-A393EA8663AD}"/>
                </a:ext>
              </a:extLst>
            </p:cNvPr>
            <p:cNvSpPr txBox="1"/>
            <p:nvPr/>
          </p:nvSpPr>
          <p:spPr>
            <a:xfrm>
              <a:off x="471954" y="1999869"/>
              <a:ext cx="1461441" cy="2424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900" dirty="0">
                  <a:solidFill>
                    <a:srgbClr val="203864"/>
                  </a:solidFill>
                  <a:latin typeface="+mj-lt"/>
                </a:rPr>
                <a:t>29</a:t>
              </a:r>
              <a:r>
                <a:rPr lang="en-US" sz="900" dirty="0">
                  <a:solidFill>
                    <a:srgbClr val="203864"/>
                  </a:solidFill>
                  <a:latin typeface="+mj-lt"/>
                </a:rPr>
                <a:t> </a:t>
              </a:r>
              <a:r>
                <a:rPr lang="ru-RU" sz="900" dirty="0">
                  <a:solidFill>
                    <a:srgbClr val="203864"/>
                  </a:solidFill>
                  <a:latin typeface="+mj-lt"/>
                </a:rPr>
                <a:t>873 чел/сут.</a:t>
              </a:r>
            </a:p>
          </p:txBody>
        </p:sp>
      </p:grpSp>
      <p:pic>
        <p:nvPicPr>
          <p:cNvPr id="260" name="Рисунок 259" descr="Bus">
            <a:extLst>
              <a:ext uri="{FF2B5EF4-FFF2-40B4-BE49-F238E27FC236}">
                <a16:creationId xmlns:a16="http://schemas.microsoft.com/office/drawing/2014/main" id="{04DFF193-28B1-5A4B-A2B5-F035A8D22EA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54302" y="5887192"/>
            <a:ext cx="236447" cy="236447"/>
          </a:xfrm>
          <a:prstGeom prst="rect">
            <a:avLst/>
          </a:prstGeom>
        </p:spPr>
      </p:pic>
      <p:cxnSp>
        <p:nvCxnSpPr>
          <p:cNvPr id="261" name="Прямая соединительная линия 260"/>
          <p:cNvCxnSpPr>
            <a:endCxn id="5" idx="3"/>
          </p:cNvCxnSpPr>
          <p:nvPr/>
        </p:nvCxnSpPr>
        <p:spPr>
          <a:xfrm flipV="1">
            <a:off x="1876445" y="2180492"/>
            <a:ext cx="223660" cy="297859"/>
          </a:xfrm>
          <a:prstGeom prst="line">
            <a:avLst/>
          </a:prstGeom>
          <a:ln w="12700">
            <a:solidFill>
              <a:schemeClr val="accent1">
                <a:alpha val="50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олилиния 4"/>
          <p:cNvSpPr/>
          <p:nvPr/>
        </p:nvSpPr>
        <p:spPr>
          <a:xfrm>
            <a:off x="1977554" y="1969477"/>
            <a:ext cx="132600" cy="658167"/>
          </a:xfrm>
          <a:custGeom>
            <a:avLst/>
            <a:gdLst>
              <a:gd name="connsiteX0" fmla="*/ 132600 w 132600"/>
              <a:gd name="connsiteY0" fmla="*/ 0 h 658167"/>
              <a:gd name="connsiteX1" fmla="*/ 102455 w 132600"/>
              <a:gd name="connsiteY1" fmla="*/ 80387 h 658167"/>
              <a:gd name="connsiteX2" fmla="*/ 102455 w 132600"/>
              <a:gd name="connsiteY2" fmla="*/ 155749 h 658167"/>
              <a:gd name="connsiteX3" fmla="*/ 122551 w 132600"/>
              <a:gd name="connsiteY3" fmla="*/ 211015 h 658167"/>
              <a:gd name="connsiteX4" fmla="*/ 117527 w 132600"/>
              <a:gd name="connsiteY4" fmla="*/ 326571 h 658167"/>
              <a:gd name="connsiteX5" fmla="*/ 92406 w 132600"/>
              <a:gd name="connsiteY5" fmla="*/ 406958 h 658167"/>
              <a:gd name="connsiteX6" fmla="*/ 77334 w 132600"/>
              <a:gd name="connsiteY6" fmla="*/ 507442 h 658167"/>
              <a:gd name="connsiteX7" fmla="*/ 47189 w 132600"/>
              <a:gd name="connsiteY7" fmla="*/ 582804 h 658167"/>
              <a:gd name="connsiteX8" fmla="*/ 12020 w 132600"/>
              <a:gd name="connsiteY8" fmla="*/ 658167 h 65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600" h="658167">
                <a:moveTo>
                  <a:pt x="132600" y="0"/>
                </a:moveTo>
                <a:cubicBezTo>
                  <a:pt x="120039" y="27214"/>
                  <a:pt x="107479" y="54429"/>
                  <a:pt x="102455" y="80387"/>
                </a:cubicBezTo>
                <a:cubicBezTo>
                  <a:pt x="97431" y="106345"/>
                  <a:pt x="99106" y="133978"/>
                  <a:pt x="102455" y="155749"/>
                </a:cubicBezTo>
                <a:cubicBezTo>
                  <a:pt x="105804" y="177520"/>
                  <a:pt x="120039" y="182545"/>
                  <a:pt x="122551" y="211015"/>
                </a:cubicBezTo>
                <a:cubicBezTo>
                  <a:pt x="125063" y="239485"/>
                  <a:pt x="122551" y="293914"/>
                  <a:pt x="117527" y="326571"/>
                </a:cubicBezTo>
                <a:cubicBezTo>
                  <a:pt x="112503" y="359228"/>
                  <a:pt x="99105" y="376813"/>
                  <a:pt x="92406" y="406958"/>
                </a:cubicBezTo>
                <a:cubicBezTo>
                  <a:pt x="85707" y="437103"/>
                  <a:pt x="84870" y="478134"/>
                  <a:pt x="77334" y="507442"/>
                </a:cubicBezTo>
                <a:cubicBezTo>
                  <a:pt x="69798" y="536750"/>
                  <a:pt x="58075" y="557683"/>
                  <a:pt x="47189" y="582804"/>
                </a:cubicBezTo>
                <a:cubicBezTo>
                  <a:pt x="36303" y="607925"/>
                  <a:pt x="-25661" y="643095"/>
                  <a:pt x="12020" y="658167"/>
                </a:cubicBezTo>
              </a:path>
            </a:pathLst>
          </a:custGeom>
          <a:noFill/>
          <a:ln w="2540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66" name="Прямая соединительная линия 265">
            <a:extLst>
              <a:ext uri="{FF2B5EF4-FFF2-40B4-BE49-F238E27FC236}">
                <a16:creationId xmlns:a16="http://schemas.microsoft.com/office/drawing/2014/main" id="{F7107DD9-65DA-C445-A0B0-BDB0550AE09E}"/>
              </a:ext>
            </a:extLst>
          </p:cNvPr>
          <p:cNvCxnSpPr>
            <a:cxnSpLocks/>
          </p:cNvCxnSpPr>
          <p:nvPr/>
        </p:nvCxnSpPr>
        <p:spPr>
          <a:xfrm flipH="1">
            <a:off x="2163763" y="2142876"/>
            <a:ext cx="24481" cy="9979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xtBox 267">
            <a:extLst>
              <a:ext uri="{FF2B5EF4-FFF2-40B4-BE49-F238E27FC236}">
                <a16:creationId xmlns:a16="http://schemas.microsoft.com/office/drawing/2014/main" id="{21379CFD-AD2A-8845-B580-41C02829D167}"/>
              </a:ext>
            </a:extLst>
          </p:cNvPr>
          <p:cNvSpPr txBox="1"/>
          <p:nvPr/>
        </p:nvSpPr>
        <p:spPr>
          <a:xfrm>
            <a:off x="2090395" y="1990682"/>
            <a:ext cx="67678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Трикотажная</a:t>
            </a:r>
          </a:p>
        </p:txBody>
      </p:sp>
      <p:sp>
        <p:nvSpPr>
          <p:cNvPr id="14" name="Полилиния 13"/>
          <p:cNvSpPr/>
          <p:nvPr/>
        </p:nvSpPr>
        <p:spPr>
          <a:xfrm>
            <a:off x="3071553" y="4759036"/>
            <a:ext cx="627611" cy="101474"/>
          </a:xfrm>
          <a:custGeom>
            <a:avLst/>
            <a:gdLst>
              <a:gd name="connsiteX0" fmla="*/ 627611 w 627611"/>
              <a:gd name="connsiteY0" fmla="*/ 95597 h 101474"/>
              <a:gd name="connsiteX1" fmla="*/ 469669 w 627611"/>
              <a:gd name="connsiteY1" fmla="*/ 99753 h 101474"/>
              <a:gd name="connsiteX2" fmla="*/ 320040 w 627611"/>
              <a:gd name="connsiteY2" fmla="*/ 70659 h 101474"/>
              <a:gd name="connsiteX3" fmla="*/ 207818 w 627611"/>
              <a:gd name="connsiteY3" fmla="*/ 62346 h 101474"/>
              <a:gd name="connsiteX4" fmla="*/ 103909 w 627611"/>
              <a:gd name="connsiteY4" fmla="*/ 45720 h 101474"/>
              <a:gd name="connsiteX5" fmla="*/ 0 w 627611"/>
              <a:gd name="connsiteY5" fmla="*/ 0 h 101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7611" h="101474">
                <a:moveTo>
                  <a:pt x="627611" y="95597"/>
                </a:moveTo>
                <a:cubicBezTo>
                  <a:pt x="574271" y="99753"/>
                  <a:pt x="520931" y="103909"/>
                  <a:pt x="469669" y="99753"/>
                </a:cubicBezTo>
                <a:cubicBezTo>
                  <a:pt x="418407" y="95597"/>
                  <a:pt x="363682" y="76893"/>
                  <a:pt x="320040" y="70659"/>
                </a:cubicBezTo>
                <a:cubicBezTo>
                  <a:pt x="276398" y="64425"/>
                  <a:pt x="243840" y="66502"/>
                  <a:pt x="207818" y="62346"/>
                </a:cubicBezTo>
                <a:cubicBezTo>
                  <a:pt x="171796" y="58190"/>
                  <a:pt x="138545" y="56111"/>
                  <a:pt x="103909" y="45720"/>
                </a:cubicBezTo>
                <a:cubicBezTo>
                  <a:pt x="69273" y="35329"/>
                  <a:pt x="80356" y="18703"/>
                  <a:pt x="0" y="0"/>
                </a:cubicBezTo>
              </a:path>
            </a:pathLst>
          </a:custGeom>
          <a:noFill/>
          <a:ln w="2540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70" name="Прямая соединительная линия 269">
            <a:extLst>
              <a:ext uri="{FF2B5EF4-FFF2-40B4-BE49-F238E27FC236}">
                <a16:creationId xmlns:a16="http://schemas.microsoft.com/office/drawing/2014/main" id="{F5BB5625-6EA0-374E-A07C-0A8166D9F9EB}"/>
              </a:ext>
            </a:extLst>
          </p:cNvPr>
          <p:cNvCxnSpPr>
            <a:cxnSpLocks/>
          </p:cNvCxnSpPr>
          <p:nvPr/>
        </p:nvCxnSpPr>
        <p:spPr>
          <a:xfrm flipH="1" flipV="1">
            <a:off x="3314822" y="4864051"/>
            <a:ext cx="64741" cy="55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TextBox 272">
            <a:extLst>
              <a:ext uri="{FF2B5EF4-FFF2-40B4-BE49-F238E27FC236}">
                <a16:creationId xmlns:a16="http://schemas.microsoft.com/office/drawing/2014/main" id="{04533F24-7F22-9640-ABE1-0BEBFE3C5F9C}"/>
              </a:ext>
            </a:extLst>
          </p:cNvPr>
          <p:cNvSpPr txBox="1"/>
          <p:nvPr/>
        </p:nvSpPr>
        <p:spPr>
          <a:xfrm>
            <a:off x="3290446" y="4852010"/>
            <a:ext cx="40588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Битца</a:t>
            </a:r>
            <a:endParaRPr lang="ru-RU" sz="700" dirty="0">
              <a:latin typeface="+mj-lt"/>
            </a:endParaRP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04533F24-7F22-9640-ABE1-0BEBFE3C5F9C}"/>
              </a:ext>
            </a:extLst>
          </p:cNvPr>
          <p:cNvSpPr txBox="1"/>
          <p:nvPr/>
        </p:nvSpPr>
        <p:spPr>
          <a:xfrm>
            <a:off x="2568133" y="4451876"/>
            <a:ext cx="92525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Красный Строитель</a:t>
            </a:r>
          </a:p>
        </p:txBody>
      </p:sp>
      <p:cxnSp>
        <p:nvCxnSpPr>
          <p:cNvPr id="351" name="Прямая соединительная линия 350">
            <a:extLst>
              <a:ext uri="{FF2B5EF4-FFF2-40B4-BE49-F238E27FC236}">
                <a16:creationId xmlns:a16="http://schemas.microsoft.com/office/drawing/2014/main" id="{F5BB5625-6EA0-374E-A07C-0A8166D9F9EB}"/>
              </a:ext>
            </a:extLst>
          </p:cNvPr>
          <p:cNvCxnSpPr>
            <a:cxnSpLocks/>
          </p:cNvCxnSpPr>
          <p:nvPr/>
        </p:nvCxnSpPr>
        <p:spPr>
          <a:xfrm flipH="1" flipV="1">
            <a:off x="3275880" y="4612265"/>
            <a:ext cx="64741" cy="55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TextBox 238">
            <a:extLst>
              <a:ext uri="{FF2B5EF4-FFF2-40B4-BE49-F238E27FC236}">
                <a16:creationId xmlns:a16="http://schemas.microsoft.com/office/drawing/2014/main" id="{8C8AA1A6-1987-9240-A3F9-9226126E1AEE}"/>
              </a:ext>
            </a:extLst>
          </p:cNvPr>
          <p:cNvSpPr txBox="1"/>
          <p:nvPr/>
        </p:nvSpPr>
        <p:spPr>
          <a:xfrm>
            <a:off x="236313" y="840216"/>
            <a:ext cx="1608375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700" dirty="0">
                <a:latin typeface="+mj-lt"/>
              </a:rPr>
              <a:t>Потенциальный спрос из Нахабино, чел/</a:t>
            </a:r>
            <a:r>
              <a:rPr lang="ru-RU" sz="700" dirty="0" err="1">
                <a:latin typeface="+mj-lt"/>
              </a:rPr>
              <a:t>сут</a:t>
            </a:r>
            <a:r>
              <a:rPr lang="ru-RU" sz="700" dirty="0">
                <a:latin typeface="+mj-lt"/>
              </a:rPr>
              <a:t>.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3823F88F-E0C1-FF4A-8165-03ED525C817F}"/>
              </a:ext>
            </a:extLst>
          </p:cNvPr>
          <p:cNvGrpSpPr/>
          <p:nvPr/>
        </p:nvGrpSpPr>
        <p:grpSpPr>
          <a:xfrm>
            <a:off x="3253449" y="5181238"/>
            <a:ext cx="2012029" cy="890430"/>
            <a:chOff x="359902" y="4022197"/>
            <a:chExt cx="2012029" cy="890430"/>
          </a:xfrm>
        </p:grpSpPr>
        <p:grpSp>
          <p:nvGrpSpPr>
            <p:cNvPr id="195" name="Группа 194">
              <a:extLst>
                <a:ext uri="{FF2B5EF4-FFF2-40B4-BE49-F238E27FC236}">
                  <a16:creationId xmlns:a16="http://schemas.microsoft.com/office/drawing/2014/main" id="{388C82F7-EF2E-A649-B2E5-31287FABED29}"/>
                </a:ext>
              </a:extLst>
            </p:cNvPr>
            <p:cNvGrpSpPr/>
            <p:nvPr/>
          </p:nvGrpSpPr>
          <p:grpSpPr>
            <a:xfrm>
              <a:off x="359902" y="4026949"/>
              <a:ext cx="2012029" cy="885678"/>
              <a:chOff x="317704" y="4068070"/>
              <a:chExt cx="2012029" cy="885678"/>
            </a:xfrm>
          </p:grpSpPr>
          <p:sp>
            <p:nvSpPr>
              <p:cNvPr id="93" name="Прямоугольник 92">
                <a:extLst>
                  <a:ext uri="{FF2B5EF4-FFF2-40B4-BE49-F238E27FC236}">
                    <a16:creationId xmlns:a16="http://schemas.microsoft.com/office/drawing/2014/main" id="{7DA98242-BE44-F047-B8AE-3191AE0102E8}"/>
                  </a:ext>
                </a:extLst>
              </p:cNvPr>
              <p:cNvSpPr/>
              <p:nvPr/>
            </p:nvSpPr>
            <p:spPr>
              <a:xfrm>
                <a:off x="317709" y="4068070"/>
                <a:ext cx="1775997" cy="885678"/>
              </a:xfrm>
              <a:prstGeom prst="rect">
                <a:avLst/>
              </a:prstGeom>
              <a:solidFill>
                <a:schemeClr val="bg1">
                  <a:alpha val="72000"/>
                </a:schemeClr>
              </a:solidFill>
              <a:ln>
                <a:solidFill>
                  <a:schemeClr val="accent1">
                    <a:lumMod val="50000"/>
                    <a:alpha val="2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pic>
            <p:nvPicPr>
              <p:cNvPr id="84" name="Рисунок 83" descr="Streetcar">
                <a:extLst>
                  <a:ext uri="{FF2B5EF4-FFF2-40B4-BE49-F238E27FC236}">
                    <a16:creationId xmlns:a16="http://schemas.microsoft.com/office/drawing/2014/main" id="{C1C9ED83-8BA1-CF46-9BA8-65FC772C12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59142" y="4689884"/>
                <a:ext cx="205403" cy="205403"/>
              </a:xfrm>
              <a:prstGeom prst="rect">
                <a:avLst/>
              </a:prstGeom>
            </p:spPr>
          </p:pic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E07C6C51-DE3D-1B44-9217-1E8119BEE14E}"/>
                  </a:ext>
                </a:extLst>
              </p:cNvPr>
              <p:cNvSpPr txBox="1"/>
              <p:nvPr/>
            </p:nvSpPr>
            <p:spPr>
              <a:xfrm>
                <a:off x="1226006" y="4668276"/>
                <a:ext cx="63665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500" i="1" dirty="0"/>
                  <a:t>Валидации билетов ЦППК</a:t>
                </a:r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69B50640-D117-9640-A898-CEEB25F46E9D}"/>
                  </a:ext>
                </a:extLst>
              </p:cNvPr>
              <p:cNvSpPr txBox="1"/>
              <p:nvPr/>
            </p:nvSpPr>
            <p:spPr>
              <a:xfrm>
                <a:off x="759510" y="4684119"/>
                <a:ext cx="498855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900" dirty="0">
                    <a:latin typeface="+mj-lt"/>
                  </a:rPr>
                  <a:t>33 579</a:t>
                </a:r>
              </a:p>
            </p:txBody>
          </p:sp>
          <p:pic>
            <p:nvPicPr>
              <p:cNvPr id="88" name="Рисунок 87" descr="Bus">
                <a:extLst>
                  <a:ext uri="{FF2B5EF4-FFF2-40B4-BE49-F238E27FC236}">
                    <a16:creationId xmlns:a16="http://schemas.microsoft.com/office/drawing/2014/main" id="{419F700C-D991-1D41-AB93-1C5F223ED5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59142" y="4392037"/>
                <a:ext cx="236447" cy="236447"/>
              </a:xfrm>
              <a:prstGeom prst="rect">
                <a:avLst/>
              </a:prstGeom>
            </p:spPr>
          </p:pic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7D7C0C83-5034-D442-AB53-B769EEE0D541}"/>
                  </a:ext>
                </a:extLst>
              </p:cNvPr>
              <p:cNvSpPr txBox="1"/>
              <p:nvPr/>
            </p:nvSpPr>
            <p:spPr>
              <a:xfrm>
                <a:off x="1226006" y="4387813"/>
                <a:ext cx="92004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500" i="1" dirty="0"/>
                  <a:t>Натурные наблюдения населенности автобусов</a:t>
                </a:r>
              </a:p>
            </p:txBody>
          </p: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93365413-4A50-074D-AB72-CF47301B74D7}"/>
                  </a:ext>
                </a:extLst>
              </p:cNvPr>
              <p:cNvSpPr txBox="1"/>
              <p:nvPr/>
            </p:nvSpPr>
            <p:spPr>
              <a:xfrm>
                <a:off x="756393" y="4397652"/>
                <a:ext cx="498855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900" dirty="0">
                    <a:latin typeface="+mj-lt"/>
                  </a:rPr>
                  <a:t>12</a:t>
                </a:r>
                <a:r>
                  <a:rPr lang="ru-RU" sz="900" dirty="0">
                    <a:latin typeface="+mj-lt"/>
                  </a:rPr>
                  <a:t> </a:t>
                </a:r>
                <a:r>
                  <a:rPr lang="en-US" sz="900" dirty="0">
                    <a:latin typeface="+mj-lt"/>
                  </a:rPr>
                  <a:t>995</a:t>
                </a:r>
                <a:endParaRPr lang="ru-RU" sz="900" dirty="0">
                  <a:latin typeface="+mj-lt"/>
                </a:endParaRPr>
              </a:p>
            </p:txBody>
          </p:sp>
          <p:sp>
            <p:nvSpPr>
              <p:cNvPr id="114" name="Прямоугольник 113">
                <a:extLst>
                  <a:ext uri="{FF2B5EF4-FFF2-40B4-BE49-F238E27FC236}">
                    <a16:creationId xmlns:a16="http://schemas.microsoft.com/office/drawing/2014/main" id="{1D731702-49F7-7D4F-B6B0-266ADAEB2DFC}"/>
                  </a:ext>
                </a:extLst>
              </p:cNvPr>
              <p:cNvSpPr/>
              <p:nvPr/>
            </p:nvSpPr>
            <p:spPr>
              <a:xfrm>
                <a:off x="317704" y="4363171"/>
                <a:ext cx="1776002" cy="289067"/>
              </a:xfrm>
              <a:prstGeom prst="rect">
                <a:avLst/>
              </a:prstGeom>
              <a:noFill/>
              <a:ln w="12700">
                <a:solidFill>
                  <a:srgbClr val="C000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207FE8D9-1C0F-EF44-BA68-21B911EE52FA}"/>
                  </a:ext>
                </a:extLst>
              </p:cNvPr>
              <p:cNvSpPr txBox="1"/>
              <p:nvPr/>
            </p:nvSpPr>
            <p:spPr>
              <a:xfrm>
                <a:off x="2029651" y="4197048"/>
                <a:ext cx="30008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dirty="0">
                    <a:solidFill>
                      <a:srgbClr val="C00000"/>
                    </a:solidFill>
                  </a:rPr>
                  <a:t>*</a:t>
                </a:r>
              </a:p>
            </p:txBody>
          </p:sp>
        </p:grp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BC4C430D-86B1-4942-94DB-BC3E3E500902}"/>
                </a:ext>
              </a:extLst>
            </p:cNvPr>
            <p:cNvSpPr txBox="1"/>
            <p:nvPr/>
          </p:nvSpPr>
          <p:spPr>
            <a:xfrm>
              <a:off x="440903" y="4022197"/>
              <a:ext cx="1608375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700" dirty="0">
                  <a:latin typeface="+mj-lt"/>
                </a:rPr>
                <a:t>Потенциальный спрос из Подольска, чел/</a:t>
              </a:r>
              <a:r>
                <a:rPr lang="ru-RU" sz="700" dirty="0" err="1">
                  <a:latin typeface="+mj-lt"/>
                </a:rPr>
                <a:t>сут</a:t>
              </a:r>
              <a:r>
                <a:rPr lang="ru-RU" sz="700" dirty="0">
                  <a:latin typeface="+mj-lt"/>
                </a:rPr>
                <a:t>.</a:t>
              </a:r>
            </a:p>
          </p:txBody>
        </p:sp>
      </p:grpSp>
      <p:sp>
        <p:nvSpPr>
          <p:cNvPr id="15" name="Полилиния 14"/>
          <p:cNvSpPr/>
          <p:nvPr/>
        </p:nvSpPr>
        <p:spPr>
          <a:xfrm>
            <a:off x="2759623" y="4630003"/>
            <a:ext cx="492069" cy="1113152"/>
          </a:xfrm>
          <a:custGeom>
            <a:avLst/>
            <a:gdLst>
              <a:gd name="connsiteX0" fmla="*/ 61518 w 368593"/>
              <a:gd name="connsiteY0" fmla="*/ 1555845 h 1555845"/>
              <a:gd name="connsiteX1" fmla="*/ 54694 w 368593"/>
              <a:gd name="connsiteY1" fmla="*/ 1429603 h 1555845"/>
              <a:gd name="connsiteX2" fmla="*/ 34222 w 368593"/>
              <a:gd name="connsiteY2" fmla="*/ 1357952 h 1555845"/>
              <a:gd name="connsiteX3" fmla="*/ 6927 w 368593"/>
              <a:gd name="connsiteY3" fmla="*/ 1310185 h 1555845"/>
              <a:gd name="connsiteX4" fmla="*/ 103 w 368593"/>
              <a:gd name="connsiteY4" fmla="*/ 1201003 h 1555845"/>
              <a:gd name="connsiteX5" fmla="*/ 10339 w 368593"/>
              <a:gd name="connsiteY5" fmla="*/ 1061113 h 1555845"/>
              <a:gd name="connsiteX6" fmla="*/ 44458 w 368593"/>
              <a:gd name="connsiteY6" fmla="*/ 832513 h 1555845"/>
              <a:gd name="connsiteX7" fmla="*/ 88813 w 368593"/>
              <a:gd name="connsiteY7" fmla="*/ 532263 h 1555845"/>
              <a:gd name="connsiteX8" fmla="*/ 126345 w 368593"/>
              <a:gd name="connsiteY8" fmla="*/ 446964 h 1555845"/>
              <a:gd name="connsiteX9" fmla="*/ 235527 w 368593"/>
              <a:gd name="connsiteY9" fmla="*/ 327546 h 1555845"/>
              <a:gd name="connsiteX10" fmla="*/ 310590 w 368593"/>
              <a:gd name="connsiteY10" fmla="*/ 252484 h 1555845"/>
              <a:gd name="connsiteX11" fmla="*/ 337885 w 368593"/>
              <a:gd name="connsiteY11" fmla="*/ 160361 h 1555845"/>
              <a:gd name="connsiteX12" fmla="*/ 344709 w 368593"/>
              <a:gd name="connsiteY12" fmla="*/ 71651 h 1555845"/>
              <a:gd name="connsiteX13" fmla="*/ 368593 w 368593"/>
              <a:gd name="connsiteY13" fmla="*/ 0 h 1555845"/>
              <a:gd name="connsiteX0" fmla="*/ 54694 w 368593"/>
              <a:gd name="connsiteY0" fmla="*/ 1429603 h 1429603"/>
              <a:gd name="connsiteX1" fmla="*/ 34222 w 368593"/>
              <a:gd name="connsiteY1" fmla="*/ 1357952 h 1429603"/>
              <a:gd name="connsiteX2" fmla="*/ 6927 w 368593"/>
              <a:gd name="connsiteY2" fmla="*/ 1310185 h 1429603"/>
              <a:gd name="connsiteX3" fmla="*/ 103 w 368593"/>
              <a:gd name="connsiteY3" fmla="*/ 1201003 h 1429603"/>
              <a:gd name="connsiteX4" fmla="*/ 10339 w 368593"/>
              <a:gd name="connsiteY4" fmla="*/ 1061113 h 1429603"/>
              <a:gd name="connsiteX5" fmla="*/ 44458 w 368593"/>
              <a:gd name="connsiteY5" fmla="*/ 832513 h 1429603"/>
              <a:gd name="connsiteX6" fmla="*/ 88813 w 368593"/>
              <a:gd name="connsiteY6" fmla="*/ 532263 h 1429603"/>
              <a:gd name="connsiteX7" fmla="*/ 126345 w 368593"/>
              <a:gd name="connsiteY7" fmla="*/ 446964 h 1429603"/>
              <a:gd name="connsiteX8" fmla="*/ 235527 w 368593"/>
              <a:gd name="connsiteY8" fmla="*/ 327546 h 1429603"/>
              <a:gd name="connsiteX9" fmla="*/ 310590 w 368593"/>
              <a:gd name="connsiteY9" fmla="*/ 252484 h 1429603"/>
              <a:gd name="connsiteX10" fmla="*/ 337885 w 368593"/>
              <a:gd name="connsiteY10" fmla="*/ 160361 h 1429603"/>
              <a:gd name="connsiteX11" fmla="*/ 344709 w 368593"/>
              <a:gd name="connsiteY11" fmla="*/ 71651 h 1429603"/>
              <a:gd name="connsiteX12" fmla="*/ 368593 w 368593"/>
              <a:gd name="connsiteY12" fmla="*/ 0 h 1429603"/>
              <a:gd name="connsiteX0" fmla="*/ 34222 w 368593"/>
              <a:gd name="connsiteY0" fmla="*/ 1357952 h 1357952"/>
              <a:gd name="connsiteX1" fmla="*/ 6927 w 368593"/>
              <a:gd name="connsiteY1" fmla="*/ 1310185 h 1357952"/>
              <a:gd name="connsiteX2" fmla="*/ 103 w 368593"/>
              <a:gd name="connsiteY2" fmla="*/ 1201003 h 1357952"/>
              <a:gd name="connsiteX3" fmla="*/ 10339 w 368593"/>
              <a:gd name="connsiteY3" fmla="*/ 1061113 h 1357952"/>
              <a:gd name="connsiteX4" fmla="*/ 44458 w 368593"/>
              <a:gd name="connsiteY4" fmla="*/ 832513 h 1357952"/>
              <a:gd name="connsiteX5" fmla="*/ 88813 w 368593"/>
              <a:gd name="connsiteY5" fmla="*/ 532263 h 1357952"/>
              <a:gd name="connsiteX6" fmla="*/ 126345 w 368593"/>
              <a:gd name="connsiteY6" fmla="*/ 446964 h 1357952"/>
              <a:gd name="connsiteX7" fmla="*/ 235527 w 368593"/>
              <a:gd name="connsiteY7" fmla="*/ 327546 h 1357952"/>
              <a:gd name="connsiteX8" fmla="*/ 310590 w 368593"/>
              <a:gd name="connsiteY8" fmla="*/ 252484 h 1357952"/>
              <a:gd name="connsiteX9" fmla="*/ 337885 w 368593"/>
              <a:gd name="connsiteY9" fmla="*/ 160361 h 1357952"/>
              <a:gd name="connsiteX10" fmla="*/ 344709 w 368593"/>
              <a:gd name="connsiteY10" fmla="*/ 71651 h 1357952"/>
              <a:gd name="connsiteX11" fmla="*/ 368593 w 368593"/>
              <a:gd name="connsiteY11" fmla="*/ 0 h 1357952"/>
              <a:gd name="connsiteX0" fmla="*/ 6927 w 368593"/>
              <a:gd name="connsiteY0" fmla="*/ 1310185 h 1310185"/>
              <a:gd name="connsiteX1" fmla="*/ 103 w 368593"/>
              <a:gd name="connsiteY1" fmla="*/ 1201003 h 1310185"/>
              <a:gd name="connsiteX2" fmla="*/ 10339 w 368593"/>
              <a:gd name="connsiteY2" fmla="*/ 1061113 h 1310185"/>
              <a:gd name="connsiteX3" fmla="*/ 44458 w 368593"/>
              <a:gd name="connsiteY3" fmla="*/ 832513 h 1310185"/>
              <a:gd name="connsiteX4" fmla="*/ 88813 w 368593"/>
              <a:gd name="connsiteY4" fmla="*/ 532263 h 1310185"/>
              <a:gd name="connsiteX5" fmla="*/ 126345 w 368593"/>
              <a:gd name="connsiteY5" fmla="*/ 446964 h 1310185"/>
              <a:gd name="connsiteX6" fmla="*/ 235527 w 368593"/>
              <a:gd name="connsiteY6" fmla="*/ 327546 h 1310185"/>
              <a:gd name="connsiteX7" fmla="*/ 310590 w 368593"/>
              <a:gd name="connsiteY7" fmla="*/ 252484 h 1310185"/>
              <a:gd name="connsiteX8" fmla="*/ 337885 w 368593"/>
              <a:gd name="connsiteY8" fmla="*/ 160361 h 1310185"/>
              <a:gd name="connsiteX9" fmla="*/ 344709 w 368593"/>
              <a:gd name="connsiteY9" fmla="*/ 71651 h 1310185"/>
              <a:gd name="connsiteX10" fmla="*/ 368593 w 368593"/>
              <a:gd name="connsiteY10" fmla="*/ 0 h 1310185"/>
              <a:gd name="connsiteX0" fmla="*/ 0 w 368490"/>
              <a:gd name="connsiteY0" fmla="*/ 1201003 h 1201003"/>
              <a:gd name="connsiteX1" fmla="*/ 10236 w 368490"/>
              <a:gd name="connsiteY1" fmla="*/ 1061113 h 1201003"/>
              <a:gd name="connsiteX2" fmla="*/ 44355 w 368490"/>
              <a:gd name="connsiteY2" fmla="*/ 832513 h 1201003"/>
              <a:gd name="connsiteX3" fmla="*/ 88710 w 368490"/>
              <a:gd name="connsiteY3" fmla="*/ 532263 h 1201003"/>
              <a:gd name="connsiteX4" fmla="*/ 126242 w 368490"/>
              <a:gd name="connsiteY4" fmla="*/ 446964 h 1201003"/>
              <a:gd name="connsiteX5" fmla="*/ 235424 w 368490"/>
              <a:gd name="connsiteY5" fmla="*/ 327546 h 1201003"/>
              <a:gd name="connsiteX6" fmla="*/ 310487 w 368490"/>
              <a:gd name="connsiteY6" fmla="*/ 252484 h 1201003"/>
              <a:gd name="connsiteX7" fmla="*/ 337782 w 368490"/>
              <a:gd name="connsiteY7" fmla="*/ 160361 h 1201003"/>
              <a:gd name="connsiteX8" fmla="*/ 344606 w 368490"/>
              <a:gd name="connsiteY8" fmla="*/ 71651 h 1201003"/>
              <a:gd name="connsiteX9" fmla="*/ 368490 w 368490"/>
              <a:gd name="connsiteY9" fmla="*/ 0 h 1201003"/>
              <a:gd name="connsiteX0" fmla="*/ 0 w 358254"/>
              <a:gd name="connsiteY0" fmla="*/ 1061113 h 1061113"/>
              <a:gd name="connsiteX1" fmla="*/ 34119 w 358254"/>
              <a:gd name="connsiteY1" fmla="*/ 832513 h 1061113"/>
              <a:gd name="connsiteX2" fmla="*/ 78474 w 358254"/>
              <a:gd name="connsiteY2" fmla="*/ 532263 h 1061113"/>
              <a:gd name="connsiteX3" fmla="*/ 116006 w 358254"/>
              <a:gd name="connsiteY3" fmla="*/ 446964 h 1061113"/>
              <a:gd name="connsiteX4" fmla="*/ 225188 w 358254"/>
              <a:gd name="connsiteY4" fmla="*/ 327546 h 1061113"/>
              <a:gd name="connsiteX5" fmla="*/ 300251 w 358254"/>
              <a:gd name="connsiteY5" fmla="*/ 252484 h 1061113"/>
              <a:gd name="connsiteX6" fmla="*/ 327546 w 358254"/>
              <a:gd name="connsiteY6" fmla="*/ 160361 h 1061113"/>
              <a:gd name="connsiteX7" fmla="*/ 334370 w 358254"/>
              <a:gd name="connsiteY7" fmla="*/ 71651 h 1061113"/>
              <a:gd name="connsiteX8" fmla="*/ 358254 w 358254"/>
              <a:gd name="connsiteY8" fmla="*/ 0 h 1061113"/>
              <a:gd name="connsiteX0" fmla="*/ 0 w 492069"/>
              <a:gd name="connsiteY0" fmla="*/ 1113152 h 1113152"/>
              <a:gd name="connsiteX1" fmla="*/ 167934 w 492069"/>
              <a:gd name="connsiteY1" fmla="*/ 832513 h 1113152"/>
              <a:gd name="connsiteX2" fmla="*/ 212289 w 492069"/>
              <a:gd name="connsiteY2" fmla="*/ 532263 h 1113152"/>
              <a:gd name="connsiteX3" fmla="*/ 249821 w 492069"/>
              <a:gd name="connsiteY3" fmla="*/ 446964 h 1113152"/>
              <a:gd name="connsiteX4" fmla="*/ 359003 w 492069"/>
              <a:gd name="connsiteY4" fmla="*/ 327546 h 1113152"/>
              <a:gd name="connsiteX5" fmla="*/ 434066 w 492069"/>
              <a:gd name="connsiteY5" fmla="*/ 252484 h 1113152"/>
              <a:gd name="connsiteX6" fmla="*/ 461361 w 492069"/>
              <a:gd name="connsiteY6" fmla="*/ 160361 h 1113152"/>
              <a:gd name="connsiteX7" fmla="*/ 468185 w 492069"/>
              <a:gd name="connsiteY7" fmla="*/ 71651 h 1113152"/>
              <a:gd name="connsiteX8" fmla="*/ 492069 w 492069"/>
              <a:gd name="connsiteY8" fmla="*/ 0 h 1113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2069" h="1113152">
                <a:moveTo>
                  <a:pt x="0" y="1113152"/>
                </a:moveTo>
                <a:cubicBezTo>
                  <a:pt x="7392" y="1051737"/>
                  <a:pt x="132553" y="929328"/>
                  <a:pt x="167934" y="832513"/>
                </a:cubicBezTo>
                <a:cubicBezTo>
                  <a:pt x="203315" y="735698"/>
                  <a:pt x="198641" y="596521"/>
                  <a:pt x="212289" y="532263"/>
                </a:cubicBezTo>
                <a:cubicBezTo>
                  <a:pt x="225937" y="468005"/>
                  <a:pt x="225369" y="481084"/>
                  <a:pt x="249821" y="446964"/>
                </a:cubicBezTo>
                <a:cubicBezTo>
                  <a:pt x="274273" y="412844"/>
                  <a:pt x="328296" y="359959"/>
                  <a:pt x="359003" y="327546"/>
                </a:cubicBezTo>
                <a:cubicBezTo>
                  <a:pt x="389710" y="295133"/>
                  <a:pt x="417006" y="280348"/>
                  <a:pt x="434066" y="252484"/>
                </a:cubicBezTo>
                <a:cubicBezTo>
                  <a:pt x="451126" y="224620"/>
                  <a:pt x="455675" y="190500"/>
                  <a:pt x="461361" y="160361"/>
                </a:cubicBezTo>
                <a:cubicBezTo>
                  <a:pt x="467047" y="130222"/>
                  <a:pt x="463067" y="98378"/>
                  <a:pt x="468185" y="71651"/>
                </a:cubicBezTo>
                <a:cubicBezTo>
                  <a:pt x="473303" y="44924"/>
                  <a:pt x="484108" y="26727"/>
                  <a:pt x="492069" y="0"/>
                </a:cubicBezTo>
              </a:path>
            </a:pathLst>
          </a:custGeom>
          <a:noFill/>
          <a:ln w="28575">
            <a:solidFill>
              <a:schemeClr val="accent1">
                <a:shade val="50000"/>
              </a:schemeClr>
            </a:solidFill>
            <a:headEnd type="diamond"/>
            <a:tailEnd type="stealt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олилиния 1"/>
          <p:cNvSpPr/>
          <p:nvPr/>
        </p:nvSpPr>
        <p:spPr>
          <a:xfrm>
            <a:off x="1183161" y="2354568"/>
            <a:ext cx="1182446" cy="216654"/>
          </a:xfrm>
          <a:custGeom>
            <a:avLst/>
            <a:gdLst>
              <a:gd name="connsiteX0" fmla="*/ 0 w 1363742"/>
              <a:gd name="connsiteY0" fmla="*/ 0 h 272231"/>
              <a:gd name="connsiteX1" fmla="*/ 151075 w 1363742"/>
              <a:gd name="connsiteY1" fmla="*/ 75538 h 272231"/>
              <a:gd name="connsiteX2" fmla="*/ 270344 w 1363742"/>
              <a:gd name="connsiteY2" fmla="*/ 166978 h 272231"/>
              <a:gd name="connsiteX3" fmla="*/ 329979 w 1363742"/>
              <a:gd name="connsiteY3" fmla="*/ 182880 h 272231"/>
              <a:gd name="connsiteX4" fmla="*/ 365760 w 1363742"/>
              <a:gd name="connsiteY4" fmla="*/ 254442 h 272231"/>
              <a:gd name="connsiteX5" fmla="*/ 413468 w 1363742"/>
              <a:gd name="connsiteY5" fmla="*/ 246491 h 272231"/>
              <a:gd name="connsiteX6" fmla="*/ 489005 w 1363742"/>
              <a:gd name="connsiteY6" fmla="*/ 210710 h 272231"/>
              <a:gd name="connsiteX7" fmla="*/ 540689 w 1363742"/>
              <a:gd name="connsiteY7" fmla="*/ 202758 h 272231"/>
              <a:gd name="connsiteX8" fmla="*/ 608275 w 1363742"/>
              <a:gd name="connsiteY8" fmla="*/ 270345 h 272231"/>
              <a:gd name="connsiteX9" fmla="*/ 723569 w 1363742"/>
              <a:gd name="connsiteY9" fmla="*/ 250466 h 272231"/>
              <a:gd name="connsiteX10" fmla="*/ 826936 w 1363742"/>
              <a:gd name="connsiteY10" fmla="*/ 218661 h 272231"/>
              <a:gd name="connsiteX11" fmla="*/ 866692 w 1363742"/>
              <a:gd name="connsiteY11" fmla="*/ 182880 h 272231"/>
              <a:gd name="connsiteX12" fmla="*/ 914400 w 1363742"/>
              <a:gd name="connsiteY12" fmla="*/ 111318 h 272231"/>
              <a:gd name="connsiteX13" fmla="*/ 1001864 w 1363742"/>
              <a:gd name="connsiteY13" fmla="*/ 67586 h 272231"/>
              <a:gd name="connsiteX14" fmla="*/ 1101256 w 1363742"/>
              <a:gd name="connsiteY14" fmla="*/ 55659 h 272231"/>
              <a:gd name="connsiteX15" fmla="*/ 1220525 w 1363742"/>
              <a:gd name="connsiteY15" fmla="*/ 71562 h 272231"/>
              <a:gd name="connsiteX16" fmla="*/ 1315941 w 1363742"/>
              <a:gd name="connsiteY16" fmla="*/ 95416 h 272231"/>
              <a:gd name="connsiteX17" fmla="*/ 1351722 w 1363742"/>
              <a:gd name="connsiteY17" fmla="*/ 115294 h 272231"/>
              <a:gd name="connsiteX0" fmla="*/ 0 w 1212667"/>
              <a:gd name="connsiteY0" fmla="*/ 19961 h 216654"/>
              <a:gd name="connsiteX1" fmla="*/ 119269 w 1212667"/>
              <a:gd name="connsiteY1" fmla="*/ 111401 h 216654"/>
              <a:gd name="connsiteX2" fmla="*/ 178904 w 1212667"/>
              <a:gd name="connsiteY2" fmla="*/ 127303 h 216654"/>
              <a:gd name="connsiteX3" fmla="*/ 214685 w 1212667"/>
              <a:gd name="connsiteY3" fmla="*/ 198865 h 216654"/>
              <a:gd name="connsiteX4" fmla="*/ 262393 w 1212667"/>
              <a:gd name="connsiteY4" fmla="*/ 190914 h 216654"/>
              <a:gd name="connsiteX5" fmla="*/ 337930 w 1212667"/>
              <a:gd name="connsiteY5" fmla="*/ 155133 h 216654"/>
              <a:gd name="connsiteX6" fmla="*/ 389614 w 1212667"/>
              <a:gd name="connsiteY6" fmla="*/ 147181 h 216654"/>
              <a:gd name="connsiteX7" fmla="*/ 457200 w 1212667"/>
              <a:gd name="connsiteY7" fmla="*/ 214768 h 216654"/>
              <a:gd name="connsiteX8" fmla="*/ 572494 w 1212667"/>
              <a:gd name="connsiteY8" fmla="*/ 194889 h 216654"/>
              <a:gd name="connsiteX9" fmla="*/ 675861 w 1212667"/>
              <a:gd name="connsiteY9" fmla="*/ 163084 h 216654"/>
              <a:gd name="connsiteX10" fmla="*/ 715617 w 1212667"/>
              <a:gd name="connsiteY10" fmla="*/ 127303 h 216654"/>
              <a:gd name="connsiteX11" fmla="*/ 763325 w 1212667"/>
              <a:gd name="connsiteY11" fmla="*/ 55741 h 216654"/>
              <a:gd name="connsiteX12" fmla="*/ 850789 w 1212667"/>
              <a:gd name="connsiteY12" fmla="*/ 12009 h 216654"/>
              <a:gd name="connsiteX13" fmla="*/ 950181 w 1212667"/>
              <a:gd name="connsiteY13" fmla="*/ 82 h 216654"/>
              <a:gd name="connsiteX14" fmla="*/ 1069450 w 1212667"/>
              <a:gd name="connsiteY14" fmla="*/ 15985 h 216654"/>
              <a:gd name="connsiteX15" fmla="*/ 1164866 w 1212667"/>
              <a:gd name="connsiteY15" fmla="*/ 39839 h 216654"/>
              <a:gd name="connsiteX16" fmla="*/ 1200647 w 1212667"/>
              <a:gd name="connsiteY16" fmla="*/ 59717 h 216654"/>
              <a:gd name="connsiteX0" fmla="*/ 0 w 1093398"/>
              <a:gd name="connsiteY0" fmla="*/ 111401 h 216654"/>
              <a:gd name="connsiteX1" fmla="*/ 59635 w 1093398"/>
              <a:gd name="connsiteY1" fmla="*/ 127303 h 216654"/>
              <a:gd name="connsiteX2" fmla="*/ 95416 w 1093398"/>
              <a:gd name="connsiteY2" fmla="*/ 198865 h 216654"/>
              <a:gd name="connsiteX3" fmla="*/ 143124 w 1093398"/>
              <a:gd name="connsiteY3" fmla="*/ 190914 h 216654"/>
              <a:gd name="connsiteX4" fmla="*/ 218661 w 1093398"/>
              <a:gd name="connsiteY4" fmla="*/ 155133 h 216654"/>
              <a:gd name="connsiteX5" fmla="*/ 270345 w 1093398"/>
              <a:gd name="connsiteY5" fmla="*/ 147181 h 216654"/>
              <a:gd name="connsiteX6" fmla="*/ 337931 w 1093398"/>
              <a:gd name="connsiteY6" fmla="*/ 214768 h 216654"/>
              <a:gd name="connsiteX7" fmla="*/ 453225 w 1093398"/>
              <a:gd name="connsiteY7" fmla="*/ 194889 h 216654"/>
              <a:gd name="connsiteX8" fmla="*/ 556592 w 1093398"/>
              <a:gd name="connsiteY8" fmla="*/ 163084 h 216654"/>
              <a:gd name="connsiteX9" fmla="*/ 596348 w 1093398"/>
              <a:gd name="connsiteY9" fmla="*/ 127303 h 216654"/>
              <a:gd name="connsiteX10" fmla="*/ 644056 w 1093398"/>
              <a:gd name="connsiteY10" fmla="*/ 55741 h 216654"/>
              <a:gd name="connsiteX11" fmla="*/ 731520 w 1093398"/>
              <a:gd name="connsiteY11" fmla="*/ 12009 h 216654"/>
              <a:gd name="connsiteX12" fmla="*/ 830912 w 1093398"/>
              <a:gd name="connsiteY12" fmla="*/ 82 h 216654"/>
              <a:gd name="connsiteX13" fmla="*/ 950181 w 1093398"/>
              <a:gd name="connsiteY13" fmla="*/ 15985 h 216654"/>
              <a:gd name="connsiteX14" fmla="*/ 1045597 w 1093398"/>
              <a:gd name="connsiteY14" fmla="*/ 39839 h 216654"/>
              <a:gd name="connsiteX15" fmla="*/ 1081378 w 1093398"/>
              <a:gd name="connsiteY15" fmla="*/ 59717 h 216654"/>
              <a:gd name="connsiteX0" fmla="*/ 0 w 1033763"/>
              <a:gd name="connsiteY0" fmla="*/ 127303 h 216654"/>
              <a:gd name="connsiteX1" fmla="*/ 35781 w 1033763"/>
              <a:gd name="connsiteY1" fmla="*/ 198865 h 216654"/>
              <a:gd name="connsiteX2" fmla="*/ 83489 w 1033763"/>
              <a:gd name="connsiteY2" fmla="*/ 190914 h 216654"/>
              <a:gd name="connsiteX3" fmla="*/ 159026 w 1033763"/>
              <a:gd name="connsiteY3" fmla="*/ 155133 h 216654"/>
              <a:gd name="connsiteX4" fmla="*/ 210710 w 1033763"/>
              <a:gd name="connsiteY4" fmla="*/ 147181 h 216654"/>
              <a:gd name="connsiteX5" fmla="*/ 278296 w 1033763"/>
              <a:gd name="connsiteY5" fmla="*/ 214768 h 216654"/>
              <a:gd name="connsiteX6" fmla="*/ 393590 w 1033763"/>
              <a:gd name="connsiteY6" fmla="*/ 194889 h 216654"/>
              <a:gd name="connsiteX7" fmla="*/ 496957 w 1033763"/>
              <a:gd name="connsiteY7" fmla="*/ 163084 h 216654"/>
              <a:gd name="connsiteX8" fmla="*/ 536713 w 1033763"/>
              <a:gd name="connsiteY8" fmla="*/ 127303 h 216654"/>
              <a:gd name="connsiteX9" fmla="*/ 584421 w 1033763"/>
              <a:gd name="connsiteY9" fmla="*/ 55741 h 216654"/>
              <a:gd name="connsiteX10" fmla="*/ 671885 w 1033763"/>
              <a:gd name="connsiteY10" fmla="*/ 12009 h 216654"/>
              <a:gd name="connsiteX11" fmla="*/ 771277 w 1033763"/>
              <a:gd name="connsiteY11" fmla="*/ 82 h 216654"/>
              <a:gd name="connsiteX12" fmla="*/ 890546 w 1033763"/>
              <a:gd name="connsiteY12" fmla="*/ 15985 h 216654"/>
              <a:gd name="connsiteX13" fmla="*/ 985962 w 1033763"/>
              <a:gd name="connsiteY13" fmla="*/ 39839 h 216654"/>
              <a:gd name="connsiteX14" fmla="*/ 1021743 w 1033763"/>
              <a:gd name="connsiteY14" fmla="*/ 59717 h 216654"/>
              <a:gd name="connsiteX0" fmla="*/ 0 w 1182446"/>
              <a:gd name="connsiteY0" fmla="*/ 171907 h 216654"/>
              <a:gd name="connsiteX1" fmla="*/ 184464 w 1182446"/>
              <a:gd name="connsiteY1" fmla="*/ 198865 h 216654"/>
              <a:gd name="connsiteX2" fmla="*/ 232172 w 1182446"/>
              <a:gd name="connsiteY2" fmla="*/ 190914 h 216654"/>
              <a:gd name="connsiteX3" fmla="*/ 307709 w 1182446"/>
              <a:gd name="connsiteY3" fmla="*/ 155133 h 216654"/>
              <a:gd name="connsiteX4" fmla="*/ 359393 w 1182446"/>
              <a:gd name="connsiteY4" fmla="*/ 147181 h 216654"/>
              <a:gd name="connsiteX5" fmla="*/ 426979 w 1182446"/>
              <a:gd name="connsiteY5" fmla="*/ 214768 h 216654"/>
              <a:gd name="connsiteX6" fmla="*/ 542273 w 1182446"/>
              <a:gd name="connsiteY6" fmla="*/ 194889 h 216654"/>
              <a:gd name="connsiteX7" fmla="*/ 645640 w 1182446"/>
              <a:gd name="connsiteY7" fmla="*/ 163084 h 216654"/>
              <a:gd name="connsiteX8" fmla="*/ 685396 w 1182446"/>
              <a:gd name="connsiteY8" fmla="*/ 127303 h 216654"/>
              <a:gd name="connsiteX9" fmla="*/ 733104 w 1182446"/>
              <a:gd name="connsiteY9" fmla="*/ 55741 h 216654"/>
              <a:gd name="connsiteX10" fmla="*/ 820568 w 1182446"/>
              <a:gd name="connsiteY10" fmla="*/ 12009 h 216654"/>
              <a:gd name="connsiteX11" fmla="*/ 919960 w 1182446"/>
              <a:gd name="connsiteY11" fmla="*/ 82 h 216654"/>
              <a:gd name="connsiteX12" fmla="*/ 1039229 w 1182446"/>
              <a:gd name="connsiteY12" fmla="*/ 15985 h 216654"/>
              <a:gd name="connsiteX13" fmla="*/ 1134645 w 1182446"/>
              <a:gd name="connsiteY13" fmla="*/ 39839 h 216654"/>
              <a:gd name="connsiteX14" fmla="*/ 1170426 w 1182446"/>
              <a:gd name="connsiteY14" fmla="*/ 59717 h 216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82446" h="216654">
                <a:moveTo>
                  <a:pt x="0" y="171907"/>
                </a:moveTo>
                <a:cubicBezTo>
                  <a:pt x="15903" y="186484"/>
                  <a:pt x="145769" y="195697"/>
                  <a:pt x="184464" y="198865"/>
                </a:cubicBezTo>
                <a:cubicBezTo>
                  <a:pt x="223159" y="202033"/>
                  <a:pt x="211631" y="198203"/>
                  <a:pt x="232172" y="190914"/>
                </a:cubicBezTo>
                <a:cubicBezTo>
                  <a:pt x="252713" y="183625"/>
                  <a:pt x="286506" y="162422"/>
                  <a:pt x="307709" y="155133"/>
                </a:cubicBezTo>
                <a:cubicBezTo>
                  <a:pt x="328912" y="147844"/>
                  <a:pt x="339515" y="137242"/>
                  <a:pt x="359393" y="147181"/>
                </a:cubicBezTo>
                <a:cubicBezTo>
                  <a:pt x="379271" y="157120"/>
                  <a:pt x="396499" y="206817"/>
                  <a:pt x="426979" y="214768"/>
                </a:cubicBezTo>
                <a:cubicBezTo>
                  <a:pt x="457459" y="222719"/>
                  <a:pt x="505830" y="203503"/>
                  <a:pt x="542273" y="194889"/>
                </a:cubicBezTo>
                <a:cubicBezTo>
                  <a:pt x="578717" y="186275"/>
                  <a:pt x="621786" y="174348"/>
                  <a:pt x="645640" y="163084"/>
                </a:cubicBezTo>
                <a:cubicBezTo>
                  <a:pt x="669494" y="151820"/>
                  <a:pt x="670819" y="145193"/>
                  <a:pt x="685396" y="127303"/>
                </a:cubicBezTo>
                <a:cubicBezTo>
                  <a:pt x="699973" y="109413"/>
                  <a:pt x="710575" y="74957"/>
                  <a:pt x="733104" y="55741"/>
                </a:cubicBezTo>
                <a:cubicBezTo>
                  <a:pt x="755633" y="36525"/>
                  <a:pt x="789425" y="21285"/>
                  <a:pt x="820568" y="12009"/>
                </a:cubicBezTo>
                <a:cubicBezTo>
                  <a:pt x="851711" y="2733"/>
                  <a:pt x="883517" y="-581"/>
                  <a:pt x="919960" y="82"/>
                </a:cubicBezTo>
                <a:cubicBezTo>
                  <a:pt x="956403" y="745"/>
                  <a:pt x="1003448" y="9359"/>
                  <a:pt x="1039229" y="15985"/>
                </a:cubicBezTo>
                <a:cubicBezTo>
                  <a:pt x="1075010" y="22611"/>
                  <a:pt x="1112779" y="32550"/>
                  <a:pt x="1134645" y="39839"/>
                </a:cubicBezTo>
                <a:cubicBezTo>
                  <a:pt x="1156511" y="47128"/>
                  <a:pt x="1204882" y="23273"/>
                  <a:pt x="1170426" y="59717"/>
                </a:cubicBezTo>
              </a:path>
            </a:pathLst>
          </a:custGeom>
          <a:noFill/>
          <a:ln w="28575">
            <a:solidFill>
              <a:schemeClr val="accent1">
                <a:shade val="50000"/>
              </a:schemeClr>
            </a:solidFill>
            <a:headEnd type="diamond"/>
            <a:tailEnd type="stealt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41" name="Таблица 240">
                <a:extLst>
                  <a:ext uri="{FF2B5EF4-FFF2-40B4-BE49-F238E27FC236}">
                    <a16:creationId xmlns:a16="http://schemas.microsoft.com/office/drawing/2014/main" id="{4F44194D-7448-B741-B40E-0F96852C78F2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5582763" y="943573"/>
              <a:ext cx="4118242" cy="3888916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1017163">
                      <a:extLst>
                        <a:ext uri="{9D8B030D-6E8A-4147-A177-3AD203B41FA5}">
                          <a16:colId xmlns:a16="http://schemas.microsoft.com/office/drawing/2014/main" val="3566004962"/>
                        </a:ext>
                      </a:extLst>
                    </a:gridCol>
                    <a:gridCol w="682374">
                      <a:extLst>
                        <a:ext uri="{9D8B030D-6E8A-4147-A177-3AD203B41FA5}">
                          <a16:colId xmlns:a16="http://schemas.microsoft.com/office/drawing/2014/main" val="1505389014"/>
                        </a:ext>
                      </a:extLst>
                    </a:gridCol>
                    <a:gridCol w="791912">
                      <a:extLst>
                        <a:ext uri="{9D8B030D-6E8A-4147-A177-3AD203B41FA5}">
                          <a16:colId xmlns:a16="http://schemas.microsoft.com/office/drawing/2014/main" val="2860237255"/>
                        </a:ext>
                      </a:extLst>
                    </a:gridCol>
                    <a:gridCol w="838626">
                      <a:extLst>
                        <a:ext uri="{9D8B030D-6E8A-4147-A177-3AD203B41FA5}">
                          <a16:colId xmlns:a16="http://schemas.microsoft.com/office/drawing/2014/main" val="2276991973"/>
                        </a:ext>
                      </a:extLst>
                    </a:gridCol>
                    <a:gridCol w="788167">
                      <a:extLst>
                        <a:ext uri="{9D8B030D-6E8A-4147-A177-3AD203B41FA5}">
                          <a16:colId xmlns:a16="http://schemas.microsoft.com/office/drawing/2014/main" val="2732769801"/>
                        </a:ext>
                      </a:extLst>
                    </a:gridCol>
                  </a:tblGrid>
                  <a:tr h="205175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Остановочный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ункт</a:t>
                          </a:r>
                        </a:p>
                      </a:txBody>
                      <a:tcPr marL="3546" marR="3546" marT="3546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Текущий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оток,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асс./</a:t>
                          </a:r>
                          <a:r>
                            <a:rPr lang="ru-RU" sz="600" b="0" i="0" u="none" strike="noStrike" dirty="0" err="1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сут</a:t>
                          </a:r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.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ерспективный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оток (2020),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асс./</a:t>
                          </a:r>
                          <a:r>
                            <a:rPr lang="ru-RU" sz="600" b="0" i="0" u="none" strike="noStrike" dirty="0" err="1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сут</a:t>
                          </a:r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.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ерспективный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оток (20</a:t>
                          </a:r>
                          <a:r>
                            <a:rPr lang="en-US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30</a:t>
                          </a:r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),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асс./сут.</a:t>
                          </a:r>
                        </a:p>
                      </a:txBody>
                      <a:tcPr marL="3546" marR="3546" marT="3546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ерспективный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оток (20</a:t>
                          </a:r>
                          <a:r>
                            <a:rPr lang="en-US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45</a:t>
                          </a:r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),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асс./сут.</a:t>
                          </a:r>
                        </a:p>
                      </a:txBody>
                      <a:tcPr marL="3546" marR="3546" marT="3546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94451417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Нахабино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5 004   </a:t>
                          </a:r>
                          <a:endParaRPr lang="ru-RU" sz="5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5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2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5,5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0 993 (+3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,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05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,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270290494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Аникеевка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768   </a:t>
                          </a:r>
                          <a:endParaRPr lang="ru-RU" sz="5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0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-47,9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80 (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+45,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86,3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68267970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Опалиха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0 044   </a:t>
                          </a:r>
                          <a:endParaRPr lang="ru-RU" sz="5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0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-4,4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 569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1,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0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,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929804467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Красногорская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7 367   </a:t>
                          </a:r>
                          <a:endParaRPr lang="ru-RU" sz="5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0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7,2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 385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4,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3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,2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900094864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Павшино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2 991   </a:t>
                          </a:r>
                          <a:endParaRPr lang="ru-RU" sz="5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3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6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0,6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6 814 (+2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,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5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9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1,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61782239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kern="1200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Пенягино</a:t>
                          </a:r>
                          <a:endParaRPr lang="ru-RU" sz="60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     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 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 449</a:t>
                          </a:r>
                          <a:endParaRPr lang="ru-RU" sz="50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2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51,1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656492411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Волоколамская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     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 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 140</a:t>
                          </a:r>
                          <a:endParaRPr lang="ru-RU" sz="50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7,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55892237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Трикотажн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3 951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8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61,5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 016 (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+9,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7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543143942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Тушино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23 425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1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-10,7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5 093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7,8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3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2,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59582125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effectLst/>
                              <a:latin typeface="+mj-lt"/>
                            </a:rPr>
                            <a:t>Щукин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 806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-     </a:t>
                          </a:r>
                          <a:endParaRPr lang="ru-RU" sz="500" b="0" i="1" u="none" strike="noStrike" kern="1200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 869 (+391,1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7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4,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51595394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>
                              <a:effectLst/>
                              <a:latin typeface="+mj-lt"/>
                            </a:rPr>
                            <a:t>Ленинградская</a:t>
                          </a:r>
                          <a:endParaRPr lang="ru-RU" sz="600" b="0" i="0" u="none" strike="noStrike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0 095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48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2,5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3 254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4,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6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6,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421961606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Красный балтиец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4 257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0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,2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 341 (+4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,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1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07755466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Граждан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3 838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0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4,8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 692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9,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9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+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24842799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effectLst/>
                              <a:latin typeface="+mj-lt"/>
                            </a:rPr>
                            <a:t>Дмитров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0 082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9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98,3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2 979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5,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3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1,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17094113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>
                              <a:effectLst/>
                              <a:latin typeface="+mj-lt"/>
                            </a:rPr>
                            <a:t>Марьина роща</a:t>
                          </a:r>
                          <a:endParaRPr lang="ru-RU" sz="600" b="0" i="0" u="none" strike="noStrike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- </a:t>
                          </a:r>
                          <a:endParaRPr lang="ru-RU" sz="500" b="0" i="1" u="none" strike="noStrike" kern="1200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 980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2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98,6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69901451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Ржев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4 920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68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67,6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5 585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8,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9,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18319584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Каланчёв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1 726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48,6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8 709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4,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4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8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21435366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Кур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7 644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6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49,4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 281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0,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6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755889440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Москва-Товарн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 393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0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08,4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 570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4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8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5,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10028980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effectLst/>
                              <a:latin typeface="+mj-lt"/>
                            </a:rPr>
                            <a:t>Калитники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 393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5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83,8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 744 (+2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,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4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59427246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effectLst/>
                              <a:latin typeface="+mj-lt"/>
                            </a:rPr>
                            <a:t>Новохохлов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60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 073 (+274,1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8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5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8,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645394563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Текстильщики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1 468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8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34,4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8 184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8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,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723052786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Печатники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-</a:t>
                          </a:r>
                          <a:endParaRPr lang="ru-RU" sz="500" b="0" i="1" u="none" strike="noStrike" kern="1200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 517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9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58,3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89498804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Люблино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3 734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6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22,4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 354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9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3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24458271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Депо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 559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4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91,4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 511 (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0,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6,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84549853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>
                              <a:effectLst/>
                              <a:latin typeface="+mj-lt"/>
                            </a:rPr>
                            <a:t>Перерва</a:t>
                          </a:r>
                          <a:endParaRPr lang="ru-RU" sz="600" b="0" i="0" u="none" strike="noStrike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 757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3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345,9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 266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,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5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3,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90875162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effectLst/>
                              <a:latin typeface="+mj-lt"/>
                            </a:rPr>
                            <a:t>Курьяново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- </a:t>
                          </a:r>
                          <a:endParaRPr lang="ru-RU" sz="500" b="0" i="1" u="none" strike="noStrike" kern="1200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 342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1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42,1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59090709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Москворечье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3 363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3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91,3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 611 (+1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,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9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7,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126559791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>
                              <a:effectLst/>
                              <a:latin typeface="+mj-lt"/>
                            </a:rPr>
                            <a:t>Царицыно</a:t>
                          </a:r>
                          <a:endParaRPr lang="ru-RU" sz="600" b="0" i="0" u="none" strike="noStrike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24 365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7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0,9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 637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,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9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,8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40339391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effectLst/>
                              <a:latin typeface="+mj-lt"/>
                            </a:rPr>
                            <a:t>Котляково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- </a:t>
                          </a:r>
                          <a:endParaRPr lang="ru-RU" sz="500" b="0" i="1" u="none" strike="noStrike" kern="1200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 409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9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59,3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58978264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Покровское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2 115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8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31,0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 235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,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4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137607089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Красный строитель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3 070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7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91,4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 298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,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7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40972104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Битца</a:t>
                          </a:r>
                          <a:endParaRPr lang="ru-RU" sz="60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80   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73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31,9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 332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34,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93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6,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049783314"/>
                      </a:ext>
                    </a:extLst>
                  </a:tr>
                  <a:tr h="49341"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Бутово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 693   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14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62,2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 853 (+1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,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4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168729779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Щербинка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i="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7 699   </a:t>
                          </a:r>
                          <a:endParaRPr lang="ru-RU" sz="5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1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9,3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8 916 (+1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,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5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,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20883261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Силикатная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i="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9 477   </a:t>
                          </a:r>
                          <a:endParaRPr lang="ru-RU" sz="5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9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0,8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 848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,4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85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8,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953802139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Подольск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i="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20 496   </a:t>
                          </a:r>
                          <a:endParaRPr lang="ru-RU" sz="5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15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6,9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7 301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,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5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8,6</a:t>
                          </a:r>
                          <a:r>
                            <a:rPr lang="en-US" sz="500" i="0" u="none" strike="noStrike" kern="120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07857847"/>
                      </a:ext>
                    </a:extLst>
                  </a:tr>
                  <a:tr h="77959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ИТОГО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l-GR" sz="600" b="0" i="0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Σ</m:t>
                              </m:r>
                            </m:oMath>
                          </a14:m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 235 480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marR="0" lvl="0" indent="0" algn="l" defTabSz="914400" rtl="0" eaLnBrk="1" fontAlgn="b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l-GR" sz="600" b="0" i="0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Σ</m:t>
                              </m:r>
                            </m:oMath>
                          </a14:m>
                          <a:r>
                            <a:rPr lang="en-US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319 245</a:t>
                          </a:r>
                          <a:endParaRPr lang="ru-RU" sz="600" b="0" i="0" u="none" strike="noStrike" kern="1200" dirty="0">
                            <a:solidFill>
                              <a:schemeClr val="bg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marR="0" lvl="0" indent="0" algn="l" defTabSz="914400" rtl="0" eaLnBrk="1" fontAlgn="b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l-GR" sz="600" b="0" i="0" kern="1200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Σ</m:t>
                              </m:r>
                            </m:oMath>
                          </a14:m>
                          <a:r>
                            <a:rPr lang="en-US" sz="600" b="0" i="0" kern="1200" dirty="0">
                              <a:solidFill>
                                <a:schemeClr val="bg1"/>
                              </a:solidFill>
                              <a:latin typeface="+mj-lt"/>
                              <a:ea typeface="Cambria Math" panose="02040503050406030204" pitchFamily="18" charset="0"/>
                              <a:cs typeface="+mn-cs"/>
                            </a:rPr>
                            <a:t> 550 727</a:t>
                          </a:r>
                          <a:endParaRPr lang="ru-RU" sz="600" b="0" i="0" kern="1200" dirty="0">
                            <a:solidFill>
                              <a:schemeClr val="bg1"/>
                            </a:solidFill>
                            <a:latin typeface="+mj-lt"/>
                            <a:ea typeface="Cambria Math" panose="02040503050406030204" pitchFamily="18" charset="0"/>
                            <a:cs typeface="+mn-cs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marR="0" lvl="0" indent="0" algn="l" defTabSz="914400" rtl="0" eaLnBrk="1" fontAlgn="b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r>
                                <m:rPr>
                                  <m:sty m:val="p"/>
                                </m:rPr>
                                <a:rPr lang="el-GR" sz="600" b="0" i="0" kern="1200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+mn-cs"/>
                                </a:rPr>
                                <m:t>Σ</m:t>
                              </m:r>
                            </m:oMath>
                          </a14:m>
                          <a:r>
                            <a:rPr lang="en-US" sz="600" b="0" i="0" kern="1200" dirty="0">
                              <a:solidFill>
                                <a:schemeClr val="bg1"/>
                              </a:solidFill>
                              <a:latin typeface="+mj-lt"/>
                              <a:ea typeface="Cambria Math" panose="02040503050406030204" pitchFamily="18" charset="0"/>
                              <a:cs typeface="+mn-cs"/>
                            </a:rPr>
                            <a:t> 765 953</a:t>
                          </a:r>
                          <a:endParaRPr lang="ru-RU" sz="600" b="0" i="0" kern="1200" dirty="0">
                            <a:solidFill>
                              <a:schemeClr val="bg1"/>
                            </a:solidFill>
                            <a:latin typeface="+mj-lt"/>
                            <a:ea typeface="Cambria Math" panose="02040503050406030204" pitchFamily="18" charset="0"/>
                            <a:cs typeface="+mn-cs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544001300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241" name="Таблица 240">
                <a:extLst>
                  <a:ext uri="{FF2B5EF4-FFF2-40B4-BE49-F238E27FC236}">
                    <a16:creationId xmlns:a16="http://schemas.microsoft.com/office/drawing/2014/main" id="{4F44194D-7448-B741-B40E-0F96852C78F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760903997"/>
                  </p:ext>
                </p:extLst>
              </p:nvPr>
            </p:nvGraphicFramePr>
            <p:xfrm>
              <a:off x="5582763" y="943573"/>
              <a:ext cx="4118242" cy="3888916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1017163">
                      <a:extLst>
                        <a:ext uri="{9D8B030D-6E8A-4147-A177-3AD203B41FA5}">
                          <a16:colId xmlns:a16="http://schemas.microsoft.com/office/drawing/2014/main" val="3566004962"/>
                        </a:ext>
                      </a:extLst>
                    </a:gridCol>
                    <a:gridCol w="682374">
                      <a:extLst>
                        <a:ext uri="{9D8B030D-6E8A-4147-A177-3AD203B41FA5}">
                          <a16:colId xmlns:a16="http://schemas.microsoft.com/office/drawing/2014/main" val="1505389014"/>
                        </a:ext>
                      </a:extLst>
                    </a:gridCol>
                    <a:gridCol w="791912">
                      <a:extLst>
                        <a:ext uri="{9D8B030D-6E8A-4147-A177-3AD203B41FA5}">
                          <a16:colId xmlns:a16="http://schemas.microsoft.com/office/drawing/2014/main" val="2860237255"/>
                        </a:ext>
                      </a:extLst>
                    </a:gridCol>
                    <a:gridCol w="838626">
                      <a:extLst>
                        <a:ext uri="{9D8B030D-6E8A-4147-A177-3AD203B41FA5}">
                          <a16:colId xmlns:a16="http://schemas.microsoft.com/office/drawing/2014/main" val="2276991973"/>
                        </a:ext>
                      </a:extLst>
                    </a:gridCol>
                    <a:gridCol w="788167">
                      <a:extLst>
                        <a:ext uri="{9D8B030D-6E8A-4147-A177-3AD203B41FA5}">
                          <a16:colId xmlns:a16="http://schemas.microsoft.com/office/drawing/2014/main" val="2732769801"/>
                        </a:ext>
                      </a:extLst>
                    </a:gridCol>
                  </a:tblGrid>
                  <a:tr h="279448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Остановочный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ункт</a:t>
                          </a:r>
                        </a:p>
                      </a:txBody>
                      <a:tcPr marL="3546" marR="3546" marT="3546" marB="0" anchor="ctr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Текущий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оток,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асс./</a:t>
                          </a:r>
                          <a:r>
                            <a:rPr lang="ru-RU" sz="600" b="0" i="0" u="none" strike="noStrike" dirty="0" err="1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сут</a:t>
                          </a:r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.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ерспективный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оток (2020),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пасс./</a:t>
                          </a:r>
                          <a:r>
                            <a:rPr lang="ru-RU" sz="600" b="0" i="0" u="none" strike="noStrike" dirty="0" err="1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сут</a:t>
                          </a:r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.</a:t>
                          </a:r>
                        </a:p>
                      </a:txBody>
                      <a:tcPr marL="5128" marR="5128" marT="5128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ерспективный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оток (20</a:t>
                          </a:r>
                          <a:r>
                            <a:rPr lang="en-US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30</a:t>
                          </a:r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),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асс./сут.</a:t>
                          </a:r>
                        </a:p>
                      </a:txBody>
                      <a:tcPr marL="3546" marR="3546" marT="3546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ерспективный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оток (20</a:t>
                          </a:r>
                          <a:r>
                            <a:rPr lang="en-US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45</a:t>
                          </a:r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), </a:t>
                          </a:r>
                        </a:p>
                        <a:p>
                          <a:pPr marL="72000" algn="l" fontAlgn="b"/>
                          <a:r>
                            <a:rPr lang="ru-RU" sz="600" b="0" i="0" u="none" strike="noStrike" kern="1200" dirty="0">
                              <a:solidFill>
                                <a:schemeClr val="bg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асс./сут.</a:t>
                          </a:r>
                        </a:p>
                      </a:txBody>
                      <a:tcPr marL="3546" marR="3546" marT="3546" marB="0" anchor="ctr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94451417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Нахабино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5 004   </a:t>
                          </a:r>
                          <a:endParaRPr lang="ru-RU" sz="5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5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2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5,5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0 993 (+3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,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05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,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270290494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Аникеевка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768   </a:t>
                          </a:r>
                          <a:endParaRPr lang="ru-RU" sz="5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0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-47,9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80 (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+45,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86,3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68267970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Опалиха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0 044   </a:t>
                          </a:r>
                          <a:endParaRPr lang="ru-RU" sz="5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0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-4,4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 569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1,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0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,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929804467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Красногорская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7 367   </a:t>
                          </a:r>
                          <a:endParaRPr lang="ru-RU" sz="5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0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7,2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 385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4,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3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,2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900094864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Павшино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12 991   </a:t>
                          </a:r>
                          <a:endParaRPr lang="ru-RU" sz="500" b="0" i="1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3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6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0,6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6 814 (+2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,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5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9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1,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61782239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kern="1200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Пенягино</a:t>
                          </a:r>
                          <a:endParaRPr lang="ru-RU" sz="60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     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 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 449</a:t>
                          </a:r>
                          <a:endParaRPr lang="ru-RU" sz="50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2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51,1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656492411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Волоколамская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     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 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 140</a:t>
                          </a:r>
                          <a:endParaRPr lang="ru-RU" sz="50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7,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55892237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Трикотажн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3 951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8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61,5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 016 (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+9,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7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543143942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Тушино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23 425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1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-10,7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5 093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7,8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3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2,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59582125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effectLst/>
                              <a:latin typeface="+mj-lt"/>
                            </a:rPr>
                            <a:t>Щукин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 806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-     </a:t>
                          </a:r>
                          <a:endParaRPr lang="ru-RU" sz="500" b="0" i="1" u="none" strike="noStrike" kern="1200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 869 (+391,1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7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4,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51595394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>
                              <a:effectLst/>
                              <a:latin typeface="+mj-lt"/>
                            </a:rPr>
                            <a:t>Ленинградская</a:t>
                          </a:r>
                          <a:endParaRPr lang="ru-RU" sz="600" b="0" i="0" u="none" strike="noStrike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0 095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48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2,5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3 254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4,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6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6,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421961606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Красный балтиец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4 257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0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,2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 341 (+4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,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1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07755466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Граждан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3 838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0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4,8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 692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9,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9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+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124842799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effectLst/>
                              <a:latin typeface="+mj-lt"/>
                            </a:rPr>
                            <a:t>Дмитров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0 082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9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98,3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2 979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5,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3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1,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17094113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>
                              <a:effectLst/>
                              <a:latin typeface="+mj-lt"/>
                            </a:rPr>
                            <a:t>Марьина роща</a:t>
                          </a:r>
                          <a:endParaRPr lang="ru-RU" sz="600" b="0" i="0" u="none" strike="noStrike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- </a:t>
                          </a:r>
                          <a:endParaRPr lang="ru-RU" sz="500" b="0" i="1" u="none" strike="noStrike" kern="1200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 980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2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98,6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69901451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Ржев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4 920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68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67,6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5 585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8,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9,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18319584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Каланчёв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1 726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48,6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8 709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4,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4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8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21435366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Кур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7 644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6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49,4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 281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0,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6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755889440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Москва-Товарн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 393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0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08,4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 570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4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8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5,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10028980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effectLst/>
                              <a:latin typeface="+mj-lt"/>
                            </a:rPr>
                            <a:t>Калитники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 393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5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83,8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 744 (+2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,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4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59427246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effectLst/>
                              <a:latin typeface="+mj-lt"/>
                            </a:rPr>
                            <a:t>Новохохловская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60</a:t>
                          </a: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 073 (+274,1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8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5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8,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645394563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Текстильщики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1 468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8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34,4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8 184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8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,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723052786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Печатники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-</a:t>
                          </a:r>
                          <a:endParaRPr lang="ru-RU" sz="500" b="0" i="1" u="none" strike="noStrike" kern="1200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 517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9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58,3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89498804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Люблино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3 734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6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22,4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 354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9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3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24458271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Депо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 559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4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91,4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 511 (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-0,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6,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84549853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>
                              <a:effectLst/>
                              <a:latin typeface="+mj-lt"/>
                            </a:rPr>
                            <a:t>Перерва</a:t>
                          </a:r>
                          <a:endParaRPr lang="ru-RU" sz="600" b="0" i="0" u="none" strike="noStrike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1 757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3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345,9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 266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,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5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3,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90875162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effectLst/>
                              <a:latin typeface="+mj-lt"/>
                            </a:rPr>
                            <a:t>Курьяново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- </a:t>
                          </a:r>
                          <a:endParaRPr lang="ru-RU" sz="500" b="0" i="1" u="none" strike="noStrike" kern="1200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 342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1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42,1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59090709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Москворечье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3 363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3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91,3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 611 (+1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,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93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7,9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126559791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>
                              <a:effectLst/>
                              <a:latin typeface="+mj-lt"/>
                            </a:rPr>
                            <a:t>Царицыно</a:t>
                          </a:r>
                          <a:endParaRPr lang="ru-RU" sz="600" b="0" i="0" u="none" strike="noStrike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24 365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7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0,9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6 637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,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9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1,8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40339391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 err="1">
                              <a:effectLst/>
                              <a:latin typeface="+mj-lt"/>
                            </a:rPr>
                            <a:t>Котляково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-  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- </a:t>
                          </a:r>
                          <a:endParaRPr lang="ru-RU" sz="500" b="0" i="1" u="none" strike="noStrike" kern="1200" dirty="0">
                            <a:solidFill>
                              <a:srgbClr val="000000"/>
                            </a:solidFill>
                            <a:effectLst/>
                            <a:latin typeface="+mn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 409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9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59,3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58978264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Покровское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2 115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8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31,0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 235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,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4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137607089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effectLst/>
                              <a:latin typeface="+mj-lt"/>
                            </a:rPr>
                            <a:t>Красный строитель</a:t>
                          </a:r>
                          <a:endParaRPr lang="ru-RU" sz="600" b="0" i="0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u="none" strike="noStrike" dirty="0">
                              <a:effectLst/>
                              <a:latin typeface="+mj-lt"/>
                            </a:rPr>
                            <a:t>3 070   </a:t>
                          </a:r>
                          <a:endParaRPr lang="ru-RU" sz="500" b="0" i="1" u="none" strike="noStrike" dirty="0">
                            <a:solidFill>
                              <a:srgbClr val="000000"/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76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91,4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7 298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,2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74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u="none" strike="noStrike" kern="1200" dirty="0">
                              <a:solidFill>
                                <a:schemeClr val="dk1"/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u="none" strike="noStrike" kern="1200" dirty="0">
                            <a:solidFill>
                              <a:schemeClr val="dk1"/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340972104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 err="1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Битца</a:t>
                          </a:r>
                          <a:endParaRPr lang="ru-RU" sz="60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80   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73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31,9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 332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34,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93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6,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049783314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60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Бутово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 693   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614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62,2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1 853 (+1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,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4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2,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168729779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Щербинка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i="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7 699   </a:t>
                          </a:r>
                          <a:endParaRPr lang="ru-RU" sz="5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1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9,3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8 916 (+1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4,8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35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,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20883261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Силикатная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i="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9 477   </a:t>
                          </a:r>
                          <a:endParaRPr lang="ru-RU" sz="5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9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10,8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2 848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,4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19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085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8,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953802139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Подольск</a:t>
                          </a:r>
                          <a:endParaRPr lang="ru-RU" sz="6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500" i="0" u="none" strike="noStrike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</a:rPr>
                            <a:t>20 496   </a:t>
                          </a:r>
                          <a:endParaRPr lang="ru-RU" sz="500" b="0" i="0" u="none" strike="noStrike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</a:endParaRP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1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915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6,9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7 301 (+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22,6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72000" algn="l" defTabSz="914400" rtl="0" eaLnBrk="1" fontAlgn="b" latinLnBrk="0" hangingPunct="1"/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0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</a:t>
                          </a:r>
                          <a:r>
                            <a:rPr lang="ru-RU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557</a:t>
                          </a:r>
                          <a:r>
                            <a:rPr lang="en-US" sz="500" i="0" u="none" strike="noStrike" kern="1200" dirty="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 (+</a:t>
                          </a:r>
                          <a:r>
                            <a:rPr lang="ru-RU" sz="500" i="0" u="none" strike="noStrike" kern="120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48,6</a:t>
                          </a:r>
                          <a:r>
                            <a:rPr lang="en-US" sz="500" i="0" u="none" strike="noStrike" kern="1200">
                              <a:solidFill>
                                <a:schemeClr val="bg1">
                                  <a:lumMod val="50000"/>
                                </a:schemeClr>
                              </a:solidFill>
                              <a:effectLst/>
                              <a:latin typeface="+mj-lt"/>
                              <a:ea typeface="+mn-ea"/>
                              <a:cs typeface="+mn-cs"/>
                            </a:rPr>
                            <a:t>%)</a:t>
                          </a:r>
                          <a:endParaRPr lang="ru-RU" sz="500" i="0" u="none" strike="noStrike" kern="1200" dirty="0">
                            <a:solidFill>
                              <a:schemeClr val="bg1">
                                <a:lumMod val="50000"/>
                              </a:schemeClr>
                            </a:solidFill>
                            <a:effectLst/>
                            <a:latin typeface="+mj-lt"/>
                            <a:ea typeface="+mn-ea"/>
                            <a:cs typeface="+mn-cs"/>
                          </a:endParaRPr>
                        </a:p>
                      </a:txBody>
                      <a:tcPr marL="9525" marR="9525" marT="9525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>
                            <a:alpha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507857847"/>
                      </a:ext>
                    </a:extLst>
                  </a:tr>
                  <a:tr h="94986">
                    <a:tc>
                      <a:txBody>
                        <a:bodyPr/>
                        <a:lstStyle/>
                        <a:p>
                          <a:pPr marL="72000" algn="l" fontAlgn="b"/>
                          <a:r>
                            <a:rPr lang="ru-RU" sz="6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+mj-lt"/>
                            </a:rPr>
                            <a:t>ИТОГО</a:t>
                          </a:r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accent1">
                            <a:lumMod val="5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17"/>
                          <a:stretch>
                            <a:fillRect l="-148148" t="-4314286" r="-353704" b="-428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17"/>
                          <a:stretch>
                            <a:fillRect l="-212698" t="-4314286" r="-203175" b="-428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17"/>
                          <a:stretch>
                            <a:fillRect l="-298485" t="-4314286" r="-93939" b="-4285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3546" marR="3546" marT="3546" marB="0" anchor="b">
                        <a:lnL w="63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635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accent1">
                              <a:lumMod val="50000"/>
                            </a:schemeClr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17"/>
                          <a:stretch>
                            <a:fillRect l="-424194" t="-4314286" b="-42857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544001300"/>
                      </a:ext>
                    </a:extLst>
                  </a:tr>
                </a:tbl>
              </a:graphicData>
            </a:graphic>
          </p:graphicFrame>
        </mc:Fallback>
      </mc:AlternateContent>
      <p:pic>
        <p:nvPicPr>
          <p:cNvPr id="242" name="Рисунок 241">
            <a:extLst>
              <a:ext uri="{FF2B5EF4-FFF2-40B4-BE49-F238E27FC236}">
                <a16:creationId xmlns:a16="http://schemas.microsoft.com/office/drawing/2014/main" id="{650E31F7-417E-2242-B078-B4918B46727C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8560" y="1809017"/>
            <a:ext cx="97115" cy="76138"/>
          </a:xfrm>
          <a:prstGeom prst="rect">
            <a:avLst/>
          </a:prstGeom>
        </p:spPr>
      </p:pic>
      <p:pic>
        <p:nvPicPr>
          <p:cNvPr id="263" name="Рисунок 262">
            <a:extLst>
              <a:ext uri="{FF2B5EF4-FFF2-40B4-BE49-F238E27FC236}">
                <a16:creationId xmlns:a16="http://schemas.microsoft.com/office/drawing/2014/main" id="{A3E8CF53-7897-1842-BFA8-F1203C757EBF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6458" y="1998670"/>
            <a:ext cx="97115" cy="76138"/>
          </a:xfrm>
          <a:prstGeom prst="rect">
            <a:avLst/>
          </a:prstGeom>
        </p:spPr>
      </p:pic>
      <p:pic>
        <p:nvPicPr>
          <p:cNvPr id="264" name="Рисунок 263">
            <a:extLst>
              <a:ext uri="{FF2B5EF4-FFF2-40B4-BE49-F238E27FC236}">
                <a16:creationId xmlns:a16="http://schemas.microsoft.com/office/drawing/2014/main" id="{D6764579-D634-FD45-BA76-C68C7E7BC94D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6304" y="2093623"/>
            <a:ext cx="97115" cy="76138"/>
          </a:xfrm>
          <a:prstGeom prst="rect">
            <a:avLst/>
          </a:prstGeom>
        </p:spPr>
      </p:pic>
      <p:pic>
        <p:nvPicPr>
          <p:cNvPr id="311" name="Рисунок 310">
            <a:extLst>
              <a:ext uri="{FF2B5EF4-FFF2-40B4-BE49-F238E27FC236}">
                <a16:creationId xmlns:a16="http://schemas.microsoft.com/office/drawing/2014/main" id="{B6FEB00A-A276-5943-ADFE-60E996FAE86F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9818" y="2189368"/>
            <a:ext cx="97115" cy="76138"/>
          </a:xfrm>
          <a:prstGeom prst="rect">
            <a:avLst/>
          </a:prstGeom>
        </p:spPr>
      </p:pic>
      <p:pic>
        <p:nvPicPr>
          <p:cNvPr id="312" name="Рисунок 311">
            <a:extLst>
              <a:ext uri="{FF2B5EF4-FFF2-40B4-BE49-F238E27FC236}">
                <a16:creationId xmlns:a16="http://schemas.microsoft.com/office/drawing/2014/main" id="{DDD5E4C1-8DCC-494B-AD5F-468E187B6EA0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6066" y="2474132"/>
            <a:ext cx="97115" cy="76138"/>
          </a:xfrm>
          <a:prstGeom prst="rect">
            <a:avLst/>
          </a:prstGeom>
        </p:spPr>
      </p:pic>
      <p:pic>
        <p:nvPicPr>
          <p:cNvPr id="313" name="Рисунок 312">
            <a:extLst>
              <a:ext uri="{FF2B5EF4-FFF2-40B4-BE49-F238E27FC236}">
                <a16:creationId xmlns:a16="http://schemas.microsoft.com/office/drawing/2014/main" id="{B278C6B7-1558-4A42-A282-EB431071B4A5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4199" y="2571114"/>
            <a:ext cx="97115" cy="76138"/>
          </a:xfrm>
          <a:prstGeom prst="rect">
            <a:avLst/>
          </a:prstGeom>
        </p:spPr>
      </p:pic>
      <p:pic>
        <p:nvPicPr>
          <p:cNvPr id="352" name="Рисунок 351">
            <a:extLst>
              <a:ext uri="{FF2B5EF4-FFF2-40B4-BE49-F238E27FC236}">
                <a16:creationId xmlns:a16="http://schemas.microsoft.com/office/drawing/2014/main" id="{3CB82358-FEEC-CD4C-96E1-086B400FCFEA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9750" y="2670792"/>
            <a:ext cx="97115" cy="76138"/>
          </a:xfrm>
          <a:prstGeom prst="rect">
            <a:avLst/>
          </a:prstGeom>
        </p:spPr>
      </p:pic>
      <p:pic>
        <p:nvPicPr>
          <p:cNvPr id="353" name="Рисунок 352">
            <a:extLst>
              <a:ext uri="{FF2B5EF4-FFF2-40B4-BE49-F238E27FC236}">
                <a16:creationId xmlns:a16="http://schemas.microsoft.com/office/drawing/2014/main" id="{3DECDD4A-1D9D-2D4C-897D-EAFEB9F0499E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7788" y="2760957"/>
            <a:ext cx="97115" cy="76138"/>
          </a:xfrm>
          <a:prstGeom prst="rect">
            <a:avLst/>
          </a:prstGeom>
        </p:spPr>
      </p:pic>
      <p:pic>
        <p:nvPicPr>
          <p:cNvPr id="354" name="Рисунок 353">
            <a:extLst>
              <a:ext uri="{FF2B5EF4-FFF2-40B4-BE49-F238E27FC236}">
                <a16:creationId xmlns:a16="http://schemas.microsoft.com/office/drawing/2014/main" id="{91095327-BFB1-D94A-B92D-C430D2D6F982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0024" y="2849920"/>
            <a:ext cx="97115" cy="76138"/>
          </a:xfrm>
          <a:prstGeom prst="rect">
            <a:avLst/>
          </a:prstGeom>
        </p:spPr>
      </p:pic>
      <p:pic>
        <p:nvPicPr>
          <p:cNvPr id="355" name="Рисунок 354">
            <a:extLst>
              <a:ext uri="{FF2B5EF4-FFF2-40B4-BE49-F238E27FC236}">
                <a16:creationId xmlns:a16="http://schemas.microsoft.com/office/drawing/2014/main" id="{2F5A2829-3CCD-A04D-95A1-391771A280AB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4964" y="2948686"/>
            <a:ext cx="97115" cy="76138"/>
          </a:xfrm>
          <a:prstGeom prst="rect">
            <a:avLst/>
          </a:prstGeom>
        </p:spPr>
      </p:pic>
      <p:pic>
        <p:nvPicPr>
          <p:cNvPr id="356" name="Рисунок 355">
            <a:extLst>
              <a:ext uri="{FF2B5EF4-FFF2-40B4-BE49-F238E27FC236}">
                <a16:creationId xmlns:a16="http://schemas.microsoft.com/office/drawing/2014/main" id="{0F89A28B-C783-AD42-9659-366F399C94F6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3182" y="3138529"/>
            <a:ext cx="97115" cy="76138"/>
          </a:xfrm>
          <a:prstGeom prst="rect">
            <a:avLst/>
          </a:prstGeom>
        </p:spPr>
      </p:pic>
      <p:pic>
        <p:nvPicPr>
          <p:cNvPr id="357" name="Рисунок 356">
            <a:extLst>
              <a:ext uri="{FF2B5EF4-FFF2-40B4-BE49-F238E27FC236}">
                <a16:creationId xmlns:a16="http://schemas.microsoft.com/office/drawing/2014/main" id="{9C7DFBB5-1045-9849-9F3C-048982DA8348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2017" y="3233696"/>
            <a:ext cx="97115" cy="76138"/>
          </a:xfrm>
          <a:prstGeom prst="rect">
            <a:avLst/>
          </a:prstGeom>
        </p:spPr>
      </p:pic>
      <p:pic>
        <p:nvPicPr>
          <p:cNvPr id="358" name="Рисунок 357">
            <a:extLst>
              <a:ext uri="{FF2B5EF4-FFF2-40B4-BE49-F238E27FC236}">
                <a16:creationId xmlns:a16="http://schemas.microsoft.com/office/drawing/2014/main" id="{611AD10E-2D3E-4F4E-95B8-F59362C16C84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4921" y="3323993"/>
            <a:ext cx="97115" cy="76138"/>
          </a:xfrm>
          <a:prstGeom prst="rect">
            <a:avLst/>
          </a:prstGeom>
        </p:spPr>
      </p:pic>
      <p:pic>
        <p:nvPicPr>
          <p:cNvPr id="359" name="Рисунок 358">
            <a:extLst>
              <a:ext uri="{FF2B5EF4-FFF2-40B4-BE49-F238E27FC236}">
                <a16:creationId xmlns:a16="http://schemas.microsoft.com/office/drawing/2014/main" id="{26EF4AD7-4D96-B646-86F9-48CEBAADBB6B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7037" y="3424987"/>
            <a:ext cx="97115" cy="76138"/>
          </a:xfrm>
          <a:prstGeom prst="rect">
            <a:avLst/>
          </a:prstGeom>
        </p:spPr>
      </p:pic>
      <p:pic>
        <p:nvPicPr>
          <p:cNvPr id="360" name="Рисунок 359">
            <a:extLst>
              <a:ext uri="{FF2B5EF4-FFF2-40B4-BE49-F238E27FC236}">
                <a16:creationId xmlns:a16="http://schemas.microsoft.com/office/drawing/2014/main" id="{3F0C853A-47F6-9445-B174-DDE72EBEB4D0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2685" y="3897813"/>
            <a:ext cx="97115" cy="76138"/>
          </a:xfrm>
          <a:prstGeom prst="rect">
            <a:avLst/>
          </a:prstGeom>
        </p:spPr>
      </p:pic>
      <p:pic>
        <p:nvPicPr>
          <p:cNvPr id="361" name="Рисунок 360" descr="Train">
            <a:extLst>
              <a:ext uri="{FF2B5EF4-FFF2-40B4-BE49-F238E27FC236}">
                <a16:creationId xmlns:a16="http://schemas.microsoft.com/office/drawing/2014/main" id="{40AEC61E-98C0-8C46-925F-3BDAA63017E6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248449" y="435231"/>
            <a:ext cx="164463" cy="164463"/>
          </a:xfrm>
          <a:prstGeom prst="rect">
            <a:avLst/>
          </a:prstGeom>
        </p:spPr>
      </p:pic>
      <p:pic>
        <p:nvPicPr>
          <p:cNvPr id="362" name="Рисунок 361" descr="Train">
            <a:extLst>
              <a:ext uri="{FF2B5EF4-FFF2-40B4-BE49-F238E27FC236}">
                <a16:creationId xmlns:a16="http://schemas.microsoft.com/office/drawing/2014/main" id="{4667423B-3A31-CF47-80C6-B2E83C19B74B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231006" y="3893026"/>
            <a:ext cx="164463" cy="164463"/>
          </a:xfrm>
          <a:prstGeom prst="rect">
            <a:avLst/>
          </a:prstGeom>
        </p:spPr>
      </p:pic>
      <p:sp>
        <p:nvSpPr>
          <p:cNvPr id="363" name="TextBox 362">
            <a:extLst>
              <a:ext uri="{FF2B5EF4-FFF2-40B4-BE49-F238E27FC236}">
                <a16:creationId xmlns:a16="http://schemas.microsoft.com/office/drawing/2014/main" id="{594A98F9-EAA4-D748-8CFC-3CC6FF8143D2}"/>
              </a:ext>
            </a:extLst>
          </p:cNvPr>
          <p:cNvSpPr txBox="1"/>
          <p:nvPr/>
        </p:nvSpPr>
        <p:spPr>
          <a:xfrm>
            <a:off x="6255675" y="5660563"/>
            <a:ext cx="2696572" cy="1618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>
                <a:latin typeface="+mj-lt"/>
              </a:rPr>
              <a:t>Население городов и районов (текущее и на перспективу)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F7C5F5C-F016-AF40-8591-45DEA1B46E62}"/>
              </a:ext>
            </a:extLst>
          </p:cNvPr>
          <p:cNvGraphicFramePr>
            <a:graphicFrameLocks noGrp="1"/>
          </p:cNvGraphicFramePr>
          <p:nvPr/>
        </p:nvGraphicFramePr>
        <p:xfrm>
          <a:off x="5597462" y="5844495"/>
          <a:ext cx="4110092" cy="595660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405038">
                  <a:extLst>
                    <a:ext uri="{9D8B030D-6E8A-4147-A177-3AD203B41FA5}">
                      <a16:colId xmlns:a16="http://schemas.microsoft.com/office/drawing/2014/main" val="1757847041"/>
                    </a:ext>
                  </a:extLst>
                </a:gridCol>
                <a:gridCol w="1149644">
                  <a:extLst>
                    <a:ext uri="{9D8B030D-6E8A-4147-A177-3AD203B41FA5}">
                      <a16:colId xmlns:a16="http://schemas.microsoft.com/office/drawing/2014/main" val="4149940311"/>
                    </a:ext>
                  </a:extLst>
                </a:gridCol>
                <a:gridCol w="848032">
                  <a:extLst>
                    <a:ext uri="{9D8B030D-6E8A-4147-A177-3AD203B41FA5}">
                      <a16:colId xmlns:a16="http://schemas.microsoft.com/office/drawing/2014/main" val="3171495909"/>
                    </a:ext>
                  </a:extLst>
                </a:gridCol>
                <a:gridCol w="892277">
                  <a:extLst>
                    <a:ext uri="{9D8B030D-6E8A-4147-A177-3AD203B41FA5}">
                      <a16:colId xmlns:a16="http://schemas.microsoft.com/office/drawing/2014/main" val="740569327"/>
                    </a:ext>
                  </a:extLst>
                </a:gridCol>
                <a:gridCol w="815101">
                  <a:extLst>
                    <a:ext uri="{9D8B030D-6E8A-4147-A177-3AD203B41FA5}">
                      <a16:colId xmlns:a16="http://schemas.microsoft.com/office/drawing/2014/main" val="2819399387"/>
                    </a:ext>
                  </a:extLst>
                </a:gridCol>
              </a:tblGrid>
              <a:tr h="148915">
                <a:tc>
                  <a:txBody>
                    <a:bodyPr/>
                    <a:lstStyle/>
                    <a:p>
                      <a:pPr marL="72000" algn="l" fontAlgn="b"/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700" b="1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Нахабино и Красногорск</a:t>
                      </a:r>
                      <a:endParaRPr lang="ru-RU" sz="7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700" b="1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Москва</a:t>
                      </a:r>
                      <a:endParaRPr lang="ru-RU" sz="7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700" b="1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Щербинка</a:t>
                      </a:r>
                      <a:endParaRPr lang="ru-RU" sz="7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700" b="1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Подольск</a:t>
                      </a:r>
                      <a:endParaRPr lang="ru-RU" sz="700" b="1" i="0" u="none" strike="noStrike" dirty="0">
                        <a:solidFill>
                          <a:srgbClr val="C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3552885"/>
                  </a:ext>
                </a:extLst>
              </a:tr>
              <a:tr h="148915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700" b="1" u="none" strike="noStrike" dirty="0">
                          <a:effectLst/>
                          <a:latin typeface="+mj-lt"/>
                        </a:rPr>
                        <a:t>2018</a:t>
                      </a:r>
                      <a:endParaRPr lang="ru-RU" sz="700" b="1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700" u="none" strike="noStrike" dirty="0">
                          <a:effectLst/>
                          <a:latin typeface="+mj-lt"/>
                        </a:rPr>
                        <a:t>204 550</a:t>
                      </a:r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700" u="none" strike="noStrike" dirty="0">
                          <a:effectLst/>
                          <a:latin typeface="+mj-lt"/>
                        </a:rPr>
                        <a:t>12 506 468</a:t>
                      </a:r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700" u="none" strike="noStrike" dirty="0">
                          <a:effectLst/>
                          <a:latin typeface="+mj-lt"/>
                        </a:rPr>
                        <a:t>51 036</a:t>
                      </a:r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700" u="none" strike="noStrike" dirty="0">
                          <a:effectLst/>
                          <a:latin typeface="+mj-lt"/>
                        </a:rPr>
                        <a:t>290 937</a:t>
                      </a:r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43424783"/>
                  </a:ext>
                </a:extLst>
              </a:tr>
              <a:tr h="148915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700" b="1" u="none" strike="noStrike" dirty="0">
                          <a:effectLst/>
                          <a:latin typeface="+mj-lt"/>
                        </a:rPr>
                        <a:t>2030</a:t>
                      </a:r>
                      <a:endParaRPr lang="ru-RU" sz="700" b="1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700" u="none" strike="noStrike" dirty="0">
                          <a:effectLst/>
                          <a:latin typeface="+mj-lt"/>
                        </a:rPr>
                        <a:t>296 598</a:t>
                      </a:r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700" u="none" strike="noStrike" dirty="0">
                          <a:effectLst/>
                          <a:latin typeface="+mj-lt"/>
                        </a:rPr>
                        <a:t>14 093 532</a:t>
                      </a:r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700" u="none" strike="noStrike" dirty="0">
                          <a:effectLst/>
                          <a:latin typeface="+mj-lt"/>
                        </a:rPr>
                        <a:t>61 020</a:t>
                      </a:r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700" u="none" strike="noStrike" dirty="0">
                          <a:effectLst/>
                          <a:latin typeface="+mj-lt"/>
                        </a:rPr>
                        <a:t>349 124</a:t>
                      </a:r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22258782"/>
                  </a:ext>
                </a:extLst>
              </a:tr>
              <a:tr h="148915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700" b="1" u="none" strike="noStrike" dirty="0">
                          <a:effectLst/>
                          <a:latin typeface="+mj-lt"/>
                        </a:rPr>
                        <a:t>2045</a:t>
                      </a:r>
                      <a:endParaRPr lang="ru-RU" sz="700" b="1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700" u="none" strike="noStrike" dirty="0">
                          <a:effectLst/>
                          <a:latin typeface="+mj-lt"/>
                        </a:rPr>
                        <a:t>373 403</a:t>
                      </a:r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700" u="none" strike="noStrike" dirty="0">
                          <a:effectLst/>
                          <a:latin typeface="+mj-lt"/>
                        </a:rPr>
                        <a:t>16 077 362</a:t>
                      </a:r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700" u="none" strike="noStrike" dirty="0">
                          <a:effectLst/>
                          <a:latin typeface="+mj-lt"/>
                        </a:rPr>
                        <a:t>61 020</a:t>
                      </a:r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700" u="none" strike="noStrike" dirty="0">
                          <a:effectLst/>
                          <a:latin typeface="+mj-lt"/>
                        </a:rPr>
                        <a:t>397 614</a:t>
                      </a:r>
                      <a:endParaRPr lang="ru-RU" sz="7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10038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54453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A55E6EE-D7D1-C041-910E-5EDC4D474141}"/>
              </a:ext>
            </a:extLst>
          </p:cNvPr>
          <p:cNvSpPr txBox="1"/>
          <p:nvPr/>
        </p:nvSpPr>
        <p:spPr>
          <a:xfrm>
            <a:off x="3844811" y="4637444"/>
            <a:ext cx="10005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Раменское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B45A7E-AFD9-9647-A04F-5C71F8415DE7}"/>
              </a:ext>
            </a:extLst>
          </p:cNvPr>
          <p:cNvSpPr txBox="1"/>
          <p:nvPr/>
        </p:nvSpPr>
        <p:spPr>
          <a:xfrm>
            <a:off x="188919" y="972938"/>
            <a:ext cx="8515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+mj-lt"/>
              </a:rPr>
              <a:t>Крюково</a:t>
            </a:r>
          </a:p>
        </p:txBody>
      </p:sp>
      <p:sp>
        <p:nvSpPr>
          <p:cNvPr id="8" name="Открывающая фигурная скобка 7">
            <a:extLst>
              <a:ext uri="{FF2B5EF4-FFF2-40B4-BE49-F238E27FC236}">
                <a16:creationId xmlns:a16="http://schemas.microsoft.com/office/drawing/2014/main" id="{88F73C45-BD39-8E4E-AD7C-5D81F4DA4FCD}"/>
              </a:ext>
            </a:extLst>
          </p:cNvPr>
          <p:cNvSpPr/>
          <p:nvPr/>
        </p:nvSpPr>
        <p:spPr>
          <a:xfrm>
            <a:off x="5416933" y="3309976"/>
            <a:ext cx="125623" cy="1520677"/>
          </a:xfrm>
          <a:prstGeom prst="leftBrace">
            <a:avLst>
              <a:gd name="adj1" fmla="val 73075"/>
              <a:gd name="adj2" fmla="val 50000"/>
            </a:avLst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ru-RU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FC9D1B1-9D84-7141-A7DC-010460D9D22F}"/>
              </a:ext>
            </a:extLst>
          </p:cNvPr>
          <p:cNvSpPr txBox="1"/>
          <p:nvPr/>
        </p:nvSpPr>
        <p:spPr>
          <a:xfrm>
            <a:off x="5463190" y="1558265"/>
            <a:ext cx="427481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000" dirty="0">
                <a:latin typeface="+mj-lt"/>
              </a:rPr>
              <a:t>Итоги моделирования спроса на МЦД 3 по данным </a:t>
            </a:r>
            <a:r>
              <a:rPr lang="ru-RU" sz="1000" dirty="0" err="1">
                <a:latin typeface="+mj-lt"/>
              </a:rPr>
              <a:t>валидаций</a:t>
            </a:r>
            <a:r>
              <a:rPr lang="ru-RU" sz="1000" dirty="0">
                <a:latin typeface="+mj-lt"/>
              </a:rPr>
              <a:t> </a:t>
            </a:r>
          </a:p>
          <a:p>
            <a:pPr algn="ctr"/>
            <a:r>
              <a:rPr lang="ru-RU" sz="1000" dirty="0">
                <a:latin typeface="+mj-lt"/>
              </a:rPr>
              <a:t>билетов ЦППК, метро, НГПТ и с учетом роста населения районов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Пятиугольник 9">
                <a:extLst>
                  <a:ext uri="{FF2B5EF4-FFF2-40B4-BE49-F238E27FC236}">
                    <a16:creationId xmlns:a16="http://schemas.microsoft.com/office/drawing/2014/main" id="{082C7A81-CF2E-174F-AA60-635170D613B7}"/>
                  </a:ext>
                </a:extLst>
              </p:cNvPr>
              <p:cNvSpPr/>
              <p:nvPr/>
            </p:nvSpPr>
            <p:spPr>
              <a:xfrm>
                <a:off x="3655332" y="3743252"/>
                <a:ext cx="1706812" cy="630942"/>
              </a:xfrm>
              <a:prstGeom prst="homePlate">
                <a:avLst>
                  <a:gd name="adj" fmla="val 0"/>
                </a:avLst>
              </a:prstGeom>
              <a:solidFill>
                <a:schemeClr val="bg1">
                  <a:alpha val="72000"/>
                </a:schemeClr>
              </a:solidFill>
              <a:ln>
                <a:solidFill>
                  <a:schemeClr val="accent1">
                    <a:lumMod val="50000"/>
                    <a:alpha val="34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ru-RU" sz="700" dirty="0">
                    <a:latin typeface="+mj-lt"/>
                  </a:rPr>
                  <a:t>Пассажиропоток </a:t>
                </a:r>
              </a:p>
              <a:p>
                <a:r>
                  <a:rPr lang="ru-RU" sz="700" dirty="0">
                    <a:latin typeface="+mj-lt"/>
                  </a:rPr>
                  <a:t>в границах Москвы: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  <m: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246 317 </a:t>
                </a:r>
                <a:r>
                  <a:rPr lang="ru-RU" sz="700" dirty="0">
                    <a:latin typeface="+mj-lt"/>
                  </a:rPr>
                  <a:t>пасс./</a:t>
                </a:r>
                <a:r>
                  <a:rPr lang="ru-RU" sz="700" dirty="0" err="1">
                    <a:latin typeface="+mj-lt"/>
                  </a:rPr>
                  <a:t>сут</a:t>
                </a:r>
                <a:r>
                  <a:rPr lang="ru-RU" sz="700" dirty="0">
                    <a:latin typeface="+mj-lt"/>
                  </a:rPr>
                  <a:t>. – сущ. (2020)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  <m: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682 499 </a:t>
                </a:r>
                <a:r>
                  <a:rPr lang="ru-RU" sz="700" dirty="0">
                    <a:latin typeface="+mj-lt"/>
                  </a:rPr>
                  <a:t>пасс./</a:t>
                </a:r>
                <a:r>
                  <a:rPr lang="ru-RU" sz="700" dirty="0" err="1">
                    <a:latin typeface="+mj-lt"/>
                  </a:rPr>
                  <a:t>сут</a:t>
                </a:r>
                <a:r>
                  <a:rPr lang="ru-RU" sz="700" dirty="0">
                    <a:latin typeface="+mj-lt"/>
                  </a:rPr>
                  <a:t>. – </a:t>
                </a:r>
                <a:r>
                  <a:rPr lang="ru-RU" sz="700" dirty="0" err="1">
                    <a:latin typeface="+mj-lt"/>
                  </a:rPr>
                  <a:t>персп</a:t>
                </a:r>
                <a:r>
                  <a:rPr lang="ru-RU" sz="700" dirty="0">
                    <a:latin typeface="+mj-lt"/>
                  </a:rPr>
                  <a:t>. (2030)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  <m:r>
                      <a:rPr lang="el-GR" sz="7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ru-RU" sz="700" b="1" dirty="0">
                    <a:solidFill>
                      <a:srgbClr val="C00000"/>
                    </a:solidFill>
                    <a:latin typeface="+mj-lt"/>
                  </a:rPr>
                  <a:t>970 377 </a:t>
                </a:r>
                <a:r>
                  <a:rPr lang="ru-RU" sz="700" dirty="0">
                    <a:latin typeface="+mj-lt"/>
                  </a:rPr>
                  <a:t>пасс./</a:t>
                </a:r>
                <a:r>
                  <a:rPr lang="ru-RU" sz="700" dirty="0" err="1">
                    <a:latin typeface="+mj-lt"/>
                  </a:rPr>
                  <a:t>сут</a:t>
                </a:r>
                <a:r>
                  <a:rPr lang="ru-RU" sz="700" dirty="0">
                    <a:latin typeface="+mj-lt"/>
                  </a:rPr>
                  <a:t>. – </a:t>
                </a:r>
                <a:r>
                  <a:rPr lang="ru-RU" sz="700" dirty="0" err="1">
                    <a:latin typeface="+mj-lt"/>
                  </a:rPr>
                  <a:t>персп</a:t>
                </a:r>
                <a:r>
                  <a:rPr lang="ru-RU" sz="700" dirty="0">
                    <a:latin typeface="+mj-lt"/>
                  </a:rPr>
                  <a:t>. (2045)</a:t>
                </a:r>
              </a:p>
            </p:txBody>
          </p:sp>
        </mc:Choice>
        <mc:Fallback xmlns="">
          <p:sp>
            <p:nvSpPr>
              <p:cNvPr id="10" name="Пятиугольник 9">
                <a:extLst>
                  <a:ext uri="{FF2B5EF4-FFF2-40B4-BE49-F238E27FC236}">
                    <a16:creationId xmlns:a16="http://schemas.microsoft.com/office/drawing/2014/main" id="{082C7A81-CF2E-174F-AA60-635170D613B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55332" y="3743252"/>
                <a:ext cx="1706812" cy="630942"/>
              </a:xfrm>
              <a:prstGeom prst="homePlate">
                <a:avLst>
                  <a:gd name="adj" fmla="val 0"/>
                </a:avLst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chemeClr val="accent1">
                    <a:lumMod val="50000"/>
                    <a:alpha val="34000"/>
                  </a:schemeClr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4" name="Рисунок 123" descr="Train">
            <a:extLst>
              <a:ext uri="{FF2B5EF4-FFF2-40B4-BE49-F238E27FC236}">
                <a16:creationId xmlns:a16="http://schemas.microsoft.com/office/drawing/2014/main" id="{D9A0BBC6-C642-5B49-A819-D01FEFEFB77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36123" y="3612373"/>
            <a:ext cx="164463" cy="164463"/>
          </a:xfrm>
          <a:prstGeom prst="rect">
            <a:avLst/>
          </a:prstGeom>
        </p:spPr>
      </p:pic>
      <p:pic>
        <p:nvPicPr>
          <p:cNvPr id="141" name="Рисунок 140" descr="Train">
            <a:extLst>
              <a:ext uri="{FF2B5EF4-FFF2-40B4-BE49-F238E27FC236}">
                <a16:creationId xmlns:a16="http://schemas.microsoft.com/office/drawing/2014/main" id="{6F563FF2-0E62-7E40-81D9-9713B2CAFB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140" y="231763"/>
            <a:ext cx="164463" cy="164463"/>
          </a:xfrm>
          <a:prstGeom prst="rect">
            <a:avLst/>
          </a:prstGeom>
        </p:spPr>
      </p:pic>
      <p:sp>
        <p:nvSpPr>
          <p:cNvPr id="89" name="Полилиния 88">
            <a:extLst>
              <a:ext uri="{FF2B5EF4-FFF2-40B4-BE49-F238E27FC236}">
                <a16:creationId xmlns:a16="http://schemas.microsoft.com/office/drawing/2014/main" id="{951BAF14-AD15-154B-B15E-D0C695E05199}"/>
              </a:ext>
            </a:extLst>
          </p:cNvPr>
          <p:cNvSpPr/>
          <p:nvPr/>
        </p:nvSpPr>
        <p:spPr>
          <a:xfrm rot="19164392" flipV="1">
            <a:off x="1385246" y="2088687"/>
            <a:ext cx="365702" cy="108588"/>
          </a:xfrm>
          <a:custGeom>
            <a:avLst/>
            <a:gdLst>
              <a:gd name="connsiteX0" fmla="*/ 0 w 642730"/>
              <a:gd name="connsiteY0" fmla="*/ 232985 h 232985"/>
              <a:gd name="connsiteX1" fmla="*/ 185530 w 642730"/>
              <a:gd name="connsiteY1" fmla="*/ 126968 h 232985"/>
              <a:gd name="connsiteX2" fmla="*/ 258417 w 642730"/>
              <a:gd name="connsiteY2" fmla="*/ 54081 h 232985"/>
              <a:gd name="connsiteX3" fmla="*/ 417443 w 642730"/>
              <a:gd name="connsiteY3" fmla="*/ 27576 h 232985"/>
              <a:gd name="connsiteX4" fmla="*/ 583095 w 642730"/>
              <a:gd name="connsiteY4" fmla="*/ 1072 h 232985"/>
              <a:gd name="connsiteX5" fmla="*/ 642730 w 642730"/>
              <a:gd name="connsiteY5" fmla="*/ 7698 h 232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2730" h="232985">
                <a:moveTo>
                  <a:pt x="0" y="232985"/>
                </a:moveTo>
                <a:cubicBezTo>
                  <a:pt x="71230" y="194885"/>
                  <a:pt x="142461" y="156785"/>
                  <a:pt x="185530" y="126968"/>
                </a:cubicBezTo>
                <a:cubicBezTo>
                  <a:pt x="228599" y="97151"/>
                  <a:pt x="219765" y="70646"/>
                  <a:pt x="258417" y="54081"/>
                </a:cubicBezTo>
                <a:cubicBezTo>
                  <a:pt x="297069" y="37516"/>
                  <a:pt x="417443" y="27576"/>
                  <a:pt x="417443" y="27576"/>
                </a:cubicBezTo>
                <a:cubicBezTo>
                  <a:pt x="471556" y="18741"/>
                  <a:pt x="545547" y="4385"/>
                  <a:pt x="583095" y="1072"/>
                </a:cubicBezTo>
                <a:cubicBezTo>
                  <a:pt x="620643" y="-2241"/>
                  <a:pt x="631686" y="2728"/>
                  <a:pt x="642730" y="7698"/>
                </a:cubicBezTo>
              </a:path>
            </a:pathLst>
          </a:custGeom>
          <a:noFill/>
          <a:ln w="2540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latin typeface="+mj-lt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5E41A125-6367-C14E-A19E-CE995ED5D30D}"/>
              </a:ext>
            </a:extLst>
          </p:cNvPr>
          <p:cNvSpPr txBox="1"/>
          <p:nvPr/>
        </p:nvSpPr>
        <p:spPr>
          <a:xfrm>
            <a:off x="3097774" y="3275725"/>
            <a:ext cx="46038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Косино</a:t>
            </a:r>
          </a:p>
        </p:txBody>
      </p:sp>
      <p:cxnSp>
        <p:nvCxnSpPr>
          <p:cNvPr id="101" name="Прямая соединительная линия 100">
            <a:extLst>
              <a:ext uri="{FF2B5EF4-FFF2-40B4-BE49-F238E27FC236}">
                <a16:creationId xmlns:a16="http://schemas.microsoft.com/office/drawing/2014/main" id="{AC228685-FEA0-364B-9D04-2A8590F7DC18}"/>
              </a:ext>
            </a:extLst>
          </p:cNvPr>
          <p:cNvCxnSpPr>
            <a:cxnSpLocks/>
          </p:cNvCxnSpPr>
          <p:nvPr/>
        </p:nvCxnSpPr>
        <p:spPr>
          <a:xfrm flipV="1">
            <a:off x="3107465" y="3404282"/>
            <a:ext cx="65435" cy="467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5E41A125-6367-C14E-A19E-CE995ED5D30D}"/>
              </a:ext>
            </a:extLst>
          </p:cNvPr>
          <p:cNvSpPr txBox="1"/>
          <p:nvPr/>
        </p:nvSpPr>
        <p:spPr>
          <a:xfrm>
            <a:off x="2594780" y="3370360"/>
            <a:ext cx="47000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Выхино</a:t>
            </a:r>
          </a:p>
        </p:txBody>
      </p:sp>
      <p:cxnSp>
        <p:nvCxnSpPr>
          <p:cNvPr id="119" name="Прямая соединительная линия 118">
            <a:extLst>
              <a:ext uri="{FF2B5EF4-FFF2-40B4-BE49-F238E27FC236}">
                <a16:creationId xmlns:a16="http://schemas.microsoft.com/office/drawing/2014/main" id="{AC228685-FEA0-364B-9D04-2A8590F7DC18}"/>
              </a:ext>
            </a:extLst>
          </p:cNvPr>
          <p:cNvCxnSpPr>
            <a:cxnSpLocks/>
          </p:cNvCxnSpPr>
          <p:nvPr/>
        </p:nvCxnSpPr>
        <p:spPr>
          <a:xfrm flipV="1">
            <a:off x="2943727" y="3391947"/>
            <a:ext cx="65435" cy="467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>
            <a:extLst>
              <a:ext uri="{FF2B5EF4-FFF2-40B4-BE49-F238E27FC236}">
                <a16:creationId xmlns:a16="http://schemas.microsoft.com/office/drawing/2014/main" id="{5E41A125-6367-C14E-A19E-CE995ED5D30D}"/>
              </a:ext>
            </a:extLst>
          </p:cNvPr>
          <p:cNvSpPr txBox="1"/>
          <p:nvPr/>
        </p:nvSpPr>
        <p:spPr>
          <a:xfrm>
            <a:off x="2248127" y="3102463"/>
            <a:ext cx="46679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Фрезер</a:t>
            </a:r>
          </a:p>
        </p:txBody>
      </p:sp>
      <p:cxnSp>
        <p:nvCxnSpPr>
          <p:cNvPr id="165" name="Прямая соединительная линия 164">
            <a:extLst>
              <a:ext uri="{FF2B5EF4-FFF2-40B4-BE49-F238E27FC236}">
                <a16:creationId xmlns:a16="http://schemas.microsoft.com/office/drawing/2014/main" id="{AC228685-FEA0-364B-9D04-2A8590F7DC18}"/>
              </a:ext>
            </a:extLst>
          </p:cNvPr>
          <p:cNvCxnSpPr>
            <a:cxnSpLocks/>
          </p:cNvCxnSpPr>
          <p:nvPr/>
        </p:nvCxnSpPr>
        <p:spPr>
          <a:xfrm flipV="1">
            <a:off x="2642530" y="3197479"/>
            <a:ext cx="65435" cy="135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TextBox 166">
            <a:extLst>
              <a:ext uri="{FF2B5EF4-FFF2-40B4-BE49-F238E27FC236}">
                <a16:creationId xmlns:a16="http://schemas.microsoft.com/office/drawing/2014/main" id="{5E41A125-6367-C14E-A19E-CE995ED5D30D}"/>
              </a:ext>
            </a:extLst>
          </p:cNvPr>
          <p:cNvSpPr txBox="1"/>
          <p:nvPr/>
        </p:nvSpPr>
        <p:spPr>
          <a:xfrm>
            <a:off x="2604398" y="2963503"/>
            <a:ext cx="41229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Новая</a:t>
            </a:r>
          </a:p>
        </p:txBody>
      </p:sp>
      <p:cxnSp>
        <p:nvCxnSpPr>
          <p:cNvPr id="168" name="Прямая соединительная линия 167">
            <a:extLst>
              <a:ext uri="{FF2B5EF4-FFF2-40B4-BE49-F238E27FC236}">
                <a16:creationId xmlns:a16="http://schemas.microsoft.com/office/drawing/2014/main" id="{AC228685-FEA0-364B-9D04-2A8590F7DC18}"/>
              </a:ext>
            </a:extLst>
          </p:cNvPr>
          <p:cNvCxnSpPr>
            <a:cxnSpLocks/>
          </p:cNvCxnSpPr>
          <p:nvPr/>
        </p:nvCxnSpPr>
        <p:spPr>
          <a:xfrm flipV="1">
            <a:off x="2614089" y="3092060"/>
            <a:ext cx="65435" cy="467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TextBox 170">
            <a:extLst>
              <a:ext uri="{FF2B5EF4-FFF2-40B4-BE49-F238E27FC236}">
                <a16:creationId xmlns:a16="http://schemas.microsoft.com/office/drawing/2014/main" id="{5E41A125-6367-C14E-A19E-CE995ED5D30D}"/>
              </a:ext>
            </a:extLst>
          </p:cNvPr>
          <p:cNvSpPr txBox="1"/>
          <p:nvPr/>
        </p:nvSpPr>
        <p:spPr>
          <a:xfrm>
            <a:off x="2500792" y="2734613"/>
            <a:ext cx="87235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Электрозаводская</a:t>
            </a:r>
          </a:p>
        </p:txBody>
      </p:sp>
      <p:cxnSp>
        <p:nvCxnSpPr>
          <p:cNvPr id="172" name="Прямая соединительная линия 171">
            <a:extLst>
              <a:ext uri="{FF2B5EF4-FFF2-40B4-BE49-F238E27FC236}">
                <a16:creationId xmlns:a16="http://schemas.microsoft.com/office/drawing/2014/main" id="{AC228685-FEA0-364B-9D04-2A8590F7DC18}"/>
              </a:ext>
            </a:extLst>
          </p:cNvPr>
          <p:cNvCxnSpPr>
            <a:cxnSpLocks/>
          </p:cNvCxnSpPr>
          <p:nvPr/>
        </p:nvCxnSpPr>
        <p:spPr>
          <a:xfrm flipV="1">
            <a:off x="2510483" y="2863170"/>
            <a:ext cx="65435" cy="467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5E41A125-6367-C14E-A19E-CE995ED5D30D}"/>
              </a:ext>
            </a:extLst>
          </p:cNvPr>
          <p:cNvSpPr txBox="1"/>
          <p:nvPr/>
        </p:nvSpPr>
        <p:spPr>
          <a:xfrm>
            <a:off x="894962" y="2431106"/>
            <a:ext cx="109036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Петровско-</a:t>
            </a:r>
            <a:r>
              <a:rPr lang="ru-RU" sz="700" dirty="0" err="1">
                <a:latin typeface="+mj-lt"/>
              </a:rPr>
              <a:t>Разумовское</a:t>
            </a:r>
            <a:endParaRPr lang="ru-RU" sz="700" dirty="0">
              <a:latin typeface="+mj-lt"/>
            </a:endParaRPr>
          </a:p>
        </p:txBody>
      </p:sp>
      <p:cxnSp>
        <p:nvCxnSpPr>
          <p:cNvPr id="174" name="Прямая соединительная линия 173">
            <a:extLst>
              <a:ext uri="{FF2B5EF4-FFF2-40B4-BE49-F238E27FC236}">
                <a16:creationId xmlns:a16="http://schemas.microsoft.com/office/drawing/2014/main" id="{AC228685-FEA0-364B-9D04-2A8590F7DC18}"/>
              </a:ext>
            </a:extLst>
          </p:cNvPr>
          <p:cNvCxnSpPr>
            <a:cxnSpLocks/>
          </p:cNvCxnSpPr>
          <p:nvPr/>
        </p:nvCxnSpPr>
        <p:spPr>
          <a:xfrm flipV="1">
            <a:off x="1890364" y="2481581"/>
            <a:ext cx="65435" cy="3195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174">
            <a:extLst>
              <a:ext uri="{FF2B5EF4-FFF2-40B4-BE49-F238E27FC236}">
                <a16:creationId xmlns:a16="http://schemas.microsoft.com/office/drawing/2014/main" id="{5E41A125-6367-C14E-A19E-CE995ED5D30D}"/>
              </a:ext>
            </a:extLst>
          </p:cNvPr>
          <p:cNvSpPr txBox="1"/>
          <p:nvPr/>
        </p:nvSpPr>
        <p:spPr>
          <a:xfrm>
            <a:off x="1874121" y="2221541"/>
            <a:ext cx="39305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НАТИ</a:t>
            </a:r>
          </a:p>
        </p:txBody>
      </p:sp>
      <p:cxnSp>
        <p:nvCxnSpPr>
          <p:cNvPr id="176" name="Прямая соединительная линия 175">
            <a:extLst>
              <a:ext uri="{FF2B5EF4-FFF2-40B4-BE49-F238E27FC236}">
                <a16:creationId xmlns:a16="http://schemas.microsoft.com/office/drawing/2014/main" id="{AC228685-FEA0-364B-9D04-2A8590F7DC18}"/>
              </a:ext>
            </a:extLst>
          </p:cNvPr>
          <p:cNvCxnSpPr>
            <a:cxnSpLocks/>
          </p:cNvCxnSpPr>
          <p:nvPr/>
        </p:nvCxnSpPr>
        <p:spPr>
          <a:xfrm flipV="1">
            <a:off x="1883812" y="2350098"/>
            <a:ext cx="65435" cy="467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5E41A125-6367-C14E-A19E-CE995ED5D30D}"/>
              </a:ext>
            </a:extLst>
          </p:cNvPr>
          <p:cNvSpPr txBox="1"/>
          <p:nvPr/>
        </p:nvSpPr>
        <p:spPr>
          <a:xfrm>
            <a:off x="1719380" y="2095353"/>
            <a:ext cx="50687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err="1">
                <a:latin typeface="+mj-lt"/>
              </a:rPr>
              <a:t>Ховрино</a:t>
            </a:r>
            <a:endParaRPr lang="ru-RU" sz="700" dirty="0">
              <a:latin typeface="+mj-lt"/>
            </a:endParaRPr>
          </a:p>
        </p:txBody>
      </p:sp>
      <p:cxnSp>
        <p:nvCxnSpPr>
          <p:cNvPr id="180" name="Прямая соединительная линия 179">
            <a:extLst>
              <a:ext uri="{FF2B5EF4-FFF2-40B4-BE49-F238E27FC236}">
                <a16:creationId xmlns:a16="http://schemas.microsoft.com/office/drawing/2014/main" id="{AC228685-FEA0-364B-9D04-2A8590F7DC18}"/>
              </a:ext>
            </a:extLst>
          </p:cNvPr>
          <p:cNvCxnSpPr>
            <a:cxnSpLocks/>
          </p:cNvCxnSpPr>
          <p:nvPr/>
        </p:nvCxnSpPr>
        <p:spPr>
          <a:xfrm flipV="1">
            <a:off x="1729071" y="2223910"/>
            <a:ext cx="65435" cy="467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5E41A125-6367-C14E-A19E-CE995ED5D30D}"/>
              </a:ext>
            </a:extLst>
          </p:cNvPr>
          <p:cNvSpPr txBox="1"/>
          <p:nvPr/>
        </p:nvSpPr>
        <p:spPr>
          <a:xfrm>
            <a:off x="771034" y="1998924"/>
            <a:ext cx="74732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Левобережная</a:t>
            </a:r>
          </a:p>
        </p:txBody>
      </p:sp>
      <p:cxnSp>
        <p:nvCxnSpPr>
          <p:cNvPr id="184" name="Прямая соединительная линия 183">
            <a:extLst>
              <a:ext uri="{FF2B5EF4-FFF2-40B4-BE49-F238E27FC236}">
                <a16:creationId xmlns:a16="http://schemas.microsoft.com/office/drawing/2014/main" id="{AC228685-FEA0-364B-9D04-2A8590F7DC18}"/>
              </a:ext>
            </a:extLst>
          </p:cNvPr>
          <p:cNvCxnSpPr>
            <a:cxnSpLocks/>
          </p:cNvCxnSpPr>
          <p:nvPr/>
        </p:nvCxnSpPr>
        <p:spPr>
          <a:xfrm flipH="1" flipV="1">
            <a:off x="1444428" y="2118296"/>
            <a:ext cx="99297" cy="164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Box 186">
            <a:extLst>
              <a:ext uri="{FF2B5EF4-FFF2-40B4-BE49-F238E27FC236}">
                <a16:creationId xmlns:a16="http://schemas.microsoft.com/office/drawing/2014/main" id="{5E41A125-6367-C14E-A19E-CE995ED5D30D}"/>
              </a:ext>
            </a:extLst>
          </p:cNvPr>
          <p:cNvSpPr txBox="1"/>
          <p:nvPr/>
        </p:nvSpPr>
        <p:spPr>
          <a:xfrm>
            <a:off x="2094325" y="2458087"/>
            <a:ext cx="59022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Останкино</a:t>
            </a:r>
          </a:p>
        </p:txBody>
      </p:sp>
      <p:cxnSp>
        <p:nvCxnSpPr>
          <p:cNvPr id="188" name="Прямая соединительная линия 187">
            <a:extLst>
              <a:ext uri="{FF2B5EF4-FFF2-40B4-BE49-F238E27FC236}">
                <a16:creationId xmlns:a16="http://schemas.microsoft.com/office/drawing/2014/main" id="{AC228685-FEA0-364B-9D04-2A8590F7DC18}"/>
              </a:ext>
            </a:extLst>
          </p:cNvPr>
          <p:cNvCxnSpPr>
            <a:cxnSpLocks/>
          </p:cNvCxnSpPr>
          <p:nvPr/>
        </p:nvCxnSpPr>
        <p:spPr>
          <a:xfrm flipV="1">
            <a:off x="2104016" y="2586644"/>
            <a:ext cx="65435" cy="467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>
            <a:extLst>
              <a:ext uri="{FF2B5EF4-FFF2-40B4-BE49-F238E27FC236}">
                <a16:creationId xmlns:a16="http://schemas.microsoft.com/office/drawing/2014/main" id="{5E41A125-6367-C14E-A19E-CE995ED5D30D}"/>
              </a:ext>
            </a:extLst>
          </p:cNvPr>
          <p:cNvSpPr txBox="1"/>
          <p:nvPr/>
        </p:nvSpPr>
        <p:spPr>
          <a:xfrm>
            <a:off x="1770764" y="2721538"/>
            <a:ext cx="49885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latin typeface="+mj-lt"/>
              </a:rPr>
              <a:t>Рижская</a:t>
            </a:r>
          </a:p>
        </p:txBody>
      </p:sp>
      <p:cxnSp>
        <p:nvCxnSpPr>
          <p:cNvPr id="190" name="Прямая соединительная линия 189">
            <a:extLst>
              <a:ext uri="{FF2B5EF4-FFF2-40B4-BE49-F238E27FC236}">
                <a16:creationId xmlns:a16="http://schemas.microsoft.com/office/drawing/2014/main" id="{AC228685-FEA0-364B-9D04-2A8590F7DC18}"/>
              </a:ext>
            </a:extLst>
          </p:cNvPr>
          <p:cNvCxnSpPr>
            <a:cxnSpLocks/>
          </p:cNvCxnSpPr>
          <p:nvPr/>
        </p:nvCxnSpPr>
        <p:spPr>
          <a:xfrm flipH="1">
            <a:off x="2177440" y="2808871"/>
            <a:ext cx="114663" cy="2956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олилиния 24"/>
          <p:cNvSpPr/>
          <p:nvPr/>
        </p:nvSpPr>
        <p:spPr>
          <a:xfrm>
            <a:off x="3050101" y="2852382"/>
            <a:ext cx="48180" cy="917812"/>
          </a:xfrm>
          <a:custGeom>
            <a:avLst/>
            <a:gdLst>
              <a:gd name="connsiteX0" fmla="*/ 20645 w 48180"/>
              <a:gd name="connsiteY0" fmla="*/ 917812 h 917812"/>
              <a:gd name="connsiteX1" fmla="*/ 174 w 48180"/>
              <a:gd name="connsiteY1" fmla="*/ 777922 h 917812"/>
              <a:gd name="connsiteX2" fmla="*/ 30881 w 48180"/>
              <a:gd name="connsiteY2" fmla="*/ 433317 h 917812"/>
              <a:gd name="connsiteX3" fmla="*/ 47941 w 48180"/>
              <a:gd name="connsiteY3" fmla="*/ 167185 h 917812"/>
              <a:gd name="connsiteX4" fmla="*/ 41117 w 48180"/>
              <a:gd name="connsiteY4" fmla="*/ 0 h 917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180" h="917812">
                <a:moveTo>
                  <a:pt x="20645" y="917812"/>
                </a:moveTo>
                <a:cubicBezTo>
                  <a:pt x="9556" y="888241"/>
                  <a:pt x="-1532" y="858671"/>
                  <a:pt x="174" y="777922"/>
                </a:cubicBezTo>
                <a:cubicBezTo>
                  <a:pt x="1880" y="697173"/>
                  <a:pt x="22920" y="535107"/>
                  <a:pt x="30881" y="433317"/>
                </a:cubicBezTo>
                <a:cubicBezTo>
                  <a:pt x="38842" y="331527"/>
                  <a:pt x="46235" y="239404"/>
                  <a:pt x="47941" y="167185"/>
                </a:cubicBezTo>
                <a:cubicBezTo>
                  <a:pt x="49647" y="94966"/>
                  <a:pt x="41686" y="27864"/>
                  <a:pt x="41117" y="0"/>
                </a:cubicBezTo>
              </a:path>
            </a:pathLst>
          </a:custGeom>
          <a:noFill/>
          <a:ln w="2540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latin typeface="+mj-lt"/>
            </a:endParaRPr>
          </a:p>
        </p:txBody>
      </p:sp>
      <p:grpSp>
        <p:nvGrpSpPr>
          <p:cNvPr id="134" name="Группа 133">
            <a:extLst>
              <a:ext uri="{FF2B5EF4-FFF2-40B4-BE49-F238E27FC236}">
                <a16:creationId xmlns:a16="http://schemas.microsoft.com/office/drawing/2014/main" id="{A4831F5A-D4C6-D04E-9BA8-BC1FC0DAE0D6}"/>
              </a:ext>
            </a:extLst>
          </p:cNvPr>
          <p:cNvGrpSpPr/>
          <p:nvPr/>
        </p:nvGrpSpPr>
        <p:grpSpPr>
          <a:xfrm>
            <a:off x="2438793" y="994455"/>
            <a:ext cx="1540513" cy="1339698"/>
            <a:chOff x="3568288" y="156775"/>
            <a:chExt cx="1540513" cy="1339698"/>
          </a:xfrm>
        </p:grpSpPr>
        <p:sp>
          <p:nvSpPr>
            <p:cNvPr id="135" name="Прямоугольник 134">
              <a:extLst>
                <a:ext uri="{FF2B5EF4-FFF2-40B4-BE49-F238E27FC236}">
                  <a16:creationId xmlns:a16="http://schemas.microsoft.com/office/drawing/2014/main" id="{42E05A7C-6AB3-064D-AD6A-6CA624559976}"/>
                </a:ext>
              </a:extLst>
            </p:cNvPr>
            <p:cNvSpPr/>
            <p:nvPr/>
          </p:nvSpPr>
          <p:spPr>
            <a:xfrm>
              <a:off x="3677698" y="252539"/>
              <a:ext cx="1337554" cy="1243934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accent1">
                  <a:lumMod val="50000"/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dirty="0">
                <a:latin typeface="+mj-lt"/>
              </a:endParaRPr>
            </a:p>
          </p:txBody>
        </p:sp>
        <p:sp>
          <p:nvSpPr>
            <p:cNvPr id="136" name="Прямоугольник 135">
              <a:extLst>
                <a:ext uri="{FF2B5EF4-FFF2-40B4-BE49-F238E27FC236}">
                  <a16:creationId xmlns:a16="http://schemas.microsoft.com/office/drawing/2014/main" id="{F7778671-FCC2-F74B-BC70-9AD606F76D10}"/>
                </a:ext>
              </a:extLst>
            </p:cNvPr>
            <p:cNvSpPr/>
            <p:nvPr/>
          </p:nvSpPr>
          <p:spPr>
            <a:xfrm>
              <a:off x="3568288" y="156775"/>
              <a:ext cx="1540513" cy="24247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2075"/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Размеры движения на Ленинградском направлении, пар поездов/</a:t>
              </a:r>
              <a:r>
                <a:rPr lang="ru-RU" sz="600" dirty="0" err="1">
                  <a:solidFill>
                    <a:schemeClr val="bg1"/>
                  </a:solidFill>
                  <a:latin typeface="+mj-lt"/>
                </a:rPr>
                <a:t>сут</a:t>
              </a:r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.</a:t>
              </a:r>
            </a:p>
          </p:txBody>
        </p:sp>
      </p:grpSp>
      <p:graphicFrame>
        <p:nvGraphicFramePr>
          <p:cNvPr id="137" name="Таблица 136">
            <a:extLst>
              <a:ext uri="{FF2B5EF4-FFF2-40B4-BE49-F238E27FC236}">
                <a16:creationId xmlns:a16="http://schemas.microsoft.com/office/drawing/2014/main" id="{213C6281-E6E5-4C4E-BCB7-12DD576C1E59}"/>
              </a:ext>
            </a:extLst>
          </p:cNvPr>
          <p:cNvGraphicFramePr>
            <a:graphicFrameLocks noGrp="1"/>
          </p:cNvGraphicFramePr>
          <p:nvPr/>
        </p:nvGraphicFramePr>
        <p:xfrm>
          <a:off x="2544156" y="1267352"/>
          <a:ext cx="1334050" cy="1066800"/>
        </p:xfrm>
        <a:graphic>
          <a:graphicData uri="http://schemas.openxmlformats.org/drawingml/2006/table">
            <a:tbl>
              <a:tblPr firstRow="1" bandRow="1">
                <a:noFill/>
                <a:tableStyleId>{2D5ABB26-0587-4C30-8999-92F81FD0307C}</a:tableStyleId>
              </a:tblPr>
              <a:tblGrid>
                <a:gridCol w="639036">
                  <a:extLst>
                    <a:ext uri="{9D8B030D-6E8A-4147-A177-3AD203B41FA5}">
                      <a16:colId xmlns:a16="http://schemas.microsoft.com/office/drawing/2014/main" val="1888242385"/>
                    </a:ext>
                  </a:extLst>
                </a:gridCol>
                <a:gridCol w="347507">
                  <a:extLst>
                    <a:ext uri="{9D8B030D-6E8A-4147-A177-3AD203B41FA5}">
                      <a16:colId xmlns:a16="http://schemas.microsoft.com/office/drawing/2014/main" val="4287278715"/>
                    </a:ext>
                  </a:extLst>
                </a:gridCol>
                <a:gridCol w="347507">
                  <a:extLst>
                    <a:ext uri="{9D8B030D-6E8A-4147-A177-3AD203B41FA5}">
                      <a16:colId xmlns:a16="http://schemas.microsoft.com/office/drawing/2014/main" val="3084681012"/>
                    </a:ext>
                  </a:extLst>
                </a:gridCol>
              </a:tblGrid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МЦД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65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65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667621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Пригородные диаметральные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0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23648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Дальние пригородные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40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4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2032710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Всего диаметральных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6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6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672235"/>
                  </a:ext>
                </a:extLst>
              </a:tr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chemeClr val="tx1"/>
                          </a:solidFill>
                        </a:rPr>
                        <a:t>Всего</a:t>
                      </a:r>
                      <a:endParaRPr lang="ru-RU" sz="500" b="1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0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rgbClr val="C00000"/>
                          </a:solidFill>
                        </a:rPr>
                        <a:t>210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0369880"/>
                  </a:ext>
                </a:extLst>
              </a:tr>
            </a:tbl>
          </a:graphicData>
        </a:graphic>
      </p:graphicFrame>
      <p:pic>
        <p:nvPicPr>
          <p:cNvPr id="139" name="Рисунок 138" descr="Train">
            <a:extLst>
              <a:ext uri="{FF2B5EF4-FFF2-40B4-BE49-F238E27FC236}">
                <a16:creationId xmlns:a16="http://schemas.microsoft.com/office/drawing/2014/main" id="{6F563FF2-0E62-7E40-81D9-9713B2CAFB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0140" y="231763"/>
            <a:ext cx="164463" cy="164463"/>
          </a:xfrm>
          <a:prstGeom prst="rect">
            <a:avLst/>
          </a:prstGeom>
        </p:spPr>
      </p:pic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id="{87D7EC35-91F6-A54D-B964-13F2DC354F42}"/>
              </a:ext>
            </a:extLst>
          </p:cNvPr>
          <p:cNvGrpSpPr/>
          <p:nvPr/>
        </p:nvGrpSpPr>
        <p:grpSpPr>
          <a:xfrm>
            <a:off x="2774349" y="2188593"/>
            <a:ext cx="1029187" cy="426892"/>
            <a:chOff x="3635375" y="1442462"/>
            <a:chExt cx="1029187" cy="426892"/>
          </a:xfrm>
        </p:grpSpPr>
        <p:sp>
          <p:nvSpPr>
            <p:cNvPr id="162" name="Скругленный прямоугольник 161">
              <a:extLst>
                <a:ext uri="{FF2B5EF4-FFF2-40B4-BE49-F238E27FC236}">
                  <a16:creationId xmlns:a16="http://schemas.microsoft.com/office/drawing/2014/main" id="{AFD1FE49-49C8-8C48-A31C-7968E1BAB6FF}"/>
                </a:ext>
              </a:extLst>
            </p:cNvPr>
            <p:cNvSpPr/>
            <p:nvPr/>
          </p:nvSpPr>
          <p:spPr>
            <a:xfrm>
              <a:off x="4108289" y="1442462"/>
              <a:ext cx="211052" cy="104362"/>
            </a:xfrm>
            <a:prstGeom prst="roundRect">
              <a:avLst/>
            </a:prstGeom>
            <a:noFill/>
            <a:ln w="63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>
                <a:latin typeface="+mj-lt"/>
              </a:endParaRPr>
            </a:p>
          </p:txBody>
        </p:sp>
        <p:sp>
          <p:nvSpPr>
            <p:cNvPr id="163" name="Скругленный прямоугольник 162">
              <a:extLst>
                <a:ext uri="{FF2B5EF4-FFF2-40B4-BE49-F238E27FC236}">
                  <a16:creationId xmlns:a16="http://schemas.microsoft.com/office/drawing/2014/main" id="{9DB4E259-D89B-6F44-8296-374FA9BFF1DC}"/>
                </a:ext>
              </a:extLst>
            </p:cNvPr>
            <p:cNvSpPr/>
            <p:nvPr/>
          </p:nvSpPr>
          <p:spPr>
            <a:xfrm>
              <a:off x="4453510" y="1444318"/>
              <a:ext cx="211052" cy="104362"/>
            </a:xfrm>
            <a:prstGeom prst="roundRect">
              <a:avLst/>
            </a:prstGeom>
            <a:noFill/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>
                <a:latin typeface="+mj-lt"/>
              </a:endParaRPr>
            </a:p>
          </p:txBody>
        </p:sp>
        <p:grpSp>
          <p:nvGrpSpPr>
            <p:cNvPr id="166" name="Группа 165">
              <a:extLst>
                <a:ext uri="{FF2B5EF4-FFF2-40B4-BE49-F238E27FC236}">
                  <a16:creationId xmlns:a16="http://schemas.microsoft.com/office/drawing/2014/main" id="{F0EAB219-2EC7-1C47-B9F5-F999C00812F9}"/>
                </a:ext>
              </a:extLst>
            </p:cNvPr>
            <p:cNvGrpSpPr/>
            <p:nvPr/>
          </p:nvGrpSpPr>
          <p:grpSpPr>
            <a:xfrm>
              <a:off x="3635375" y="1595115"/>
              <a:ext cx="620017" cy="149826"/>
              <a:chOff x="3776366" y="2024999"/>
              <a:chExt cx="620017" cy="149826"/>
            </a:xfrm>
          </p:grpSpPr>
          <p:sp>
            <p:nvSpPr>
              <p:cNvPr id="182" name="Прямоугольник 181">
                <a:extLst>
                  <a:ext uri="{FF2B5EF4-FFF2-40B4-BE49-F238E27FC236}">
                    <a16:creationId xmlns:a16="http://schemas.microsoft.com/office/drawing/2014/main" id="{FD892AA7-E557-234C-9A99-7C0089F2CC2A}"/>
                  </a:ext>
                </a:extLst>
              </p:cNvPr>
              <p:cNvSpPr/>
              <p:nvPr/>
            </p:nvSpPr>
            <p:spPr>
              <a:xfrm>
                <a:off x="3776366" y="2079544"/>
                <a:ext cx="620017" cy="95281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600" dirty="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Первый этап</a:t>
                </a:r>
              </a:p>
            </p:txBody>
          </p:sp>
          <p:sp>
            <p:nvSpPr>
              <p:cNvPr id="185" name="Треугольник 142">
                <a:extLst>
                  <a:ext uri="{FF2B5EF4-FFF2-40B4-BE49-F238E27FC236}">
                    <a16:creationId xmlns:a16="http://schemas.microsoft.com/office/drawing/2014/main" id="{115F8D27-952D-5949-B011-7BC7ACF9C6DA}"/>
                  </a:ext>
                </a:extLst>
              </p:cNvPr>
              <p:cNvSpPr/>
              <p:nvPr/>
            </p:nvSpPr>
            <p:spPr>
              <a:xfrm>
                <a:off x="4315377" y="2024999"/>
                <a:ext cx="80467" cy="56442"/>
              </a:xfrm>
              <a:prstGeom prst="triangle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ru-RU">
                  <a:latin typeface="+mj-lt"/>
                </a:endParaRPr>
              </a:p>
            </p:txBody>
          </p:sp>
        </p:grpSp>
        <p:grpSp>
          <p:nvGrpSpPr>
            <p:cNvPr id="169" name="Группа 168">
              <a:extLst>
                <a:ext uri="{FF2B5EF4-FFF2-40B4-BE49-F238E27FC236}">
                  <a16:creationId xmlns:a16="http://schemas.microsoft.com/office/drawing/2014/main" id="{9BEC6BA8-3E00-4F42-9CA2-045ED3842E78}"/>
                </a:ext>
              </a:extLst>
            </p:cNvPr>
            <p:cNvGrpSpPr/>
            <p:nvPr/>
          </p:nvGrpSpPr>
          <p:grpSpPr>
            <a:xfrm>
              <a:off x="3937108" y="1595896"/>
              <a:ext cx="665098" cy="273458"/>
              <a:chOff x="3937108" y="1592522"/>
              <a:chExt cx="665098" cy="273458"/>
            </a:xfrm>
          </p:grpSpPr>
          <p:grpSp>
            <p:nvGrpSpPr>
              <p:cNvPr id="170" name="Группа 169">
                <a:extLst>
                  <a:ext uri="{FF2B5EF4-FFF2-40B4-BE49-F238E27FC236}">
                    <a16:creationId xmlns:a16="http://schemas.microsoft.com/office/drawing/2014/main" id="{800D7DC8-6D4E-934E-964B-D59E00BCB108}"/>
                  </a:ext>
                </a:extLst>
              </p:cNvPr>
              <p:cNvGrpSpPr/>
              <p:nvPr/>
            </p:nvGrpSpPr>
            <p:grpSpPr>
              <a:xfrm>
                <a:off x="3937108" y="1592522"/>
                <a:ext cx="665098" cy="273458"/>
                <a:chOff x="3728111" y="2021426"/>
                <a:chExt cx="665098" cy="273458"/>
              </a:xfrm>
            </p:grpSpPr>
            <p:sp>
              <p:nvSpPr>
                <p:cNvPr id="178" name="Прямоугольник 177">
                  <a:extLst>
                    <a:ext uri="{FF2B5EF4-FFF2-40B4-BE49-F238E27FC236}">
                      <a16:creationId xmlns:a16="http://schemas.microsoft.com/office/drawing/2014/main" id="{CBB59191-1FF9-F24C-A760-F9F1EDCB3108}"/>
                    </a:ext>
                  </a:extLst>
                </p:cNvPr>
                <p:cNvSpPr/>
                <p:nvPr/>
              </p:nvSpPr>
              <p:spPr>
                <a:xfrm>
                  <a:off x="3728111" y="2199603"/>
                  <a:ext cx="665098" cy="95281"/>
                </a:xfrm>
                <a:prstGeom prst="rect">
                  <a:avLst/>
                </a:prstGeom>
                <a:solidFill>
                  <a:srgbClr val="C0000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ru-RU" sz="600" dirty="0">
                      <a:solidFill>
                        <a:schemeClr val="accent1">
                          <a:lumMod val="50000"/>
                        </a:schemeClr>
                      </a:solidFill>
                      <a:latin typeface="+mj-lt"/>
                    </a:rPr>
                    <a:t>Целевой этап</a:t>
                  </a:r>
                </a:p>
              </p:txBody>
            </p:sp>
            <p:sp>
              <p:nvSpPr>
                <p:cNvPr id="181" name="Треугольник 146">
                  <a:extLst>
                    <a:ext uri="{FF2B5EF4-FFF2-40B4-BE49-F238E27FC236}">
                      <a16:creationId xmlns:a16="http://schemas.microsoft.com/office/drawing/2014/main" id="{8E3B9BE4-DDCC-C94F-92D0-33E900587EC7}"/>
                    </a:ext>
                  </a:extLst>
                </p:cNvPr>
                <p:cNvSpPr/>
                <p:nvPr/>
              </p:nvSpPr>
              <p:spPr>
                <a:xfrm>
                  <a:off x="4312003" y="2021426"/>
                  <a:ext cx="80467" cy="56442"/>
                </a:xfrm>
                <a:prstGeom prst="triangle">
                  <a:avLst/>
                </a:prstGeom>
                <a:solidFill>
                  <a:srgbClr val="C0000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ru-RU">
                    <a:latin typeface="+mj-lt"/>
                  </a:endParaRPr>
                </a:p>
              </p:txBody>
            </p:sp>
          </p:grpSp>
          <p:sp>
            <p:nvSpPr>
              <p:cNvPr id="177" name="Прямоугольник 176">
                <a:extLst>
                  <a:ext uri="{FF2B5EF4-FFF2-40B4-BE49-F238E27FC236}">
                    <a16:creationId xmlns:a16="http://schemas.microsoft.com/office/drawing/2014/main" id="{2AEB9FA2-C86F-734A-9096-6285167FD660}"/>
                  </a:ext>
                </a:extLst>
              </p:cNvPr>
              <p:cNvSpPr/>
              <p:nvPr/>
            </p:nvSpPr>
            <p:spPr>
              <a:xfrm>
                <a:off x="4521000" y="1649793"/>
                <a:ext cx="80467" cy="123825"/>
              </a:xfrm>
              <a:prstGeom prst="rect">
                <a:avLst/>
              </a:prstGeom>
              <a:solidFill>
                <a:srgbClr val="C0000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600">
                  <a:solidFill>
                    <a:schemeClr val="accent1">
                      <a:lumMod val="50000"/>
                    </a:schemeClr>
                  </a:solidFill>
                  <a:latin typeface="+mj-lt"/>
                </a:endParaRPr>
              </a:p>
            </p:txBody>
          </p:sp>
        </p:grpSp>
      </p:grpSp>
      <p:grpSp>
        <p:nvGrpSpPr>
          <p:cNvPr id="186" name="Группа 185">
            <a:extLst>
              <a:ext uri="{FF2B5EF4-FFF2-40B4-BE49-F238E27FC236}">
                <a16:creationId xmlns:a16="http://schemas.microsoft.com/office/drawing/2014/main" id="{B78D39D0-14EE-8A45-9D5E-D5081E423E7A}"/>
              </a:ext>
            </a:extLst>
          </p:cNvPr>
          <p:cNvGrpSpPr/>
          <p:nvPr/>
        </p:nvGrpSpPr>
        <p:grpSpPr>
          <a:xfrm>
            <a:off x="1393883" y="3575504"/>
            <a:ext cx="1503380" cy="1339698"/>
            <a:chOff x="3593033" y="156775"/>
            <a:chExt cx="1503380" cy="1339698"/>
          </a:xfrm>
        </p:grpSpPr>
        <p:sp>
          <p:nvSpPr>
            <p:cNvPr id="191" name="Прямоугольник 190">
              <a:extLst>
                <a:ext uri="{FF2B5EF4-FFF2-40B4-BE49-F238E27FC236}">
                  <a16:creationId xmlns:a16="http://schemas.microsoft.com/office/drawing/2014/main" id="{8ADFFCE4-601E-EC4D-856B-A5934E899C35}"/>
                </a:ext>
              </a:extLst>
            </p:cNvPr>
            <p:cNvSpPr/>
            <p:nvPr/>
          </p:nvSpPr>
          <p:spPr>
            <a:xfrm>
              <a:off x="3677698" y="252539"/>
              <a:ext cx="1337554" cy="1243934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solidFill>
                <a:schemeClr val="accent1">
                  <a:lumMod val="50000"/>
                  <a:alpha val="2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dirty="0">
                <a:latin typeface="+mj-lt"/>
              </a:endParaRPr>
            </a:p>
          </p:txBody>
        </p:sp>
        <p:sp>
          <p:nvSpPr>
            <p:cNvPr id="192" name="Прямоугольник 191">
              <a:extLst>
                <a:ext uri="{FF2B5EF4-FFF2-40B4-BE49-F238E27FC236}">
                  <a16:creationId xmlns:a16="http://schemas.microsoft.com/office/drawing/2014/main" id="{8528F86E-EF6F-5E4B-9300-2AFBC48372A4}"/>
                </a:ext>
              </a:extLst>
            </p:cNvPr>
            <p:cNvSpPr/>
            <p:nvPr/>
          </p:nvSpPr>
          <p:spPr>
            <a:xfrm>
              <a:off x="3593033" y="156775"/>
              <a:ext cx="1503380" cy="24247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4150"/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Размеры движения на Казанском направлении, пар поездов/</a:t>
              </a:r>
              <a:r>
                <a:rPr lang="ru-RU" sz="600" dirty="0" err="1">
                  <a:solidFill>
                    <a:schemeClr val="bg1"/>
                  </a:solidFill>
                  <a:latin typeface="+mj-lt"/>
                </a:rPr>
                <a:t>сут</a:t>
              </a:r>
              <a:r>
                <a:rPr lang="ru-RU" sz="600" dirty="0">
                  <a:solidFill>
                    <a:schemeClr val="bg1"/>
                  </a:solidFill>
                  <a:latin typeface="+mj-lt"/>
                </a:rPr>
                <a:t>.</a:t>
              </a:r>
            </a:p>
          </p:txBody>
        </p:sp>
      </p:grpSp>
      <p:graphicFrame>
        <p:nvGraphicFramePr>
          <p:cNvPr id="193" name="Таблица 192">
            <a:extLst>
              <a:ext uri="{FF2B5EF4-FFF2-40B4-BE49-F238E27FC236}">
                <a16:creationId xmlns:a16="http://schemas.microsoft.com/office/drawing/2014/main" id="{E547FDC1-1171-8245-9354-4048B32539C3}"/>
              </a:ext>
            </a:extLst>
          </p:cNvPr>
          <p:cNvGraphicFramePr>
            <a:graphicFrameLocks noGrp="1"/>
          </p:cNvGraphicFramePr>
          <p:nvPr/>
        </p:nvGraphicFramePr>
        <p:xfrm>
          <a:off x="1474501" y="3848401"/>
          <a:ext cx="1334050" cy="1066800"/>
        </p:xfrm>
        <a:graphic>
          <a:graphicData uri="http://schemas.openxmlformats.org/drawingml/2006/table">
            <a:tbl>
              <a:tblPr firstRow="1" bandRow="1">
                <a:noFill/>
                <a:tableStyleId>{2D5ABB26-0587-4C30-8999-92F81FD0307C}</a:tableStyleId>
              </a:tblPr>
              <a:tblGrid>
                <a:gridCol w="639036">
                  <a:extLst>
                    <a:ext uri="{9D8B030D-6E8A-4147-A177-3AD203B41FA5}">
                      <a16:colId xmlns:a16="http://schemas.microsoft.com/office/drawing/2014/main" val="1888242385"/>
                    </a:ext>
                  </a:extLst>
                </a:gridCol>
                <a:gridCol w="347507">
                  <a:extLst>
                    <a:ext uri="{9D8B030D-6E8A-4147-A177-3AD203B41FA5}">
                      <a16:colId xmlns:a16="http://schemas.microsoft.com/office/drawing/2014/main" val="4287278715"/>
                    </a:ext>
                  </a:extLst>
                </a:gridCol>
                <a:gridCol w="347507">
                  <a:extLst>
                    <a:ext uri="{9D8B030D-6E8A-4147-A177-3AD203B41FA5}">
                      <a16:colId xmlns:a16="http://schemas.microsoft.com/office/drawing/2014/main" val="3084681012"/>
                    </a:ext>
                  </a:extLst>
                </a:gridCol>
              </a:tblGrid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МЦД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65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65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1667621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Пригородные диаметральные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0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23648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Дальние пригородные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62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62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2032710"/>
                  </a:ext>
                </a:extLst>
              </a:tr>
              <a:tr h="2416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Всего диаметральных</a:t>
                      </a:r>
                      <a:endParaRPr lang="ru-RU" sz="50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6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dirty="0">
                          <a:solidFill>
                            <a:srgbClr val="C00000"/>
                          </a:solidFill>
                        </a:rPr>
                        <a:t>16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672235"/>
                  </a:ext>
                </a:extLst>
              </a:tr>
              <a:tr h="16610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chemeClr val="tx1"/>
                          </a:solidFill>
                        </a:rPr>
                        <a:t>Всего</a:t>
                      </a:r>
                      <a:endParaRPr lang="ru-RU" sz="500" b="1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27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500" b="1" dirty="0">
                          <a:solidFill>
                            <a:srgbClr val="C00000"/>
                          </a:solidFill>
                        </a:rPr>
                        <a:t>227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0369880"/>
                  </a:ext>
                </a:extLst>
              </a:tr>
            </a:tbl>
          </a:graphicData>
        </a:graphic>
      </p:graphicFrame>
      <p:grpSp>
        <p:nvGrpSpPr>
          <p:cNvPr id="194" name="Группа 193">
            <a:extLst>
              <a:ext uri="{FF2B5EF4-FFF2-40B4-BE49-F238E27FC236}">
                <a16:creationId xmlns:a16="http://schemas.microsoft.com/office/drawing/2014/main" id="{66D5E66B-28C2-AA46-9C1A-462C9E9E389B}"/>
              </a:ext>
            </a:extLst>
          </p:cNvPr>
          <p:cNvGrpSpPr/>
          <p:nvPr/>
        </p:nvGrpSpPr>
        <p:grpSpPr>
          <a:xfrm>
            <a:off x="1709116" y="4773996"/>
            <a:ext cx="1029187" cy="426892"/>
            <a:chOff x="3635375" y="1442462"/>
            <a:chExt cx="1029187" cy="426892"/>
          </a:xfrm>
        </p:grpSpPr>
        <p:sp>
          <p:nvSpPr>
            <p:cNvPr id="195" name="Скругленный прямоугольник 194">
              <a:extLst>
                <a:ext uri="{FF2B5EF4-FFF2-40B4-BE49-F238E27FC236}">
                  <a16:creationId xmlns:a16="http://schemas.microsoft.com/office/drawing/2014/main" id="{F5180933-106C-4249-B0F6-0AAAAA1C82AC}"/>
                </a:ext>
              </a:extLst>
            </p:cNvPr>
            <p:cNvSpPr/>
            <p:nvPr/>
          </p:nvSpPr>
          <p:spPr>
            <a:xfrm>
              <a:off x="4108289" y="1442462"/>
              <a:ext cx="211052" cy="104362"/>
            </a:xfrm>
            <a:prstGeom prst="roundRect">
              <a:avLst/>
            </a:prstGeom>
            <a:noFill/>
            <a:ln w="63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>
                <a:latin typeface="+mj-lt"/>
              </a:endParaRPr>
            </a:p>
          </p:txBody>
        </p:sp>
        <p:sp>
          <p:nvSpPr>
            <p:cNvPr id="196" name="Скругленный прямоугольник 195">
              <a:extLst>
                <a:ext uri="{FF2B5EF4-FFF2-40B4-BE49-F238E27FC236}">
                  <a16:creationId xmlns:a16="http://schemas.microsoft.com/office/drawing/2014/main" id="{2A247E78-2663-E848-8884-482624629189}"/>
                </a:ext>
              </a:extLst>
            </p:cNvPr>
            <p:cNvSpPr/>
            <p:nvPr/>
          </p:nvSpPr>
          <p:spPr>
            <a:xfrm>
              <a:off x="4453510" y="1444318"/>
              <a:ext cx="211052" cy="104362"/>
            </a:xfrm>
            <a:prstGeom prst="roundRect">
              <a:avLst/>
            </a:prstGeom>
            <a:noFill/>
            <a:ln w="63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>
                <a:latin typeface="+mj-lt"/>
              </a:endParaRPr>
            </a:p>
          </p:txBody>
        </p:sp>
        <p:grpSp>
          <p:nvGrpSpPr>
            <p:cNvPr id="197" name="Группа 196">
              <a:extLst>
                <a:ext uri="{FF2B5EF4-FFF2-40B4-BE49-F238E27FC236}">
                  <a16:creationId xmlns:a16="http://schemas.microsoft.com/office/drawing/2014/main" id="{59B66725-AFC7-D949-AFB2-36077059983D}"/>
                </a:ext>
              </a:extLst>
            </p:cNvPr>
            <p:cNvGrpSpPr/>
            <p:nvPr/>
          </p:nvGrpSpPr>
          <p:grpSpPr>
            <a:xfrm>
              <a:off x="3635375" y="1595115"/>
              <a:ext cx="620017" cy="149826"/>
              <a:chOff x="3776366" y="2024999"/>
              <a:chExt cx="620017" cy="149826"/>
            </a:xfrm>
          </p:grpSpPr>
          <p:sp>
            <p:nvSpPr>
              <p:cNvPr id="203" name="Прямоугольник 202">
                <a:extLst>
                  <a:ext uri="{FF2B5EF4-FFF2-40B4-BE49-F238E27FC236}">
                    <a16:creationId xmlns:a16="http://schemas.microsoft.com/office/drawing/2014/main" id="{BDB0F6F8-932A-3240-8A2F-5577363EED10}"/>
                  </a:ext>
                </a:extLst>
              </p:cNvPr>
              <p:cNvSpPr/>
              <p:nvPr/>
            </p:nvSpPr>
            <p:spPr>
              <a:xfrm>
                <a:off x="3776366" y="2079544"/>
                <a:ext cx="620017" cy="95281"/>
              </a:xfrm>
              <a:prstGeom prst="rect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600" dirty="0">
                    <a:solidFill>
                      <a:schemeClr val="accent1">
                        <a:lumMod val="50000"/>
                      </a:schemeClr>
                    </a:solidFill>
                    <a:latin typeface="+mj-lt"/>
                  </a:rPr>
                  <a:t>Первый этап</a:t>
                </a:r>
              </a:p>
            </p:txBody>
          </p:sp>
          <p:sp>
            <p:nvSpPr>
              <p:cNvPr id="204" name="Треугольник 160">
                <a:extLst>
                  <a:ext uri="{FF2B5EF4-FFF2-40B4-BE49-F238E27FC236}">
                    <a16:creationId xmlns:a16="http://schemas.microsoft.com/office/drawing/2014/main" id="{7434638A-4C18-8A45-92BF-71FCC669A5D7}"/>
                  </a:ext>
                </a:extLst>
              </p:cNvPr>
              <p:cNvSpPr/>
              <p:nvPr/>
            </p:nvSpPr>
            <p:spPr>
              <a:xfrm>
                <a:off x="4315377" y="2024999"/>
                <a:ext cx="80467" cy="56442"/>
              </a:xfrm>
              <a:prstGeom prst="triangle">
                <a:avLst/>
              </a:prstGeom>
              <a:solidFill>
                <a:schemeClr val="accent1">
                  <a:alpha val="2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ru-RU">
                  <a:latin typeface="+mj-lt"/>
                </a:endParaRPr>
              </a:p>
            </p:txBody>
          </p:sp>
        </p:grpSp>
        <p:grpSp>
          <p:nvGrpSpPr>
            <p:cNvPr id="198" name="Группа 197">
              <a:extLst>
                <a:ext uri="{FF2B5EF4-FFF2-40B4-BE49-F238E27FC236}">
                  <a16:creationId xmlns:a16="http://schemas.microsoft.com/office/drawing/2014/main" id="{5FB05BD9-8B64-144E-A942-67655A692FDC}"/>
                </a:ext>
              </a:extLst>
            </p:cNvPr>
            <p:cNvGrpSpPr/>
            <p:nvPr/>
          </p:nvGrpSpPr>
          <p:grpSpPr>
            <a:xfrm>
              <a:off x="3937108" y="1595896"/>
              <a:ext cx="665098" cy="273458"/>
              <a:chOff x="3937108" y="1592522"/>
              <a:chExt cx="665098" cy="273458"/>
            </a:xfrm>
          </p:grpSpPr>
          <p:grpSp>
            <p:nvGrpSpPr>
              <p:cNvPr id="199" name="Группа 198">
                <a:extLst>
                  <a:ext uri="{FF2B5EF4-FFF2-40B4-BE49-F238E27FC236}">
                    <a16:creationId xmlns:a16="http://schemas.microsoft.com/office/drawing/2014/main" id="{0824DDAE-B03F-A444-B29F-1DE34B2EA90E}"/>
                  </a:ext>
                </a:extLst>
              </p:cNvPr>
              <p:cNvGrpSpPr/>
              <p:nvPr/>
            </p:nvGrpSpPr>
            <p:grpSpPr>
              <a:xfrm>
                <a:off x="3937108" y="1592522"/>
                <a:ext cx="665098" cy="273458"/>
                <a:chOff x="3728111" y="2021426"/>
                <a:chExt cx="665098" cy="273458"/>
              </a:xfrm>
            </p:grpSpPr>
            <p:sp>
              <p:nvSpPr>
                <p:cNvPr id="201" name="Прямоугольник 200">
                  <a:extLst>
                    <a:ext uri="{FF2B5EF4-FFF2-40B4-BE49-F238E27FC236}">
                      <a16:creationId xmlns:a16="http://schemas.microsoft.com/office/drawing/2014/main" id="{59DC1E6D-D2B7-7F4E-B49C-8B9E1B9BE406}"/>
                    </a:ext>
                  </a:extLst>
                </p:cNvPr>
                <p:cNvSpPr/>
                <p:nvPr/>
              </p:nvSpPr>
              <p:spPr>
                <a:xfrm>
                  <a:off x="3728111" y="2199603"/>
                  <a:ext cx="665098" cy="95281"/>
                </a:xfrm>
                <a:prstGeom prst="rect">
                  <a:avLst/>
                </a:prstGeom>
                <a:solidFill>
                  <a:srgbClr val="C0000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ru-RU" sz="600" dirty="0">
                      <a:solidFill>
                        <a:schemeClr val="accent1">
                          <a:lumMod val="50000"/>
                        </a:schemeClr>
                      </a:solidFill>
                      <a:latin typeface="+mj-lt"/>
                    </a:rPr>
                    <a:t>Целевой этап</a:t>
                  </a:r>
                </a:p>
              </p:txBody>
            </p:sp>
            <p:sp>
              <p:nvSpPr>
                <p:cNvPr id="202" name="Треугольник 158">
                  <a:extLst>
                    <a:ext uri="{FF2B5EF4-FFF2-40B4-BE49-F238E27FC236}">
                      <a16:creationId xmlns:a16="http://schemas.microsoft.com/office/drawing/2014/main" id="{E976952B-50BB-B640-813B-15176CFD93F9}"/>
                    </a:ext>
                  </a:extLst>
                </p:cNvPr>
                <p:cNvSpPr/>
                <p:nvPr/>
              </p:nvSpPr>
              <p:spPr>
                <a:xfrm>
                  <a:off x="4312003" y="2021426"/>
                  <a:ext cx="80467" cy="56442"/>
                </a:xfrm>
                <a:prstGeom prst="triangle">
                  <a:avLst/>
                </a:prstGeom>
                <a:solidFill>
                  <a:srgbClr val="C0000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ru-RU">
                    <a:latin typeface="+mj-lt"/>
                  </a:endParaRPr>
                </a:p>
              </p:txBody>
            </p:sp>
          </p:grpSp>
          <p:sp>
            <p:nvSpPr>
              <p:cNvPr id="200" name="Прямоугольник 199">
                <a:extLst>
                  <a:ext uri="{FF2B5EF4-FFF2-40B4-BE49-F238E27FC236}">
                    <a16:creationId xmlns:a16="http://schemas.microsoft.com/office/drawing/2014/main" id="{17CD5976-0DE8-F945-9A33-4BA5C35D87DB}"/>
                  </a:ext>
                </a:extLst>
              </p:cNvPr>
              <p:cNvSpPr/>
              <p:nvPr/>
            </p:nvSpPr>
            <p:spPr>
              <a:xfrm>
                <a:off x="4521000" y="1649793"/>
                <a:ext cx="80467" cy="123825"/>
              </a:xfrm>
              <a:prstGeom prst="rect">
                <a:avLst/>
              </a:prstGeom>
              <a:solidFill>
                <a:srgbClr val="C0000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600">
                  <a:solidFill>
                    <a:schemeClr val="accent1">
                      <a:lumMod val="50000"/>
                    </a:schemeClr>
                  </a:solidFill>
                  <a:latin typeface="+mj-lt"/>
                </a:endParaRPr>
              </a:p>
            </p:txBody>
          </p:sp>
        </p:grpSp>
      </p:grpSp>
      <p:sp>
        <p:nvSpPr>
          <p:cNvPr id="213" name="TextBox 212"/>
          <p:cNvSpPr txBox="1"/>
          <p:nvPr/>
        </p:nvSpPr>
        <p:spPr>
          <a:xfrm>
            <a:off x="5425436" y="191745"/>
            <a:ext cx="20774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+mj-lt"/>
              </a:rPr>
              <a:t>Технические параметры</a:t>
            </a:r>
          </a:p>
        </p:txBody>
      </p:sp>
      <p:sp>
        <p:nvSpPr>
          <p:cNvPr id="214" name="TextBox 213"/>
          <p:cNvSpPr txBox="1"/>
          <p:nvPr/>
        </p:nvSpPr>
        <p:spPr>
          <a:xfrm>
            <a:off x="5425436" y="469677"/>
            <a:ext cx="15408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latin typeface="+mj-lt"/>
              </a:rPr>
              <a:t>Общая протяженность</a:t>
            </a:r>
          </a:p>
        </p:txBody>
      </p:sp>
      <p:sp>
        <p:nvSpPr>
          <p:cNvPr id="215" name="TextBox 214"/>
          <p:cNvSpPr txBox="1"/>
          <p:nvPr/>
        </p:nvSpPr>
        <p:spPr>
          <a:xfrm>
            <a:off x="5425436" y="684190"/>
            <a:ext cx="20730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latin typeface="+mj-lt"/>
              </a:rPr>
              <a:t>Общее количество ост. пунктов</a:t>
            </a:r>
          </a:p>
        </p:txBody>
      </p:sp>
      <p:sp>
        <p:nvSpPr>
          <p:cNvPr id="216" name="TextBox 215"/>
          <p:cNvSpPr txBox="1"/>
          <p:nvPr/>
        </p:nvSpPr>
        <p:spPr>
          <a:xfrm>
            <a:off x="5425436" y="893522"/>
            <a:ext cx="17780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latin typeface="+mj-lt"/>
              </a:rPr>
              <a:t>Время в пути по маршруту</a:t>
            </a:r>
          </a:p>
        </p:txBody>
      </p:sp>
      <p:sp>
        <p:nvSpPr>
          <p:cNvPr id="217" name="TextBox 216"/>
          <p:cNvSpPr txBox="1"/>
          <p:nvPr/>
        </p:nvSpPr>
        <p:spPr>
          <a:xfrm>
            <a:off x="5425436" y="1093815"/>
            <a:ext cx="17796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latin typeface="+mj-lt"/>
              </a:rPr>
              <a:t>Пересадок на метро и ж/д</a:t>
            </a:r>
          </a:p>
        </p:txBody>
      </p:sp>
      <p:sp>
        <p:nvSpPr>
          <p:cNvPr id="219" name="TextBox 218"/>
          <p:cNvSpPr txBox="1"/>
          <p:nvPr/>
        </p:nvSpPr>
        <p:spPr>
          <a:xfrm>
            <a:off x="5425436" y="1307381"/>
            <a:ext cx="21499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latin typeface="+mj-lt"/>
              </a:rPr>
              <a:t>Мин. интервал между поездами</a:t>
            </a:r>
          </a:p>
        </p:txBody>
      </p:sp>
      <p:sp>
        <p:nvSpPr>
          <p:cNvPr id="229" name="TextBox 228"/>
          <p:cNvSpPr txBox="1"/>
          <p:nvPr/>
        </p:nvSpPr>
        <p:spPr>
          <a:xfrm>
            <a:off x="7717725" y="464324"/>
            <a:ext cx="53251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  <a:latin typeface="+mj-lt"/>
              </a:rPr>
              <a:t>88 км</a:t>
            </a:r>
          </a:p>
        </p:txBody>
      </p:sp>
      <p:sp>
        <p:nvSpPr>
          <p:cNvPr id="230" name="TextBox 229"/>
          <p:cNvSpPr txBox="1"/>
          <p:nvPr/>
        </p:nvSpPr>
        <p:spPr>
          <a:xfrm>
            <a:off x="7715504" y="676925"/>
            <a:ext cx="3289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  <a:latin typeface="+mj-lt"/>
              </a:rPr>
              <a:t>43</a:t>
            </a:r>
          </a:p>
        </p:txBody>
      </p:sp>
      <p:sp>
        <p:nvSpPr>
          <p:cNvPr id="231" name="TextBox 230"/>
          <p:cNvSpPr txBox="1"/>
          <p:nvPr/>
        </p:nvSpPr>
        <p:spPr>
          <a:xfrm>
            <a:off x="7712117" y="889257"/>
            <a:ext cx="68961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  <a:latin typeface="+mj-lt"/>
              </a:rPr>
              <a:t>112 мин</a:t>
            </a:r>
          </a:p>
        </p:txBody>
      </p:sp>
      <p:sp>
        <p:nvSpPr>
          <p:cNvPr id="232" name="TextBox 231"/>
          <p:cNvSpPr txBox="1"/>
          <p:nvPr/>
        </p:nvSpPr>
        <p:spPr>
          <a:xfrm>
            <a:off x="7710514" y="1114997"/>
            <a:ext cx="100860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  <a:latin typeface="+mj-lt"/>
              </a:rPr>
              <a:t>14 пересадок</a:t>
            </a:r>
          </a:p>
        </p:txBody>
      </p:sp>
      <p:sp>
        <p:nvSpPr>
          <p:cNvPr id="234" name="TextBox 233"/>
          <p:cNvSpPr txBox="1"/>
          <p:nvPr/>
        </p:nvSpPr>
        <p:spPr>
          <a:xfrm>
            <a:off x="7716556" y="1308205"/>
            <a:ext cx="5453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  <a:latin typeface="+mj-lt"/>
              </a:rPr>
              <a:t>5 мин</a:t>
            </a: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7F19614C-F04B-C147-96D8-8E06EE5A71A2}"/>
              </a:ext>
            </a:extLst>
          </p:cNvPr>
          <p:cNvGraphicFramePr>
            <a:graphicFrameLocks noGrp="1"/>
          </p:cNvGraphicFramePr>
          <p:nvPr/>
        </p:nvGraphicFramePr>
        <p:xfrm>
          <a:off x="5592703" y="1942903"/>
          <a:ext cx="4015784" cy="44555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6746">
                  <a:extLst>
                    <a:ext uri="{9D8B030D-6E8A-4147-A177-3AD203B41FA5}">
                      <a16:colId xmlns:a16="http://schemas.microsoft.com/office/drawing/2014/main" val="153853154"/>
                    </a:ext>
                  </a:extLst>
                </a:gridCol>
                <a:gridCol w="673701">
                  <a:extLst>
                    <a:ext uri="{9D8B030D-6E8A-4147-A177-3AD203B41FA5}">
                      <a16:colId xmlns:a16="http://schemas.microsoft.com/office/drawing/2014/main" val="2355476684"/>
                    </a:ext>
                  </a:extLst>
                </a:gridCol>
                <a:gridCol w="623671">
                  <a:extLst>
                    <a:ext uri="{9D8B030D-6E8A-4147-A177-3AD203B41FA5}">
                      <a16:colId xmlns:a16="http://schemas.microsoft.com/office/drawing/2014/main" val="2051155825"/>
                    </a:ext>
                  </a:extLst>
                </a:gridCol>
                <a:gridCol w="537222">
                  <a:extLst>
                    <a:ext uri="{9D8B030D-6E8A-4147-A177-3AD203B41FA5}">
                      <a16:colId xmlns:a16="http://schemas.microsoft.com/office/drawing/2014/main" val="1412457844"/>
                    </a:ext>
                  </a:extLst>
                </a:gridCol>
                <a:gridCol w="537222">
                  <a:extLst>
                    <a:ext uri="{9D8B030D-6E8A-4147-A177-3AD203B41FA5}">
                      <a16:colId xmlns:a16="http://schemas.microsoft.com/office/drawing/2014/main" val="1149529663"/>
                    </a:ext>
                  </a:extLst>
                </a:gridCol>
                <a:gridCol w="537222">
                  <a:extLst>
                    <a:ext uri="{9D8B030D-6E8A-4147-A177-3AD203B41FA5}">
                      <a16:colId xmlns:a16="http://schemas.microsoft.com/office/drawing/2014/main" val="3730070436"/>
                    </a:ext>
                  </a:extLst>
                </a:gridCol>
              </a:tblGrid>
              <a:tr h="85853">
                <a:tc>
                  <a:txBody>
                    <a:bodyPr/>
                    <a:lstStyle/>
                    <a:p>
                      <a:pPr marL="36000" algn="l" fontAlgn="b"/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F3864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Текущий пасс. поток (2020 г.), пасс./сутки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F386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ерспективный пасс. поток </a:t>
                      </a:r>
                    </a:p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2030 г.), пасс./сутки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F38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ерспективный пасс. поток (2045 г.), пасс./сутки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F386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9057985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КРЮКОВО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59 619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114 145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47,8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45 307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1,4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680690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МАЛИНО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   604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  9 621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93,7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1 127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54,5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0260742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ФИРСАНОВКА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3 943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  9 844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59,9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4 052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9250813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СХОДНЯ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29 651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43 574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2,0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58 842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5,9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309020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ПОДРЕЗКОВО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9 218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10 399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1,4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8 662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44,3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0825884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НОВОПОДРЕЗКОВО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6 610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21 084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68,7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4 148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8,3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0642466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ПЛАНЕРНАЯ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5 721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15 805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63,8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7 414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42,3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1698174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ХИМКИ-2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      -  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49 850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77 835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6,0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022630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ХИМКИ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45 785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55 843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8,0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80 147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0,3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1133771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ЛЕВОБЕРЕЖНАЯ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8 042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12 073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3,4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8 614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5,1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8749863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БУСИНОВО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      -  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46 315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66 043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9060727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ХОВРИНО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13 480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25 593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47,3%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35 190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27,3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13841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МОССЕЛЬМАШ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         4 699   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         17 931   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73,8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25 568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552253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НАТИ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8 171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48 592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83,2%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69 290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400677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П-РАЗУМОВСКАЯ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       24 270   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106 705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77,3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131 249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18,7%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727014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ОСТАНКИНО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         9 204   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         18 416   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50,0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26 261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5707019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КАЛИБРОВСКАЯ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               -     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10 129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14 443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5034529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РИЖСКАЯ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2 289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53 313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95,7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95 027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43,9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009599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МОСКВА 2 МИТЬКОВО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               -     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35 354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50 413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6993923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ЭЛЕКТРОЗАВОДСКАЯ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       33 909   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74 341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54,4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106 007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2594871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СОРТИРОВОЧНАЯ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3 977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  4 698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15,3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6 700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525162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НОВАЯ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       28 806   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50 499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43,0%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72 009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6486499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ФРЕЗЕР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18 586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65 337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71,6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93 168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327784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ПЕРОВО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14 342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39 873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64,0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66 746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40,3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4491581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ПЛЮЩЕВО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         4 905   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11 870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58,7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20 553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42,2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7654043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ВЕШНЯКИ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         4 687   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  12 912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63,7%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18 412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047130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ВЫХИНО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74 991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effectLst/>
                          <a:latin typeface="+mj-lt"/>
                        </a:rPr>
                        <a:t>       106 936   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29,9%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effectLst/>
                          <a:latin typeface="+mj-lt"/>
                        </a:rPr>
                        <a:t>139 341</a:t>
                      </a:r>
                      <a:endParaRPr lang="ru-RU" sz="600" b="0" i="0" u="none" strike="noStrike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effectLst/>
                          <a:latin typeface="+mj-lt"/>
                        </a:rPr>
                        <a:t>23,3%</a:t>
                      </a:r>
                      <a:endParaRPr lang="ru-RU" sz="600" b="0" i="0" u="none" strike="noStrike" dirty="0"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365829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КОСИНО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6 757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63 718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89,4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04 026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8,7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F3864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283920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УХТОМСКАЯ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8 904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54 466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83,7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72 896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5,3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685066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ЛЮБЕРЦЫ 1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53 222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108 702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51,0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56 675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0,6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208496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ПАНКИ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10 647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47 006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77,3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66 253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9,1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168229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ТОМИЛИНО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13 307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25 668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48,2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45 456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43,5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6469230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КРАСКОВО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6 583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  8 624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3,7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2 737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2,3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365085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МАЛАХОВКА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15 492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18 939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8,2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4 998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45,9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077227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УДЕЛЬНАЯ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13 247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15 682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5,5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9 579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9,9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5024313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БЫКОВО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12 179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14 975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8,7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8 845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0,5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8613742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ИЛЬИНСКАЯ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16 558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21 475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2,9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1 227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-1,2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6147583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ОТДЫХ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18 526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45 916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59,7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69 107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3,6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3385760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КРАТОВО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3 912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  7 037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44,4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9 929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9,1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830972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42 КМ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1 342   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  3 051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56,0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3 827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0,3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02439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ФАБРИЧНАЯ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23 372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40 264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42,0%</a:t>
                      </a:r>
                      <a:endParaRPr lang="ru-RU" sz="600" b="0" i="0" u="none" strike="noStrike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53 404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4,6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4647472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РАМЕНСКОЕ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27 921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58 133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52,0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82 686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9,7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3025936"/>
                  </a:ext>
                </a:extLst>
              </a:tr>
              <a:tr h="85853"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47 КМ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4 800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         11 539   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ctr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58,4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15 190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b"/>
                      <a:r>
                        <a:rPr lang="ru-RU" sz="60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24,0%</a:t>
                      </a:r>
                      <a:endParaRPr lang="ru-RU" sz="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5666" marR="5666" marT="566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F38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774794"/>
                  </a:ext>
                </a:extLst>
              </a:tr>
            </a:tbl>
          </a:graphicData>
        </a:graphic>
      </p:graphicFrame>
      <p:sp>
        <p:nvSpPr>
          <p:cNvPr id="127" name="TextBox 126">
            <a:extLst>
              <a:ext uri="{FF2B5EF4-FFF2-40B4-BE49-F238E27FC236}">
                <a16:creationId xmlns:a16="http://schemas.microsoft.com/office/drawing/2014/main" id="{868CFE4F-829B-2640-900C-2E6F9BAACDFA}"/>
              </a:ext>
            </a:extLst>
          </p:cNvPr>
          <p:cNvSpPr txBox="1"/>
          <p:nvPr/>
        </p:nvSpPr>
        <p:spPr>
          <a:xfrm>
            <a:off x="51621" y="0"/>
            <a:ext cx="26003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BA0B17"/>
                </a:solidFill>
                <a:latin typeface="+mj-lt"/>
              </a:rPr>
              <a:t>ПАСПОРТ МЦД</a:t>
            </a:r>
            <a:r>
              <a:rPr lang="en-US" dirty="0">
                <a:solidFill>
                  <a:srgbClr val="BA0B17"/>
                </a:solidFill>
                <a:latin typeface="+mj-lt"/>
              </a:rPr>
              <a:t> </a:t>
            </a:r>
            <a:r>
              <a:rPr lang="ru-RU" dirty="0">
                <a:solidFill>
                  <a:srgbClr val="BA0B17"/>
                </a:solidFill>
                <a:latin typeface="+mj-lt"/>
              </a:rPr>
              <a:t>3</a:t>
            </a:r>
          </a:p>
          <a:p>
            <a:r>
              <a:rPr lang="ru-RU" cap="all" dirty="0">
                <a:solidFill>
                  <a:srgbClr val="BA0B17"/>
                </a:solidFill>
                <a:latin typeface="+mj-lt"/>
              </a:rPr>
              <a:t>КРЮКОВО – РАМЕНСКОЕ</a:t>
            </a:r>
          </a:p>
        </p:txBody>
      </p:sp>
      <p:pic>
        <p:nvPicPr>
          <p:cNvPr id="128" name="Рисунок 127">
            <a:extLst>
              <a:ext uri="{FF2B5EF4-FFF2-40B4-BE49-F238E27FC236}">
                <a16:creationId xmlns:a16="http://schemas.microsoft.com/office/drawing/2014/main" id="{B2F458B7-845C-BF43-9AC7-13029D63691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7299" y="3207798"/>
            <a:ext cx="97115" cy="76138"/>
          </a:xfrm>
          <a:prstGeom prst="rect">
            <a:avLst/>
          </a:prstGeom>
        </p:spPr>
      </p:pic>
      <p:pic>
        <p:nvPicPr>
          <p:cNvPr id="138" name="Рисунок 137">
            <a:extLst>
              <a:ext uri="{FF2B5EF4-FFF2-40B4-BE49-F238E27FC236}">
                <a16:creationId xmlns:a16="http://schemas.microsoft.com/office/drawing/2014/main" id="{A30C16AB-EA91-DF41-A030-31973E2C19B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019" y="3494277"/>
            <a:ext cx="97115" cy="76138"/>
          </a:xfrm>
          <a:prstGeom prst="rect">
            <a:avLst/>
          </a:prstGeom>
        </p:spPr>
      </p:pic>
      <p:pic>
        <p:nvPicPr>
          <p:cNvPr id="142" name="Рисунок 141">
            <a:extLst>
              <a:ext uri="{FF2B5EF4-FFF2-40B4-BE49-F238E27FC236}">
                <a16:creationId xmlns:a16="http://schemas.microsoft.com/office/drawing/2014/main" id="{DE6BA7CD-ED9A-384B-A8ED-5A72E5563CA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2421" y="3594235"/>
            <a:ext cx="97115" cy="76138"/>
          </a:xfrm>
          <a:prstGeom prst="rect">
            <a:avLst/>
          </a:prstGeom>
        </p:spPr>
      </p:pic>
      <p:pic>
        <p:nvPicPr>
          <p:cNvPr id="143" name="Рисунок 142">
            <a:extLst>
              <a:ext uri="{FF2B5EF4-FFF2-40B4-BE49-F238E27FC236}">
                <a16:creationId xmlns:a16="http://schemas.microsoft.com/office/drawing/2014/main" id="{F2E78909-DD3E-4D45-88A6-658EA80B6CF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8048" y="3693917"/>
            <a:ext cx="97115" cy="76138"/>
          </a:xfrm>
          <a:prstGeom prst="rect">
            <a:avLst/>
          </a:prstGeom>
        </p:spPr>
      </p:pic>
      <p:pic>
        <p:nvPicPr>
          <p:cNvPr id="144" name="Рисунок 143">
            <a:extLst>
              <a:ext uri="{FF2B5EF4-FFF2-40B4-BE49-F238E27FC236}">
                <a16:creationId xmlns:a16="http://schemas.microsoft.com/office/drawing/2014/main" id="{EA82B458-B274-6A4A-9FE9-8A5B41FBB2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3507" y="3886374"/>
            <a:ext cx="97115" cy="76138"/>
          </a:xfrm>
          <a:prstGeom prst="rect">
            <a:avLst/>
          </a:prstGeom>
        </p:spPr>
      </p:pic>
      <p:pic>
        <p:nvPicPr>
          <p:cNvPr id="145" name="Рисунок 144">
            <a:extLst>
              <a:ext uri="{FF2B5EF4-FFF2-40B4-BE49-F238E27FC236}">
                <a16:creationId xmlns:a16="http://schemas.microsoft.com/office/drawing/2014/main" id="{8994E538-7AF0-5447-83FC-C61876F2257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4822" y="3982585"/>
            <a:ext cx="97115" cy="76138"/>
          </a:xfrm>
          <a:prstGeom prst="rect">
            <a:avLst/>
          </a:prstGeom>
        </p:spPr>
      </p:pic>
      <p:pic>
        <p:nvPicPr>
          <p:cNvPr id="146" name="Рисунок 145">
            <a:extLst>
              <a:ext uri="{FF2B5EF4-FFF2-40B4-BE49-F238E27FC236}">
                <a16:creationId xmlns:a16="http://schemas.microsoft.com/office/drawing/2014/main" id="{E4E1CEB8-6B69-8640-8FF0-87313923148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514" y="4079998"/>
            <a:ext cx="97115" cy="76138"/>
          </a:xfrm>
          <a:prstGeom prst="rect">
            <a:avLst/>
          </a:prstGeom>
        </p:spPr>
      </p:pic>
      <p:pic>
        <p:nvPicPr>
          <p:cNvPr id="147" name="Рисунок 146">
            <a:extLst>
              <a:ext uri="{FF2B5EF4-FFF2-40B4-BE49-F238E27FC236}">
                <a16:creationId xmlns:a16="http://schemas.microsoft.com/office/drawing/2014/main" id="{293BCC79-9474-1D43-AB3F-2D4B4D272E4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2576" y="4271012"/>
            <a:ext cx="97115" cy="76138"/>
          </a:xfrm>
          <a:prstGeom prst="rect">
            <a:avLst/>
          </a:prstGeom>
        </p:spPr>
      </p:pic>
      <p:pic>
        <p:nvPicPr>
          <p:cNvPr id="148" name="Рисунок 147">
            <a:extLst>
              <a:ext uri="{FF2B5EF4-FFF2-40B4-BE49-F238E27FC236}">
                <a16:creationId xmlns:a16="http://schemas.microsoft.com/office/drawing/2014/main" id="{479F1039-DCA4-3045-9E9F-82515791F9B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6451" y="4660445"/>
            <a:ext cx="97115" cy="76138"/>
          </a:xfrm>
          <a:prstGeom prst="rect">
            <a:avLst/>
          </a:prstGeom>
        </p:spPr>
      </p:pic>
      <p:pic>
        <p:nvPicPr>
          <p:cNvPr id="149" name="Рисунок 148">
            <a:extLst>
              <a:ext uri="{FF2B5EF4-FFF2-40B4-BE49-F238E27FC236}">
                <a16:creationId xmlns:a16="http://schemas.microsoft.com/office/drawing/2014/main" id="{8B4E84F0-6897-8043-B00D-1512D8C735A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7893" y="4758631"/>
            <a:ext cx="97115" cy="76138"/>
          </a:xfrm>
          <a:prstGeom prst="rect">
            <a:avLst/>
          </a:prstGeom>
        </p:spPr>
      </p:pic>
      <p:pic>
        <p:nvPicPr>
          <p:cNvPr id="150" name="Рисунок 149">
            <a:extLst>
              <a:ext uri="{FF2B5EF4-FFF2-40B4-BE49-F238E27FC236}">
                <a16:creationId xmlns:a16="http://schemas.microsoft.com/office/drawing/2014/main" id="{8EB3077A-7024-B74F-A110-7164EBE52F1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1520" y="4852902"/>
            <a:ext cx="97115" cy="76138"/>
          </a:xfrm>
          <a:prstGeom prst="rect">
            <a:avLst/>
          </a:prstGeom>
        </p:spPr>
      </p:pic>
      <p:pic>
        <p:nvPicPr>
          <p:cNvPr id="151" name="Рисунок 150">
            <a:extLst>
              <a:ext uri="{FF2B5EF4-FFF2-40B4-BE49-F238E27FC236}">
                <a16:creationId xmlns:a16="http://schemas.microsoft.com/office/drawing/2014/main" id="{2074149C-DC39-B548-8BA6-5985A1357DC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8048" y="4952527"/>
            <a:ext cx="97115" cy="76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565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n_69SI9k2trEBT2u.U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mHTWLQbE6Er2qfg1YdH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ewZi5a0UqRBJ4hihV4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XNLN7N4EijQgu9N1hQD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YCSqXT20CpYmbKhbEBQ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_99cKyCkSg1uDo2EKBR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SEjdj3pkiuau8VVkxpt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AZrD1iqkqRkZGCN3neW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aW1OOXcEuaHB0LimqEJ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wURXbul0yb.O4vT5wuA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oT9DCj2U2rLLh8_y0kd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bJyL4ORkKhAHnJCSSh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ol4Jt8Z0qdDzzQz7d6y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GtBIV3P0a4_JRsnADxH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v390jc1EuFp8AzToleI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phnifBIkySCqO_BfgbC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m3dOKYBkG3mWcxV_NhV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H49eUjV0a4if1IUGJ6J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.uSZLWr0yYLh9iH.mlp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zP3WPyM0GhzyyVTCN.e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fCgZlFQkahQDerC_QN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_mnlM51UW70Evcaplo3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hsc0yB3ke784DD2ppF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BwdJIoxk6VmxmsG3OlN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o25MvDLUWzxfwn4U62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hWn95vJ0y9l6WxCHSv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9gIFX2XkShGtnbqxrd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OELmteaEOS6ihEDypNe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a4zyxDa0Cyd5cFn6gSc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3K4sY_UqR3owjadW_N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ll5vlfukK5qDE1s0y.1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FUESdOU0yoXBDwNKgVR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uKUft3d0iXGJO5w8h9i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tKDeF3REGR_RJhwTBa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n_69SI9k2trEBT2u.UN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XT7zoR8kGl.DzNfn9L6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YxtfoYdk6hq4s9dZz9p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z0DIiYGkWC5FOsKtvoH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WwfgCDCU6B1eq_YoGfl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xSOgXTA0CGZwNKmQV3z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6nZinfeUGjWoV0sfeGS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WMCW.ikkycaudGLA4Dr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QL4KswE0qu2MjMTGVem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841fhF30eMjwWgS8MKY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nvL6SYjUO_I_PnjDuH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lbad3wyEKwj_O8vatSg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sG9W5pQkKuMpl4msE4v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5kwugv9kiCcudrpQVua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5kwugv9kiCcudrpQVu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nvL6SYjUO_I_PnjDuHM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sG9W5pQkKuMpl4msE4v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nvL6SYjUO_I_PnjDuHM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sG9W5pQkKuMpl4msE4v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nvL6SYjUO_I_PnjDuHM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sG9W5pQkKuMpl4msE4v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hLVZIm4UiBc7Fp8pn.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6J9Lgb8UGBLUon3rnO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nvL6SYjUO_I_PnjDuHM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hLVZIm4UiBc7Fp8pn.L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hLVZIm4UiBc7Fp8pn.L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hLVZIm4UiBc7Fp8pn.L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5kwugv9kiCcudrpQVua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5kwugv9kiCcudrpQVu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zP3WPyM0GhzyyVTCN.e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rW1YFg4UiMWqnra1Y0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kY92vGhUa_YPoSxjo5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wdzwxsxUuvZrmO5E0e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fAiTiq7EmJaysxQ3zc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BnRlpZ6UWEgiP5iFgF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0W4Uv202OXT4SlKn7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1m2F72G0mtLIR4I.4gZ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ddYEpvYEKAxkWo0j.rP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B1125i5EKpFOHZgE3Q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.uSZLWr0yYLh9iH.ml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zP3WPyM0GhzyyVTCN.e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fCgZlFQkahQDerC_QN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fbfQH6k0280mjAw.FO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_mnlM51UW70Evcaplo3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hsc0yB3ke784DD2ppFM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o25MvDLUWzxfwn4U62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hWn95vJ0y9l6WxCHSv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9gIFX2XkShGtnbqxrd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OELmteaEOS6ihEDypNe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a4zyxDa0Cyd5cFn6gSc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3K4sY_UqR3owjadW_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ll5vlfukK5qDE1s0y.1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FUESdOU0yoXBDwNKgV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nMuW2jE6CxgZ7x_GGU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uKUft3d0iXGJO5w8h9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tKDeF3REGR_RJhwTBaP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XT7zoR8kGl.DzNfn9L6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YxtfoYdk6hq4s9dZz9p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z0DIiYGkWC5FOsKtvo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WwfgCDCU6B1eq_YoGf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xSOgXTA0CGZwNKmQV3z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6nZinfeUGjWoV0sfeGS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QL4KswE0qu2MjMTGVem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841fhF30eMjwWgS8MK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o8fC7STUmuSdTTpv0.y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OhEDIQz0e9Uy7Ev0DGv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DWZeNDoEuQr5UpVsv37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uwcGz5nE.MeQM7wyma.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IIJa_0302fHcznx7RpV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1m2F72G0mtLIR4I.4gZ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LVEpYbOkWEhwpmrNwn_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cZ14VOw02jUlT03Bs2J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wkEVEfYUWkkDVTbSNFM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uePzamxE..b0wHjieQ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lUMsU_xkqLw2daDS9vn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ndUUb5fUiyT.HNLie7d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ddYEpvYEKAxkWo0j.rP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TJC_RfkECr5AHPf0T8o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Kcjj3Y0Em2IAJmF_BxQ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xLyjD32k25xvMpE0Mwp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k.TsUdB0m7j7spsCgD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SV000Otk2QA7vwsMRdq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B1125i5EKpFOHZgE3Qu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LvT54TSkebVk9Tw5GgY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d9al7aLEi78l6IDOtZ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CJCwV120q4fnKVBso21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2RlULJ0SZrF7dKEZMI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sBUiPK1UyqGecVDxMzX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qoCG9BhkC4aZdlFCffj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jHF512a0qX2hr3478lO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GIZwaK3kKroNLIILKzM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PMrAoufU26ED9d.ObN0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76bvvx2EOuAfhgKRdN_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kF5OmWU0Oi5EFJ9dJ6I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u3Yc6HkSCU3NWtzZdr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5kIQBoOE._pS6iC2vN3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YGd_V0s0W7S7D32S1iA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h8wXcdoU2JPT8J81OFW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gh_GBgU0yWtyyIY6XH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aluXlTLkiUCiGZKxR7m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v6cxE_OUysWwlJ0Uub6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lyxBqEEqWBr7t4DTGm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tn9G4qq0G8tRd8DGqw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fAiTiq7EmJaysxQ3zcy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aeaREEQEOEHRm4yVNIc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BnRlpZ6UWEgiP5iFgFC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UwrGj4xUuH7JoGoBa6TA"/>
</p:tagLst>
</file>

<file path=ppt/theme/theme1.xml><?xml version="1.0" encoding="utf-8"?>
<a:theme xmlns:a="http://schemas.openxmlformats.org/drawingml/2006/main" name="ЦВТС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ВТС" id="{35F2B039-6C92-4D59-ADB4-6F2F45F5DC0F}" vid="{C511D031-D47D-4164-B752-F7599572D81E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2" id="{38372155-4FA0-DA4D-9CD5-429A28C483BE}" vid="{CC26CCBC-F51F-7C4B-9D79-F90CA6B5A38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ЦВТС</Template>
  <TotalTime>2262</TotalTime>
  <Words>5776</Words>
  <Application>Microsoft Macintosh PowerPoint</Application>
  <PresentationFormat>Лист A4 (210x297 мм)</PresentationFormat>
  <Paragraphs>1677</Paragraphs>
  <Slides>22</Slides>
  <Notes>5</Notes>
  <HiddenSlides>0</HiddenSlides>
  <MMClips>2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22</vt:i4>
      </vt:variant>
    </vt:vector>
  </HeadingPairs>
  <TitlesOfParts>
    <vt:vector size="35" baseType="lpstr">
      <vt:lpstr>Acumin Pro Condensed</vt:lpstr>
      <vt:lpstr>Acumin Pro Condensed Extra Light</vt:lpstr>
      <vt:lpstr>Arial</vt:lpstr>
      <vt:lpstr>Calibri</vt:lpstr>
      <vt:lpstr>Calibri Light</vt:lpstr>
      <vt:lpstr>Cambria Math</vt:lpstr>
      <vt:lpstr>FuturaDemiC</vt:lpstr>
      <vt:lpstr>Wingdings</vt:lpstr>
      <vt:lpstr>ЦВТС</vt:lpstr>
      <vt:lpstr>Тема Office</vt:lpstr>
      <vt:lpstr>Chart</vt:lpstr>
      <vt:lpstr>think-cell Slide</vt:lpstr>
      <vt:lpstr>Диаграмма</vt:lpstr>
      <vt:lpstr>Моделирование процесса организации работы Московского транспортного узла с учётом МЦД-1, МЦД-2 с перспективой запуска МЦД-3 и МЦД-4</vt:lpstr>
      <vt:lpstr>Разработка Целевой схемы Московских центральных диаметров на основе оценки спроса и моделирования пассажиропоток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бъёмы моделирования и анализа работы МЖУ</vt:lpstr>
      <vt:lpstr>Моделирование объектов железнодорожной инфраструктуры в границах МЦД-1, МЦД-2</vt:lpstr>
      <vt:lpstr>Презентация PowerPoint</vt:lpstr>
      <vt:lpstr>Оценка влияния запуска МЦД-3 и ВСЖМ-1 на работу Ленинградского направления и МЖУ</vt:lpstr>
      <vt:lpstr>Отмена 10-минутного резерва времени в графике движения перед пропуском поездов «Сапсан» позволит повысить пропускную способность</vt:lpstr>
      <vt:lpstr>Даже с учётом реконструкции, станция Москва-Пассажирская не может принять заданное количество поездов без значительных задержек</vt:lpstr>
      <vt:lpstr>Локальные мероприятия не позволят значительно увеличить пропускную способность Ленинградского вокзала из-за особенностей технологии его работы</vt:lpstr>
      <vt:lpstr>Презентация PowerPoint</vt:lpstr>
      <vt:lpstr>Презентация PowerPoint</vt:lpstr>
      <vt:lpstr>Имитационная модель работы станции Москва-Пасс.-Казанская</vt:lpstr>
      <vt:lpstr>Моделирование объектов железнодорожной инфраструктуры МЦД-4 и проектов ВСМ на вводе в МЖУ</vt:lpstr>
      <vt:lpstr>Комплексное имитационное моделирование железнодорожной инфраструктуры позволит оценить влияние сервиса МЦД на технологию пропуска всех поездов в Московском транспортном узле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оделирование процесса организации работы Московского транспортного узла с учётом МЦД-1, МЦД-2 с перспективой запуска МЦД-3 и МЦД-4</dc:title>
  <dc:creator>Alexander Chekmarev</dc:creator>
  <cp:lastModifiedBy>Олег Покусаев</cp:lastModifiedBy>
  <cp:revision>72</cp:revision>
  <cp:lastPrinted>2020-11-24T16:10:09Z</cp:lastPrinted>
  <dcterms:created xsi:type="dcterms:W3CDTF">2020-11-23T12:47:03Z</dcterms:created>
  <dcterms:modified xsi:type="dcterms:W3CDTF">2020-11-26T08:05:07Z</dcterms:modified>
</cp:coreProperties>
</file>